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media/image55.jpg" ContentType="image/jpg"/>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1" r:id="rId5"/>
  </p:sldMasterIdLst>
  <p:notesMasterIdLst>
    <p:notesMasterId r:id="rId32"/>
  </p:notesMasterIdLst>
  <p:sldIdLst>
    <p:sldId id="256" r:id="rId6"/>
    <p:sldId id="275" r:id="rId7"/>
    <p:sldId id="2147472105" r:id="rId8"/>
    <p:sldId id="2147472100" r:id="rId9"/>
    <p:sldId id="4713" r:id="rId10"/>
    <p:sldId id="4700" r:id="rId11"/>
    <p:sldId id="2147472101" r:id="rId12"/>
    <p:sldId id="2147472102" r:id="rId13"/>
    <p:sldId id="2147472103" r:id="rId14"/>
    <p:sldId id="589" r:id="rId15"/>
    <p:sldId id="2147472122" r:id="rId16"/>
    <p:sldId id="2147472123" r:id="rId17"/>
    <p:sldId id="2147472109" r:id="rId18"/>
    <p:sldId id="2147472099" r:id="rId19"/>
    <p:sldId id="2147472106" r:id="rId20"/>
    <p:sldId id="282" r:id="rId21"/>
    <p:sldId id="1350" r:id="rId22"/>
    <p:sldId id="729" r:id="rId23"/>
    <p:sldId id="2147472121" r:id="rId24"/>
    <p:sldId id="2145705225" r:id="rId25"/>
    <p:sldId id="2145705227" r:id="rId26"/>
    <p:sldId id="2145705142" r:id="rId27"/>
    <p:sldId id="2145705183" r:id="rId28"/>
    <p:sldId id="2145705182" r:id="rId29"/>
    <p:sldId id="2145705230" r:id="rId30"/>
    <p:sldId id="259"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5A1"/>
    <a:srgbClr val="156737"/>
    <a:srgbClr val="C3C8C8"/>
    <a:srgbClr val="002E66"/>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B882DD-ACA6-4672-8669-08C5810CF5E5}" v="12" dt="2022-04-08T23:01:25.8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70" autoAdjust="0"/>
    <p:restoredTop sz="90257" autoAdjust="0"/>
  </p:normalViewPr>
  <p:slideViewPr>
    <p:cSldViewPr snapToGrid="0">
      <p:cViewPr varScale="1">
        <p:scale>
          <a:sx n="60" d="100"/>
          <a:sy n="60" d="100"/>
        </p:scale>
        <p:origin x="64" y="2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ordon, Kate" userId="e114377e-46a7-43ba-9410-e3581ea6072c" providerId="ADAL" clId="{11B882DD-ACA6-4672-8669-08C5810CF5E5}"/>
    <pc:docChg chg="undo custSel addSld delSld modSld delMainMaster">
      <pc:chgData name="Gordon, Kate" userId="e114377e-46a7-43ba-9410-e3581ea6072c" providerId="ADAL" clId="{11B882DD-ACA6-4672-8669-08C5810CF5E5}" dt="2022-04-08T22:23:55.244" v="604" actId="47"/>
      <pc:docMkLst>
        <pc:docMk/>
      </pc:docMkLst>
      <pc:sldChg chg="addSp delSp modSp mod modClrScheme chgLayout">
        <pc:chgData name="Gordon, Kate" userId="e114377e-46a7-43ba-9410-e3581ea6072c" providerId="ADAL" clId="{11B882DD-ACA6-4672-8669-08C5810CF5E5}" dt="2022-04-08T22:03:49.005" v="317" actId="5793"/>
        <pc:sldMkLst>
          <pc:docMk/>
          <pc:sldMk cId="3724677176" sldId="256"/>
        </pc:sldMkLst>
        <pc:spChg chg="mod ord">
          <ac:chgData name="Gordon, Kate" userId="e114377e-46a7-43ba-9410-e3581ea6072c" providerId="ADAL" clId="{11B882DD-ACA6-4672-8669-08C5810CF5E5}" dt="2022-04-08T22:03:49.005" v="317" actId="5793"/>
          <ac:spMkLst>
            <pc:docMk/>
            <pc:sldMk cId="3724677176" sldId="256"/>
            <ac:spMk id="3" creationId="{77D6E148-10BF-4CC3-88DE-E83675AC7811}"/>
          </ac:spMkLst>
        </pc:spChg>
        <pc:spChg chg="add mod ord">
          <ac:chgData name="Gordon, Kate" userId="e114377e-46a7-43ba-9410-e3581ea6072c" providerId="ADAL" clId="{11B882DD-ACA6-4672-8669-08C5810CF5E5}" dt="2022-04-08T22:03:12.393" v="155" actId="700"/>
          <ac:spMkLst>
            <pc:docMk/>
            <pc:sldMk cId="3724677176" sldId="256"/>
            <ac:spMk id="4" creationId="{217BB39F-9789-45E0-8F1E-FBB2B8F0C22A}"/>
          </ac:spMkLst>
        </pc:spChg>
        <pc:spChg chg="add del mod ord">
          <ac:chgData name="Gordon, Kate" userId="e114377e-46a7-43ba-9410-e3581ea6072c" providerId="ADAL" clId="{11B882DD-ACA6-4672-8669-08C5810CF5E5}" dt="2022-04-08T22:03:12.393" v="155" actId="700"/>
          <ac:spMkLst>
            <pc:docMk/>
            <pc:sldMk cId="3724677176" sldId="256"/>
            <ac:spMk id="5" creationId="{9646B9A3-D623-4992-A28E-40A3A4015E12}"/>
          </ac:spMkLst>
        </pc:spChg>
        <pc:spChg chg="add del mod ord">
          <ac:chgData name="Gordon, Kate" userId="e114377e-46a7-43ba-9410-e3581ea6072c" providerId="ADAL" clId="{11B882DD-ACA6-4672-8669-08C5810CF5E5}" dt="2022-04-08T22:03:12.393" v="155" actId="700"/>
          <ac:spMkLst>
            <pc:docMk/>
            <pc:sldMk cId="3724677176" sldId="256"/>
            <ac:spMk id="6" creationId="{EE0FC0F4-1470-4CC2-97EB-28A6D74FB66E}"/>
          </ac:spMkLst>
        </pc:spChg>
        <pc:spChg chg="del mod">
          <ac:chgData name="Gordon, Kate" userId="e114377e-46a7-43ba-9410-e3581ea6072c" providerId="ADAL" clId="{11B882DD-ACA6-4672-8669-08C5810CF5E5}" dt="2022-04-08T22:02:18.863" v="46" actId="21"/>
          <ac:spMkLst>
            <pc:docMk/>
            <pc:sldMk cId="3724677176" sldId="256"/>
            <ac:spMk id="7" creationId="{93B73504-52D6-478A-8EB3-07FE7EB2A911}"/>
          </ac:spMkLst>
        </pc:spChg>
        <pc:spChg chg="add mod ord">
          <ac:chgData name="Gordon, Kate" userId="e114377e-46a7-43ba-9410-e3581ea6072c" providerId="ADAL" clId="{11B882DD-ACA6-4672-8669-08C5810CF5E5}" dt="2022-04-08T22:03:18.487" v="172" actId="20577"/>
          <ac:spMkLst>
            <pc:docMk/>
            <pc:sldMk cId="3724677176" sldId="256"/>
            <ac:spMk id="8" creationId="{125D1051-A9AC-40EE-88EF-41C966788C88}"/>
          </ac:spMkLst>
        </pc:spChg>
      </pc:sldChg>
      <pc:sldChg chg="del">
        <pc:chgData name="Gordon, Kate" userId="e114377e-46a7-43ba-9410-e3581ea6072c" providerId="ADAL" clId="{11B882DD-ACA6-4672-8669-08C5810CF5E5}" dt="2022-04-08T22:23:24.343" v="589" actId="47"/>
        <pc:sldMkLst>
          <pc:docMk/>
          <pc:sldMk cId="1818451759" sldId="257"/>
        </pc:sldMkLst>
      </pc:sldChg>
      <pc:sldChg chg="del">
        <pc:chgData name="Gordon, Kate" userId="e114377e-46a7-43ba-9410-e3581ea6072c" providerId="ADAL" clId="{11B882DD-ACA6-4672-8669-08C5810CF5E5}" dt="2022-04-08T22:20:43.423" v="569" actId="47"/>
        <pc:sldMkLst>
          <pc:docMk/>
          <pc:sldMk cId="3629671864" sldId="258"/>
        </pc:sldMkLst>
      </pc:sldChg>
      <pc:sldChg chg="add">
        <pc:chgData name="Gordon, Kate" userId="e114377e-46a7-43ba-9410-e3581ea6072c" providerId="ADAL" clId="{11B882DD-ACA6-4672-8669-08C5810CF5E5}" dt="2022-04-08T22:08:17.243" v="327"/>
        <pc:sldMkLst>
          <pc:docMk/>
          <pc:sldMk cId="2506290360" sldId="259"/>
        </pc:sldMkLst>
      </pc:sldChg>
      <pc:sldChg chg="del">
        <pc:chgData name="Gordon, Kate" userId="e114377e-46a7-43ba-9410-e3581ea6072c" providerId="ADAL" clId="{11B882DD-ACA6-4672-8669-08C5810CF5E5}" dt="2022-04-08T22:10:01.762" v="332" actId="2696"/>
        <pc:sldMkLst>
          <pc:docMk/>
          <pc:sldMk cId="2462889749" sldId="275"/>
        </pc:sldMkLst>
      </pc:sldChg>
      <pc:sldChg chg="add">
        <pc:chgData name="Gordon, Kate" userId="e114377e-46a7-43ba-9410-e3581ea6072c" providerId="ADAL" clId="{11B882DD-ACA6-4672-8669-08C5810CF5E5}" dt="2022-04-08T22:10:08.258" v="333"/>
        <pc:sldMkLst>
          <pc:docMk/>
          <pc:sldMk cId="3090996106" sldId="275"/>
        </pc:sldMkLst>
      </pc:sldChg>
      <pc:sldChg chg="add">
        <pc:chgData name="Gordon, Kate" userId="e114377e-46a7-43ba-9410-e3581ea6072c" providerId="ADAL" clId="{11B882DD-ACA6-4672-8669-08C5810CF5E5}" dt="2022-04-08T22:08:17.243" v="327"/>
        <pc:sldMkLst>
          <pc:docMk/>
          <pc:sldMk cId="224434287" sldId="282"/>
        </pc:sldMkLst>
      </pc:sldChg>
      <pc:sldChg chg="del">
        <pc:chgData name="Gordon, Kate" userId="e114377e-46a7-43ba-9410-e3581ea6072c" providerId="ADAL" clId="{11B882DD-ACA6-4672-8669-08C5810CF5E5}" dt="2022-04-08T22:21:48.025" v="582" actId="2696"/>
        <pc:sldMkLst>
          <pc:docMk/>
          <pc:sldMk cId="1534812327" sldId="589"/>
        </pc:sldMkLst>
      </pc:sldChg>
      <pc:sldChg chg="add">
        <pc:chgData name="Gordon, Kate" userId="e114377e-46a7-43ba-9410-e3581ea6072c" providerId="ADAL" clId="{11B882DD-ACA6-4672-8669-08C5810CF5E5}" dt="2022-04-08T22:21:57.262" v="583"/>
        <pc:sldMkLst>
          <pc:docMk/>
          <pc:sldMk cId="2124370298" sldId="589"/>
        </pc:sldMkLst>
      </pc:sldChg>
      <pc:sldChg chg="del">
        <pc:chgData name="Gordon, Kate" userId="e114377e-46a7-43ba-9410-e3581ea6072c" providerId="ADAL" clId="{11B882DD-ACA6-4672-8669-08C5810CF5E5}" dt="2022-04-08T22:22:01.391" v="584" actId="47"/>
        <pc:sldMkLst>
          <pc:docMk/>
          <pc:sldMk cId="750266872" sldId="591"/>
        </pc:sldMkLst>
      </pc:sldChg>
      <pc:sldChg chg="del">
        <pc:chgData name="Gordon, Kate" userId="e114377e-46a7-43ba-9410-e3581ea6072c" providerId="ADAL" clId="{11B882DD-ACA6-4672-8669-08C5810CF5E5}" dt="2022-04-08T22:23:50.541" v="602" actId="47"/>
        <pc:sldMkLst>
          <pc:docMk/>
          <pc:sldMk cId="859453009" sldId="592"/>
        </pc:sldMkLst>
      </pc:sldChg>
      <pc:sldChg chg="del">
        <pc:chgData name="Gordon, Kate" userId="e114377e-46a7-43ba-9410-e3581ea6072c" providerId="ADAL" clId="{11B882DD-ACA6-4672-8669-08C5810CF5E5}" dt="2022-04-08T22:23:47.263" v="600" actId="47"/>
        <pc:sldMkLst>
          <pc:docMk/>
          <pc:sldMk cId="3096742482" sldId="593"/>
        </pc:sldMkLst>
      </pc:sldChg>
      <pc:sldChg chg="del">
        <pc:chgData name="Gordon, Kate" userId="e114377e-46a7-43ba-9410-e3581ea6072c" providerId="ADAL" clId="{11B882DD-ACA6-4672-8669-08C5810CF5E5}" dt="2022-04-08T22:23:45.997" v="599" actId="47"/>
        <pc:sldMkLst>
          <pc:docMk/>
          <pc:sldMk cId="3436887805" sldId="594"/>
        </pc:sldMkLst>
      </pc:sldChg>
      <pc:sldChg chg="del">
        <pc:chgData name="Gordon, Kate" userId="e114377e-46a7-43ba-9410-e3581ea6072c" providerId="ADAL" clId="{11B882DD-ACA6-4672-8669-08C5810CF5E5}" dt="2022-04-08T22:23:43.938" v="598" actId="47"/>
        <pc:sldMkLst>
          <pc:docMk/>
          <pc:sldMk cId="795739352" sldId="595"/>
        </pc:sldMkLst>
      </pc:sldChg>
      <pc:sldChg chg="del">
        <pc:chgData name="Gordon, Kate" userId="e114377e-46a7-43ba-9410-e3581ea6072c" providerId="ADAL" clId="{11B882DD-ACA6-4672-8669-08C5810CF5E5}" dt="2022-04-08T22:23:37.457" v="595" actId="47"/>
        <pc:sldMkLst>
          <pc:docMk/>
          <pc:sldMk cId="2542714540" sldId="613"/>
        </pc:sldMkLst>
      </pc:sldChg>
      <pc:sldChg chg="del">
        <pc:chgData name="Gordon, Kate" userId="e114377e-46a7-43ba-9410-e3581ea6072c" providerId="ADAL" clId="{11B882DD-ACA6-4672-8669-08C5810CF5E5}" dt="2022-04-08T22:19:23.036" v="562" actId="2696"/>
        <pc:sldMkLst>
          <pc:docMk/>
          <pc:sldMk cId="0" sldId="729"/>
        </pc:sldMkLst>
      </pc:sldChg>
      <pc:sldChg chg="add">
        <pc:chgData name="Gordon, Kate" userId="e114377e-46a7-43ba-9410-e3581ea6072c" providerId="ADAL" clId="{11B882DD-ACA6-4672-8669-08C5810CF5E5}" dt="2022-04-08T22:19:32.452" v="563"/>
        <pc:sldMkLst>
          <pc:docMk/>
          <pc:sldMk cId="4117093260" sldId="729"/>
        </pc:sldMkLst>
      </pc:sldChg>
      <pc:sldChg chg="add">
        <pc:chgData name="Gordon, Kate" userId="e114377e-46a7-43ba-9410-e3581ea6072c" providerId="ADAL" clId="{11B882DD-ACA6-4672-8669-08C5810CF5E5}" dt="2022-04-08T22:08:17.243" v="327"/>
        <pc:sldMkLst>
          <pc:docMk/>
          <pc:sldMk cId="2271630863" sldId="1350"/>
        </pc:sldMkLst>
      </pc:sldChg>
      <pc:sldChg chg="add del">
        <pc:chgData name="Gordon, Kate" userId="e114377e-46a7-43ba-9410-e3581ea6072c" providerId="ADAL" clId="{11B882DD-ACA6-4672-8669-08C5810CF5E5}" dt="2022-04-08T22:19:36.113" v="564" actId="47"/>
        <pc:sldMkLst>
          <pc:docMk/>
          <pc:sldMk cId="182053054" sldId="1360"/>
        </pc:sldMkLst>
      </pc:sldChg>
      <pc:sldChg chg="del">
        <pc:chgData name="Gordon, Kate" userId="e114377e-46a7-43ba-9410-e3581ea6072c" providerId="ADAL" clId="{11B882DD-ACA6-4672-8669-08C5810CF5E5}" dt="2022-04-08T22:20:50.312" v="572" actId="47"/>
        <pc:sldMkLst>
          <pc:docMk/>
          <pc:sldMk cId="2054921716" sldId="2661"/>
        </pc:sldMkLst>
      </pc:sldChg>
      <pc:sldChg chg="del">
        <pc:chgData name="Gordon, Kate" userId="e114377e-46a7-43ba-9410-e3581ea6072c" providerId="ADAL" clId="{11B882DD-ACA6-4672-8669-08C5810CF5E5}" dt="2022-04-08T22:23:39.324" v="596" actId="47"/>
        <pc:sldMkLst>
          <pc:docMk/>
          <pc:sldMk cId="1368371852" sldId="4699"/>
        </pc:sldMkLst>
      </pc:sldChg>
      <pc:sldChg chg="del">
        <pc:chgData name="Gordon, Kate" userId="e114377e-46a7-43ba-9410-e3581ea6072c" providerId="ADAL" clId="{11B882DD-ACA6-4672-8669-08C5810CF5E5}" dt="2022-04-08T22:22:21.772" v="585" actId="2696"/>
        <pc:sldMkLst>
          <pc:docMk/>
          <pc:sldMk cId="1586097286" sldId="4700"/>
        </pc:sldMkLst>
      </pc:sldChg>
      <pc:sldChg chg="modSp add mod">
        <pc:chgData name="Gordon, Kate" userId="e114377e-46a7-43ba-9410-e3581ea6072c" providerId="ADAL" clId="{11B882DD-ACA6-4672-8669-08C5810CF5E5}" dt="2022-04-08T22:23:13.233" v="587" actId="27636"/>
        <pc:sldMkLst>
          <pc:docMk/>
          <pc:sldMk cId="3721852632" sldId="4700"/>
        </pc:sldMkLst>
        <pc:spChg chg="mod">
          <ac:chgData name="Gordon, Kate" userId="e114377e-46a7-43ba-9410-e3581ea6072c" providerId="ADAL" clId="{11B882DD-ACA6-4672-8669-08C5810CF5E5}" dt="2022-04-08T22:23:13.233" v="587" actId="27636"/>
          <ac:spMkLst>
            <pc:docMk/>
            <pc:sldMk cId="3721852632" sldId="4700"/>
            <ac:spMk id="2" creationId="{AFE4EF4E-96ED-4759-AB4F-24462B96EE05}"/>
          </ac:spMkLst>
        </pc:spChg>
      </pc:sldChg>
      <pc:sldChg chg="del">
        <pc:chgData name="Gordon, Kate" userId="e114377e-46a7-43ba-9410-e3581ea6072c" providerId="ADAL" clId="{11B882DD-ACA6-4672-8669-08C5810CF5E5}" dt="2022-04-08T22:22:21.772" v="585" actId="2696"/>
        <pc:sldMkLst>
          <pc:docMk/>
          <pc:sldMk cId="3707996738" sldId="4713"/>
        </pc:sldMkLst>
      </pc:sldChg>
      <pc:sldChg chg="add">
        <pc:chgData name="Gordon, Kate" userId="e114377e-46a7-43ba-9410-e3581ea6072c" providerId="ADAL" clId="{11B882DD-ACA6-4672-8669-08C5810CF5E5}" dt="2022-04-08T22:23:13.111" v="586"/>
        <pc:sldMkLst>
          <pc:docMk/>
          <pc:sldMk cId="3857422038" sldId="4713"/>
        </pc:sldMkLst>
      </pc:sldChg>
      <pc:sldChg chg="del">
        <pc:chgData name="Gordon, Kate" userId="e114377e-46a7-43ba-9410-e3581ea6072c" providerId="ADAL" clId="{11B882DD-ACA6-4672-8669-08C5810CF5E5}" dt="2022-04-08T22:20:52.909" v="574" actId="47"/>
        <pc:sldMkLst>
          <pc:docMk/>
          <pc:sldMk cId="3935956359" sldId="4856"/>
        </pc:sldMkLst>
      </pc:sldChg>
      <pc:sldChg chg="del">
        <pc:chgData name="Gordon, Kate" userId="e114377e-46a7-43ba-9410-e3581ea6072c" providerId="ADAL" clId="{11B882DD-ACA6-4672-8669-08C5810CF5E5}" dt="2022-04-08T22:20:52.007" v="573" actId="47"/>
        <pc:sldMkLst>
          <pc:docMk/>
          <pc:sldMk cId="2317904122" sldId="4877"/>
        </pc:sldMkLst>
      </pc:sldChg>
      <pc:sldChg chg="del">
        <pc:chgData name="Gordon, Kate" userId="e114377e-46a7-43ba-9410-e3581ea6072c" providerId="ADAL" clId="{11B882DD-ACA6-4672-8669-08C5810CF5E5}" dt="2022-04-08T22:20:48.436" v="570" actId="47"/>
        <pc:sldMkLst>
          <pc:docMk/>
          <pc:sldMk cId="3371541132" sldId="4884"/>
        </pc:sldMkLst>
      </pc:sldChg>
      <pc:sldChg chg="del">
        <pc:chgData name="Gordon, Kate" userId="e114377e-46a7-43ba-9410-e3581ea6072c" providerId="ADAL" clId="{11B882DD-ACA6-4672-8669-08C5810CF5E5}" dt="2022-04-08T22:20:49.339" v="571" actId="47"/>
        <pc:sldMkLst>
          <pc:docMk/>
          <pc:sldMk cId="3887934401" sldId="4885"/>
        </pc:sldMkLst>
      </pc:sldChg>
      <pc:sldChg chg="del">
        <pc:chgData name="Gordon, Kate" userId="e114377e-46a7-43ba-9410-e3581ea6072c" providerId="ADAL" clId="{11B882DD-ACA6-4672-8669-08C5810CF5E5}" dt="2022-04-08T22:21:42.153" v="581" actId="47"/>
        <pc:sldMkLst>
          <pc:docMk/>
          <pc:sldMk cId="2011386291" sldId="5293"/>
        </pc:sldMkLst>
      </pc:sldChg>
      <pc:sldChg chg="del">
        <pc:chgData name="Gordon, Kate" userId="e114377e-46a7-43ba-9410-e3581ea6072c" providerId="ADAL" clId="{11B882DD-ACA6-4672-8669-08C5810CF5E5}" dt="2022-04-08T22:21:42.153" v="581" actId="47"/>
        <pc:sldMkLst>
          <pc:docMk/>
          <pc:sldMk cId="21010026" sldId="2128752530"/>
        </pc:sldMkLst>
      </pc:sldChg>
      <pc:sldChg chg="del">
        <pc:chgData name="Gordon, Kate" userId="e114377e-46a7-43ba-9410-e3581ea6072c" providerId="ADAL" clId="{11B882DD-ACA6-4672-8669-08C5810CF5E5}" dt="2022-04-08T22:21:01.346" v="577" actId="47"/>
        <pc:sldMkLst>
          <pc:docMk/>
          <pc:sldMk cId="3581700734" sldId="2141412591"/>
        </pc:sldMkLst>
      </pc:sldChg>
      <pc:sldChg chg="add del">
        <pc:chgData name="Gordon, Kate" userId="e114377e-46a7-43ba-9410-e3581ea6072c" providerId="ADAL" clId="{11B882DD-ACA6-4672-8669-08C5810CF5E5}" dt="2022-04-08T22:21:42.153" v="581" actId="47"/>
        <pc:sldMkLst>
          <pc:docMk/>
          <pc:sldMk cId="545646607" sldId="2141412602"/>
        </pc:sldMkLst>
      </pc:sldChg>
      <pc:sldChg chg="add del">
        <pc:chgData name="Gordon, Kate" userId="e114377e-46a7-43ba-9410-e3581ea6072c" providerId="ADAL" clId="{11B882DD-ACA6-4672-8669-08C5810CF5E5}" dt="2022-04-08T22:09:38.624" v="330" actId="2696"/>
        <pc:sldMkLst>
          <pc:docMk/>
          <pc:sldMk cId="1114658110" sldId="2145705142"/>
        </pc:sldMkLst>
      </pc:sldChg>
      <pc:sldChg chg="modSp add mod">
        <pc:chgData name="Gordon, Kate" userId="e114377e-46a7-43ba-9410-e3581ea6072c" providerId="ADAL" clId="{11B882DD-ACA6-4672-8669-08C5810CF5E5}" dt="2022-04-08T22:12:30.443" v="351" actId="14100"/>
        <pc:sldMkLst>
          <pc:docMk/>
          <pc:sldMk cId="2965093916" sldId="2145705142"/>
        </pc:sldMkLst>
        <pc:spChg chg="mod">
          <ac:chgData name="Gordon, Kate" userId="e114377e-46a7-43ba-9410-e3581ea6072c" providerId="ADAL" clId="{11B882DD-ACA6-4672-8669-08C5810CF5E5}" dt="2022-04-08T22:12:30.443" v="351" actId="14100"/>
          <ac:spMkLst>
            <pc:docMk/>
            <pc:sldMk cId="2965093916" sldId="2145705142"/>
            <ac:spMk id="4" creationId="{2170F973-3D6A-45A6-81CD-AD89DEA6278B}"/>
          </ac:spMkLst>
        </pc:spChg>
      </pc:sldChg>
      <pc:sldChg chg="add del">
        <pc:chgData name="Gordon, Kate" userId="e114377e-46a7-43ba-9410-e3581ea6072c" providerId="ADAL" clId="{11B882DD-ACA6-4672-8669-08C5810CF5E5}" dt="2022-04-08T22:09:38.624" v="330" actId="2696"/>
        <pc:sldMkLst>
          <pc:docMk/>
          <pc:sldMk cId="142524194" sldId="2145705180"/>
        </pc:sldMkLst>
      </pc:sldChg>
      <pc:sldChg chg="modSp add del mod">
        <pc:chgData name="Gordon, Kate" userId="e114377e-46a7-43ba-9410-e3581ea6072c" providerId="ADAL" clId="{11B882DD-ACA6-4672-8669-08C5810CF5E5}" dt="2022-04-08T22:20:20.514" v="568" actId="47"/>
        <pc:sldMkLst>
          <pc:docMk/>
          <pc:sldMk cId="333806012" sldId="2145705180"/>
        </pc:sldMkLst>
        <pc:spChg chg="mod">
          <ac:chgData name="Gordon, Kate" userId="e114377e-46a7-43ba-9410-e3581ea6072c" providerId="ADAL" clId="{11B882DD-ACA6-4672-8669-08C5810CF5E5}" dt="2022-04-08T22:12:34.527" v="352" actId="14100"/>
          <ac:spMkLst>
            <pc:docMk/>
            <pc:sldMk cId="333806012" sldId="2145705180"/>
            <ac:spMk id="2" creationId="{4EAFC184-42C1-4BE5-8E42-38D725215FCB}"/>
          </ac:spMkLst>
        </pc:spChg>
      </pc:sldChg>
      <pc:sldChg chg="modSp add mod">
        <pc:chgData name="Gordon, Kate" userId="e114377e-46a7-43ba-9410-e3581ea6072c" providerId="ADAL" clId="{11B882DD-ACA6-4672-8669-08C5810CF5E5}" dt="2022-04-08T22:13:53.001" v="469" actId="20577"/>
        <pc:sldMkLst>
          <pc:docMk/>
          <pc:sldMk cId="842945455" sldId="2145705182"/>
        </pc:sldMkLst>
        <pc:spChg chg="mod">
          <ac:chgData name="Gordon, Kate" userId="e114377e-46a7-43ba-9410-e3581ea6072c" providerId="ADAL" clId="{11B882DD-ACA6-4672-8669-08C5810CF5E5}" dt="2022-04-08T22:13:53.001" v="469" actId="20577"/>
          <ac:spMkLst>
            <pc:docMk/>
            <pc:sldMk cId="842945455" sldId="2145705182"/>
            <ac:spMk id="3" creationId="{97C630D1-4EF3-49FE-9E28-82944A7791DE}"/>
          </ac:spMkLst>
        </pc:spChg>
      </pc:sldChg>
      <pc:sldChg chg="add del">
        <pc:chgData name="Gordon, Kate" userId="e114377e-46a7-43ba-9410-e3581ea6072c" providerId="ADAL" clId="{11B882DD-ACA6-4672-8669-08C5810CF5E5}" dt="2022-04-08T22:09:38.624" v="330" actId="2696"/>
        <pc:sldMkLst>
          <pc:docMk/>
          <pc:sldMk cId="2279651047" sldId="2145705182"/>
        </pc:sldMkLst>
      </pc:sldChg>
      <pc:sldChg chg="add del">
        <pc:chgData name="Gordon, Kate" userId="e114377e-46a7-43ba-9410-e3581ea6072c" providerId="ADAL" clId="{11B882DD-ACA6-4672-8669-08C5810CF5E5}" dt="2022-04-08T22:09:38.624" v="330" actId="2696"/>
        <pc:sldMkLst>
          <pc:docMk/>
          <pc:sldMk cId="2100586184" sldId="2145705183"/>
        </pc:sldMkLst>
      </pc:sldChg>
      <pc:sldChg chg="modSp add mod">
        <pc:chgData name="Gordon, Kate" userId="e114377e-46a7-43ba-9410-e3581ea6072c" providerId="ADAL" clId="{11B882DD-ACA6-4672-8669-08C5810CF5E5}" dt="2022-04-08T22:13:38.582" v="443" actId="403"/>
        <pc:sldMkLst>
          <pc:docMk/>
          <pc:sldMk cId="2817269214" sldId="2145705183"/>
        </pc:sldMkLst>
        <pc:spChg chg="mod">
          <ac:chgData name="Gordon, Kate" userId="e114377e-46a7-43ba-9410-e3581ea6072c" providerId="ADAL" clId="{11B882DD-ACA6-4672-8669-08C5810CF5E5}" dt="2022-04-08T22:13:38.582" v="443" actId="403"/>
          <ac:spMkLst>
            <pc:docMk/>
            <pc:sldMk cId="2817269214" sldId="2145705183"/>
            <ac:spMk id="2" creationId="{097D2B4A-0BB4-4A3B-A70C-1C4DA84B9ED6}"/>
          </ac:spMkLst>
        </pc:spChg>
        <pc:spChg chg="mod">
          <ac:chgData name="Gordon, Kate" userId="e114377e-46a7-43ba-9410-e3581ea6072c" providerId="ADAL" clId="{11B882DD-ACA6-4672-8669-08C5810CF5E5}" dt="2022-04-08T22:13:13.354" v="439" actId="20577"/>
          <ac:spMkLst>
            <pc:docMk/>
            <pc:sldMk cId="2817269214" sldId="2145705183"/>
            <ac:spMk id="3" creationId="{97C630D1-4EF3-49FE-9E28-82944A7791DE}"/>
          </ac:spMkLst>
        </pc:spChg>
      </pc:sldChg>
      <pc:sldChg chg="modSp add mod">
        <pc:chgData name="Gordon, Kate" userId="e114377e-46a7-43ba-9410-e3581ea6072c" providerId="ADAL" clId="{11B882DD-ACA6-4672-8669-08C5810CF5E5}" dt="2022-04-08T22:20:09.673" v="567" actId="14100"/>
        <pc:sldMkLst>
          <pc:docMk/>
          <pc:sldMk cId="62309734" sldId="2145705225"/>
        </pc:sldMkLst>
        <pc:spChg chg="mod">
          <ac:chgData name="Gordon, Kate" userId="e114377e-46a7-43ba-9410-e3581ea6072c" providerId="ADAL" clId="{11B882DD-ACA6-4672-8669-08C5810CF5E5}" dt="2022-04-08T22:20:09.673" v="567" actId="14100"/>
          <ac:spMkLst>
            <pc:docMk/>
            <pc:sldMk cId="62309734" sldId="2145705225"/>
            <ac:spMk id="7" creationId="{0AAD3687-DF1D-0E49-859F-353B02150D42}"/>
          </ac:spMkLst>
        </pc:spChg>
      </pc:sldChg>
      <pc:sldChg chg="add del">
        <pc:chgData name="Gordon, Kate" userId="e114377e-46a7-43ba-9410-e3581ea6072c" providerId="ADAL" clId="{11B882DD-ACA6-4672-8669-08C5810CF5E5}" dt="2022-04-08T22:09:38.624" v="330" actId="2696"/>
        <pc:sldMkLst>
          <pc:docMk/>
          <pc:sldMk cId="2372710186" sldId="2145705225"/>
        </pc:sldMkLst>
      </pc:sldChg>
      <pc:sldChg chg="add del">
        <pc:chgData name="Gordon, Kate" userId="e114377e-46a7-43ba-9410-e3581ea6072c" providerId="ADAL" clId="{11B882DD-ACA6-4672-8669-08C5810CF5E5}" dt="2022-04-08T22:09:38.624" v="330" actId="2696"/>
        <pc:sldMkLst>
          <pc:docMk/>
          <pc:sldMk cId="233957550" sldId="2145705227"/>
        </pc:sldMkLst>
      </pc:sldChg>
      <pc:sldChg chg="modSp add mod">
        <pc:chgData name="Gordon, Kate" userId="e114377e-46a7-43ba-9410-e3581ea6072c" providerId="ADAL" clId="{11B882DD-ACA6-4672-8669-08C5810CF5E5}" dt="2022-04-08T22:12:25.245" v="350" actId="14100"/>
        <pc:sldMkLst>
          <pc:docMk/>
          <pc:sldMk cId="3126564092" sldId="2145705227"/>
        </pc:sldMkLst>
        <pc:spChg chg="mod">
          <ac:chgData name="Gordon, Kate" userId="e114377e-46a7-43ba-9410-e3581ea6072c" providerId="ADAL" clId="{11B882DD-ACA6-4672-8669-08C5810CF5E5}" dt="2022-04-08T22:12:25.245" v="350" actId="14100"/>
          <ac:spMkLst>
            <pc:docMk/>
            <pc:sldMk cId="3126564092" sldId="2145705227"/>
            <ac:spMk id="11" creationId="{913B991B-69CE-0B48-94C7-66453CA8B88B}"/>
          </ac:spMkLst>
        </pc:spChg>
      </pc:sldChg>
      <pc:sldChg chg="add del">
        <pc:chgData name="Gordon, Kate" userId="e114377e-46a7-43ba-9410-e3581ea6072c" providerId="ADAL" clId="{11B882DD-ACA6-4672-8669-08C5810CF5E5}" dt="2022-04-08T22:09:38.624" v="330" actId="2696"/>
        <pc:sldMkLst>
          <pc:docMk/>
          <pc:sldMk cId="1432387009" sldId="2145705230"/>
        </pc:sldMkLst>
      </pc:sldChg>
      <pc:sldChg chg="addSp delSp modSp add mod modClrScheme chgLayout">
        <pc:chgData name="Gordon, Kate" userId="e114377e-46a7-43ba-9410-e3581ea6072c" providerId="ADAL" clId="{11B882DD-ACA6-4672-8669-08C5810CF5E5}" dt="2022-04-08T22:18:44.435" v="559" actId="20577"/>
        <pc:sldMkLst>
          <pc:docMk/>
          <pc:sldMk cId="2261066117" sldId="2145705230"/>
        </pc:sldMkLst>
        <pc:spChg chg="add del mod ord">
          <ac:chgData name="Gordon, Kate" userId="e114377e-46a7-43ba-9410-e3581ea6072c" providerId="ADAL" clId="{11B882DD-ACA6-4672-8669-08C5810CF5E5}" dt="2022-04-08T22:17:51.148" v="471" actId="700"/>
          <ac:spMkLst>
            <pc:docMk/>
            <pc:sldMk cId="2261066117" sldId="2145705230"/>
            <ac:spMk id="2" creationId="{CF83BCDB-4338-478C-804A-CA72B316BC2A}"/>
          </ac:spMkLst>
        </pc:spChg>
        <pc:spChg chg="mod ord">
          <ac:chgData name="Gordon, Kate" userId="e114377e-46a7-43ba-9410-e3581ea6072c" providerId="ADAL" clId="{11B882DD-ACA6-4672-8669-08C5810CF5E5}" dt="2022-04-08T22:18:44.435" v="559" actId="20577"/>
          <ac:spMkLst>
            <pc:docMk/>
            <pc:sldMk cId="2261066117" sldId="2145705230"/>
            <ac:spMk id="4" creationId="{16255678-8386-4867-8D6F-620B16DB9BA4}"/>
          </ac:spMkLst>
        </pc:spChg>
        <pc:spChg chg="mod ord">
          <ac:chgData name="Gordon, Kate" userId="e114377e-46a7-43ba-9410-e3581ea6072c" providerId="ADAL" clId="{11B882DD-ACA6-4672-8669-08C5810CF5E5}" dt="2022-04-08T22:17:51.148" v="471" actId="700"/>
          <ac:spMkLst>
            <pc:docMk/>
            <pc:sldMk cId="2261066117" sldId="2145705230"/>
            <ac:spMk id="5" creationId="{C60B5CFE-1948-4460-9F0D-E5CDEEEB434B}"/>
          </ac:spMkLst>
        </pc:spChg>
        <pc:spChg chg="add del mod ord">
          <ac:chgData name="Gordon, Kate" userId="e114377e-46a7-43ba-9410-e3581ea6072c" providerId="ADAL" clId="{11B882DD-ACA6-4672-8669-08C5810CF5E5}" dt="2022-04-08T22:17:51.148" v="471" actId="700"/>
          <ac:spMkLst>
            <pc:docMk/>
            <pc:sldMk cId="2261066117" sldId="2145705230"/>
            <ac:spMk id="9" creationId="{060DB445-E0EE-4F24-AD21-390EBE510954}"/>
          </ac:spMkLst>
        </pc:spChg>
        <pc:spChg chg="add mod ord">
          <ac:chgData name="Gordon, Kate" userId="e114377e-46a7-43ba-9410-e3581ea6072c" providerId="ADAL" clId="{11B882DD-ACA6-4672-8669-08C5810CF5E5}" dt="2022-04-08T22:17:51.148" v="471" actId="700"/>
          <ac:spMkLst>
            <pc:docMk/>
            <pc:sldMk cId="2261066117" sldId="2145705230"/>
            <ac:spMk id="12" creationId="{CDC568C0-1D23-441E-A40D-D91C89B78E2A}"/>
          </ac:spMkLst>
        </pc:spChg>
        <pc:spChg chg="add mod ord">
          <ac:chgData name="Gordon, Kate" userId="e114377e-46a7-43ba-9410-e3581ea6072c" providerId="ADAL" clId="{11B882DD-ACA6-4672-8669-08C5810CF5E5}" dt="2022-04-08T22:17:51.148" v="471" actId="700"/>
          <ac:spMkLst>
            <pc:docMk/>
            <pc:sldMk cId="2261066117" sldId="2145705230"/>
            <ac:spMk id="14" creationId="{87EDDE66-750E-41A3-B727-3252DB77C4BE}"/>
          </ac:spMkLst>
        </pc:spChg>
      </pc:sldChg>
      <pc:sldChg chg="del">
        <pc:chgData name="Gordon, Kate" userId="e114377e-46a7-43ba-9410-e3581ea6072c" providerId="ADAL" clId="{11B882DD-ACA6-4672-8669-08C5810CF5E5}" dt="2022-04-08T22:23:34.179" v="592" actId="47"/>
        <pc:sldMkLst>
          <pc:docMk/>
          <pc:sldMk cId="86697994" sldId="2147472091"/>
        </pc:sldMkLst>
      </pc:sldChg>
      <pc:sldChg chg="del">
        <pc:chgData name="Gordon, Kate" userId="e114377e-46a7-43ba-9410-e3581ea6072c" providerId="ADAL" clId="{11B882DD-ACA6-4672-8669-08C5810CF5E5}" dt="2022-04-08T22:23:29.727" v="590" actId="47"/>
        <pc:sldMkLst>
          <pc:docMk/>
          <pc:sldMk cId="0" sldId="2147472092"/>
        </pc:sldMkLst>
      </pc:sldChg>
      <pc:sldChg chg="del">
        <pc:chgData name="Gordon, Kate" userId="e114377e-46a7-43ba-9410-e3581ea6072c" providerId="ADAL" clId="{11B882DD-ACA6-4672-8669-08C5810CF5E5}" dt="2022-04-08T22:23:32.822" v="591" actId="47"/>
        <pc:sldMkLst>
          <pc:docMk/>
          <pc:sldMk cId="1419158593" sldId="2147472093"/>
        </pc:sldMkLst>
      </pc:sldChg>
      <pc:sldChg chg="del">
        <pc:chgData name="Gordon, Kate" userId="e114377e-46a7-43ba-9410-e3581ea6072c" providerId="ADAL" clId="{11B882DD-ACA6-4672-8669-08C5810CF5E5}" dt="2022-04-08T22:23:20.631" v="588" actId="47"/>
        <pc:sldMkLst>
          <pc:docMk/>
          <pc:sldMk cId="842482503" sldId="2147472094"/>
        </pc:sldMkLst>
      </pc:sldChg>
      <pc:sldChg chg="del">
        <pc:chgData name="Gordon, Kate" userId="e114377e-46a7-43ba-9410-e3581ea6072c" providerId="ADAL" clId="{11B882DD-ACA6-4672-8669-08C5810CF5E5}" dt="2022-04-08T22:23:40.365" v="597" actId="47"/>
        <pc:sldMkLst>
          <pc:docMk/>
          <pc:sldMk cId="4020785875" sldId="2147472098"/>
        </pc:sldMkLst>
      </pc:sldChg>
      <pc:sldChg chg="modSp mod">
        <pc:chgData name="Gordon, Kate" userId="e114377e-46a7-43ba-9410-e3581ea6072c" providerId="ADAL" clId="{11B882DD-ACA6-4672-8669-08C5810CF5E5}" dt="2022-04-08T22:10:47.552" v="339" actId="255"/>
        <pc:sldMkLst>
          <pc:docMk/>
          <pc:sldMk cId="2865534954" sldId="2147472100"/>
        </pc:sldMkLst>
        <pc:spChg chg="mod">
          <ac:chgData name="Gordon, Kate" userId="e114377e-46a7-43ba-9410-e3581ea6072c" providerId="ADAL" clId="{11B882DD-ACA6-4672-8669-08C5810CF5E5}" dt="2022-04-08T22:10:47.552" v="339" actId="255"/>
          <ac:spMkLst>
            <pc:docMk/>
            <pc:sldMk cId="2865534954" sldId="2147472100"/>
            <ac:spMk id="6" creationId="{F9C4A488-7AF0-4E55-8A77-DE8E613357EB}"/>
          </ac:spMkLst>
        </pc:spChg>
      </pc:sldChg>
      <pc:sldChg chg="modSp mod">
        <pc:chgData name="Gordon, Kate" userId="e114377e-46a7-43ba-9410-e3581ea6072c" providerId="ADAL" clId="{11B882DD-ACA6-4672-8669-08C5810CF5E5}" dt="2022-04-08T22:10:26.961" v="335" actId="403"/>
        <pc:sldMkLst>
          <pc:docMk/>
          <pc:sldMk cId="722148101" sldId="2147472101"/>
        </pc:sldMkLst>
        <pc:spChg chg="mod">
          <ac:chgData name="Gordon, Kate" userId="e114377e-46a7-43ba-9410-e3581ea6072c" providerId="ADAL" clId="{11B882DD-ACA6-4672-8669-08C5810CF5E5}" dt="2022-04-08T22:10:26.961" v="335" actId="403"/>
          <ac:spMkLst>
            <pc:docMk/>
            <pc:sldMk cId="722148101" sldId="2147472101"/>
            <ac:spMk id="6" creationId="{0457A10B-8483-460C-B333-769AAAF95126}"/>
          </ac:spMkLst>
        </pc:spChg>
      </pc:sldChg>
      <pc:sldChg chg="modSp mod">
        <pc:chgData name="Gordon, Kate" userId="e114377e-46a7-43ba-9410-e3581ea6072c" providerId="ADAL" clId="{11B882DD-ACA6-4672-8669-08C5810CF5E5}" dt="2022-04-08T22:11:23.705" v="344" actId="6549"/>
        <pc:sldMkLst>
          <pc:docMk/>
          <pc:sldMk cId="4103792386" sldId="2147472102"/>
        </pc:sldMkLst>
        <pc:spChg chg="mod">
          <ac:chgData name="Gordon, Kate" userId="e114377e-46a7-43ba-9410-e3581ea6072c" providerId="ADAL" clId="{11B882DD-ACA6-4672-8669-08C5810CF5E5}" dt="2022-04-08T22:11:23.705" v="344" actId="6549"/>
          <ac:spMkLst>
            <pc:docMk/>
            <pc:sldMk cId="4103792386" sldId="2147472102"/>
            <ac:spMk id="6" creationId="{D8B2F587-6C21-4D03-A179-DF36337F1792}"/>
          </ac:spMkLst>
        </pc:spChg>
      </pc:sldChg>
      <pc:sldChg chg="modSp mod">
        <pc:chgData name="Gordon, Kate" userId="e114377e-46a7-43ba-9410-e3581ea6072c" providerId="ADAL" clId="{11B882DD-ACA6-4672-8669-08C5810CF5E5}" dt="2022-04-08T22:11:40.166" v="348" actId="113"/>
        <pc:sldMkLst>
          <pc:docMk/>
          <pc:sldMk cId="2128038589" sldId="2147472103"/>
        </pc:sldMkLst>
        <pc:spChg chg="mod">
          <ac:chgData name="Gordon, Kate" userId="e114377e-46a7-43ba-9410-e3581ea6072c" providerId="ADAL" clId="{11B882DD-ACA6-4672-8669-08C5810CF5E5}" dt="2022-04-08T22:11:40.166" v="348" actId="113"/>
          <ac:spMkLst>
            <pc:docMk/>
            <pc:sldMk cId="2128038589" sldId="2147472103"/>
            <ac:spMk id="3" creationId="{2C786588-8ADD-4138-AA65-62BA97E44539}"/>
          </ac:spMkLst>
        </pc:spChg>
      </pc:sldChg>
      <pc:sldChg chg="del">
        <pc:chgData name="Gordon, Kate" userId="e114377e-46a7-43ba-9410-e3581ea6072c" providerId="ADAL" clId="{11B882DD-ACA6-4672-8669-08C5810CF5E5}" dt="2022-04-08T22:05:43.969" v="326" actId="47"/>
        <pc:sldMkLst>
          <pc:docMk/>
          <pc:sldMk cId="4003983849" sldId="2147472104"/>
        </pc:sldMkLst>
      </pc:sldChg>
      <pc:sldChg chg="del">
        <pc:chgData name="Gordon, Kate" userId="e114377e-46a7-43ba-9410-e3581ea6072c" providerId="ADAL" clId="{11B882DD-ACA6-4672-8669-08C5810CF5E5}" dt="2022-04-08T22:19:08.523" v="560" actId="2696"/>
        <pc:sldMkLst>
          <pc:docMk/>
          <pc:sldMk cId="1270856395" sldId="2147472105"/>
        </pc:sldMkLst>
      </pc:sldChg>
      <pc:sldChg chg="add">
        <pc:chgData name="Gordon, Kate" userId="e114377e-46a7-43ba-9410-e3581ea6072c" providerId="ADAL" clId="{11B882DD-ACA6-4672-8669-08C5810CF5E5}" dt="2022-04-08T22:19:12.450" v="561"/>
        <pc:sldMkLst>
          <pc:docMk/>
          <pc:sldMk cId="4056360172" sldId="2147472105"/>
        </pc:sldMkLst>
      </pc:sldChg>
      <pc:sldChg chg="del">
        <pc:chgData name="Gordon, Kate" userId="e114377e-46a7-43ba-9410-e3581ea6072c" providerId="ADAL" clId="{11B882DD-ACA6-4672-8669-08C5810CF5E5}" dt="2022-04-08T22:21:00.124" v="576" actId="47"/>
        <pc:sldMkLst>
          <pc:docMk/>
          <pc:sldMk cId="4043836433" sldId="2147472107"/>
        </pc:sldMkLst>
      </pc:sldChg>
      <pc:sldChg chg="del">
        <pc:chgData name="Gordon, Kate" userId="e114377e-46a7-43ba-9410-e3581ea6072c" providerId="ADAL" clId="{11B882DD-ACA6-4672-8669-08C5810CF5E5}" dt="2022-04-08T22:20:54.385" v="575" actId="47"/>
        <pc:sldMkLst>
          <pc:docMk/>
          <pc:sldMk cId="1198497696" sldId="2147472108"/>
        </pc:sldMkLst>
      </pc:sldChg>
      <pc:sldChg chg="modSp mod">
        <pc:chgData name="Gordon, Kate" userId="e114377e-46a7-43ba-9410-e3581ea6072c" providerId="ADAL" clId="{11B882DD-ACA6-4672-8669-08C5810CF5E5}" dt="2022-04-08T22:05:18.887" v="325" actId="14100"/>
        <pc:sldMkLst>
          <pc:docMk/>
          <pc:sldMk cId="3107027904" sldId="2147472109"/>
        </pc:sldMkLst>
        <pc:spChg chg="mod">
          <ac:chgData name="Gordon, Kate" userId="e114377e-46a7-43ba-9410-e3581ea6072c" providerId="ADAL" clId="{11B882DD-ACA6-4672-8669-08C5810CF5E5}" dt="2022-04-08T22:05:18.887" v="325" actId="14100"/>
          <ac:spMkLst>
            <pc:docMk/>
            <pc:sldMk cId="3107027904" sldId="2147472109"/>
            <ac:spMk id="5" creationId="{9E4FA384-E51F-41FB-B561-33FE92B68478}"/>
          </ac:spMkLst>
        </pc:spChg>
      </pc:sldChg>
      <pc:sldChg chg="del">
        <pc:chgData name="Gordon, Kate" userId="e114377e-46a7-43ba-9410-e3581ea6072c" providerId="ADAL" clId="{11B882DD-ACA6-4672-8669-08C5810CF5E5}" dt="2022-04-08T22:23:55.244" v="604" actId="47"/>
        <pc:sldMkLst>
          <pc:docMk/>
          <pc:sldMk cId="140911367" sldId="2147472114"/>
        </pc:sldMkLst>
      </pc:sldChg>
      <pc:sldChg chg="del">
        <pc:chgData name="Gordon, Kate" userId="e114377e-46a7-43ba-9410-e3581ea6072c" providerId="ADAL" clId="{11B882DD-ACA6-4672-8669-08C5810CF5E5}" dt="2022-04-08T22:23:54.203" v="603" actId="47"/>
        <pc:sldMkLst>
          <pc:docMk/>
          <pc:sldMk cId="2897776626" sldId="2147472115"/>
        </pc:sldMkLst>
      </pc:sldChg>
      <pc:sldChg chg="del">
        <pc:chgData name="Gordon, Kate" userId="e114377e-46a7-43ba-9410-e3581ea6072c" providerId="ADAL" clId="{11B882DD-ACA6-4672-8669-08C5810CF5E5}" dt="2022-04-08T22:23:48.419" v="601" actId="47"/>
        <pc:sldMkLst>
          <pc:docMk/>
          <pc:sldMk cId="1526743479" sldId="2147472116"/>
        </pc:sldMkLst>
      </pc:sldChg>
      <pc:sldChg chg="del">
        <pc:chgData name="Gordon, Kate" userId="e114377e-46a7-43ba-9410-e3581ea6072c" providerId="ADAL" clId="{11B882DD-ACA6-4672-8669-08C5810CF5E5}" dt="2022-04-08T22:23:36.670" v="594" actId="47"/>
        <pc:sldMkLst>
          <pc:docMk/>
          <pc:sldMk cId="3084696829" sldId="2147472117"/>
        </pc:sldMkLst>
      </pc:sldChg>
      <pc:sldChg chg="del">
        <pc:chgData name="Gordon, Kate" userId="e114377e-46a7-43ba-9410-e3581ea6072c" providerId="ADAL" clId="{11B882DD-ACA6-4672-8669-08C5810CF5E5}" dt="2022-04-08T22:23:35.899" v="593" actId="47"/>
        <pc:sldMkLst>
          <pc:docMk/>
          <pc:sldMk cId="2697927220" sldId="2147472118"/>
        </pc:sldMkLst>
      </pc:sldChg>
      <pc:sldChg chg="del">
        <pc:chgData name="Gordon, Kate" userId="e114377e-46a7-43ba-9410-e3581ea6072c" providerId="ADAL" clId="{11B882DD-ACA6-4672-8669-08C5810CF5E5}" dt="2022-04-08T22:19:23.036" v="562" actId="2696"/>
        <pc:sldMkLst>
          <pc:docMk/>
          <pc:sldMk cId="1890093305" sldId="2147472121"/>
        </pc:sldMkLst>
      </pc:sldChg>
      <pc:sldChg chg="add">
        <pc:chgData name="Gordon, Kate" userId="e114377e-46a7-43ba-9410-e3581ea6072c" providerId="ADAL" clId="{11B882DD-ACA6-4672-8669-08C5810CF5E5}" dt="2022-04-08T22:19:32.452" v="563"/>
        <pc:sldMkLst>
          <pc:docMk/>
          <pc:sldMk cId="1977252917" sldId="2147472121"/>
        </pc:sldMkLst>
      </pc:sldChg>
      <pc:sldChg chg="add">
        <pc:chgData name="Gordon, Kate" userId="e114377e-46a7-43ba-9410-e3581ea6072c" providerId="ADAL" clId="{11B882DD-ACA6-4672-8669-08C5810CF5E5}" dt="2022-04-08T22:21:35.531" v="580"/>
        <pc:sldMkLst>
          <pc:docMk/>
          <pc:sldMk cId="887286855" sldId="2147472122"/>
        </pc:sldMkLst>
      </pc:sldChg>
      <pc:sldChg chg="delSp add del setBg delDesignElem">
        <pc:chgData name="Gordon, Kate" userId="e114377e-46a7-43ba-9410-e3581ea6072c" providerId="ADAL" clId="{11B882DD-ACA6-4672-8669-08C5810CF5E5}" dt="2022-04-08T22:10:09.911" v="334" actId="47"/>
        <pc:sldMkLst>
          <pc:docMk/>
          <pc:sldMk cId="1357221905" sldId="2147472122"/>
        </pc:sldMkLst>
        <pc:spChg chg="del">
          <ac:chgData name="Gordon, Kate" userId="e114377e-46a7-43ba-9410-e3581ea6072c" providerId="ADAL" clId="{11B882DD-ACA6-4672-8669-08C5810CF5E5}" dt="2022-04-08T22:04:27.043" v="319"/>
          <ac:spMkLst>
            <pc:docMk/>
            <pc:sldMk cId="1357221905" sldId="2147472122"/>
            <ac:spMk id="11" creationId="{73DE2CFE-42F2-48F0-8706-5264E012B10C}"/>
          </ac:spMkLst>
        </pc:spChg>
      </pc:sldChg>
      <pc:sldChg chg="add del">
        <pc:chgData name="Gordon, Kate" userId="e114377e-46a7-43ba-9410-e3581ea6072c" providerId="ADAL" clId="{11B882DD-ACA6-4672-8669-08C5810CF5E5}" dt="2022-04-08T22:08:50.319" v="329"/>
        <pc:sldMkLst>
          <pc:docMk/>
          <pc:sldMk cId="451212678" sldId="2147472123"/>
        </pc:sldMkLst>
      </pc:sldChg>
      <pc:sldChg chg="add">
        <pc:chgData name="Gordon, Kate" userId="e114377e-46a7-43ba-9410-e3581ea6072c" providerId="ADAL" clId="{11B882DD-ACA6-4672-8669-08C5810CF5E5}" dt="2022-04-08T22:21:35.531" v="580"/>
        <pc:sldMkLst>
          <pc:docMk/>
          <pc:sldMk cId="2501063067" sldId="2147472123"/>
        </pc:sldMkLst>
      </pc:sldChg>
      <pc:sldChg chg="add del">
        <pc:chgData name="Gordon, Kate" userId="e114377e-46a7-43ba-9410-e3581ea6072c" providerId="ADAL" clId="{11B882DD-ACA6-4672-8669-08C5810CF5E5}" dt="2022-04-08T22:08:50.319" v="329"/>
        <pc:sldMkLst>
          <pc:docMk/>
          <pc:sldMk cId="1975103307" sldId="2147472124"/>
        </pc:sldMkLst>
      </pc:sldChg>
      <pc:sldChg chg="add del">
        <pc:chgData name="Gordon, Kate" userId="e114377e-46a7-43ba-9410-e3581ea6072c" providerId="ADAL" clId="{11B882DD-ACA6-4672-8669-08C5810CF5E5}" dt="2022-04-08T22:08:50.319" v="329"/>
        <pc:sldMkLst>
          <pc:docMk/>
          <pc:sldMk cId="3291047754" sldId="2147472125"/>
        </pc:sldMkLst>
      </pc:sldChg>
      <pc:sldChg chg="add del">
        <pc:chgData name="Gordon, Kate" userId="e114377e-46a7-43ba-9410-e3581ea6072c" providerId="ADAL" clId="{11B882DD-ACA6-4672-8669-08C5810CF5E5}" dt="2022-04-08T22:08:50.319" v="329"/>
        <pc:sldMkLst>
          <pc:docMk/>
          <pc:sldMk cId="1704522414" sldId="2147472126"/>
        </pc:sldMkLst>
      </pc:sldChg>
      <pc:sldMasterChg chg="del delSldLayout">
        <pc:chgData name="Gordon, Kate" userId="e114377e-46a7-43ba-9410-e3581ea6072c" providerId="ADAL" clId="{11B882DD-ACA6-4672-8669-08C5810CF5E5}" dt="2022-04-08T22:23:40.365" v="597" actId="47"/>
        <pc:sldMasterMkLst>
          <pc:docMk/>
          <pc:sldMasterMk cId="3554625457" sldId="2147483648"/>
        </pc:sldMasterMkLst>
        <pc:sldLayoutChg chg="del">
          <pc:chgData name="Gordon, Kate" userId="e114377e-46a7-43ba-9410-e3581ea6072c" providerId="ADAL" clId="{11B882DD-ACA6-4672-8669-08C5810CF5E5}" dt="2022-04-08T22:23:40.365" v="597" actId="47"/>
          <pc:sldLayoutMkLst>
            <pc:docMk/>
            <pc:sldMasterMk cId="3554625457" sldId="2147483648"/>
            <pc:sldLayoutMk cId="698863256" sldId="2147483649"/>
          </pc:sldLayoutMkLst>
        </pc:sldLayoutChg>
        <pc:sldLayoutChg chg="del">
          <pc:chgData name="Gordon, Kate" userId="e114377e-46a7-43ba-9410-e3581ea6072c" providerId="ADAL" clId="{11B882DD-ACA6-4672-8669-08C5810CF5E5}" dt="2022-04-08T22:23:40.365" v="597" actId="47"/>
          <pc:sldLayoutMkLst>
            <pc:docMk/>
            <pc:sldMasterMk cId="3554625457" sldId="2147483648"/>
            <pc:sldLayoutMk cId="2628761044" sldId="2147483650"/>
          </pc:sldLayoutMkLst>
        </pc:sldLayoutChg>
        <pc:sldLayoutChg chg="del">
          <pc:chgData name="Gordon, Kate" userId="e114377e-46a7-43ba-9410-e3581ea6072c" providerId="ADAL" clId="{11B882DD-ACA6-4672-8669-08C5810CF5E5}" dt="2022-04-08T22:23:40.365" v="597" actId="47"/>
          <pc:sldLayoutMkLst>
            <pc:docMk/>
            <pc:sldMasterMk cId="3554625457" sldId="2147483648"/>
            <pc:sldLayoutMk cId="2247395587" sldId="2147483674"/>
          </pc:sldLayoutMkLst>
        </pc:sldLayoutChg>
      </pc:sldMasterChg>
      <pc:sldMasterChg chg="delSldLayout">
        <pc:chgData name="Gordon, Kate" userId="e114377e-46a7-43ba-9410-e3581ea6072c" providerId="ADAL" clId="{11B882DD-ACA6-4672-8669-08C5810CF5E5}" dt="2022-04-08T22:23:54.203" v="603" actId="47"/>
        <pc:sldMasterMkLst>
          <pc:docMk/>
          <pc:sldMasterMk cId="2030566188" sldId="2147483660"/>
        </pc:sldMasterMkLst>
        <pc:sldLayoutChg chg="del">
          <pc:chgData name="Gordon, Kate" userId="e114377e-46a7-43ba-9410-e3581ea6072c" providerId="ADAL" clId="{11B882DD-ACA6-4672-8669-08C5810CF5E5}" dt="2022-04-08T22:21:42.153" v="581" actId="47"/>
          <pc:sldLayoutMkLst>
            <pc:docMk/>
            <pc:sldMasterMk cId="2030566188" sldId="2147483660"/>
            <pc:sldLayoutMk cId="3462737441" sldId="2147483678"/>
          </pc:sldLayoutMkLst>
        </pc:sldLayoutChg>
        <pc:sldLayoutChg chg="del">
          <pc:chgData name="Gordon, Kate" userId="e114377e-46a7-43ba-9410-e3581ea6072c" providerId="ADAL" clId="{11B882DD-ACA6-4672-8669-08C5810CF5E5}" dt="2022-04-08T22:23:54.203" v="603" actId="47"/>
          <pc:sldLayoutMkLst>
            <pc:docMk/>
            <pc:sldMasterMk cId="2030566188" sldId="2147483660"/>
            <pc:sldLayoutMk cId="3831515231" sldId="2147483679"/>
          </pc:sldLayoutMkLst>
        </pc:sldLayoutChg>
        <pc:sldLayoutChg chg="del">
          <pc:chgData name="Gordon, Kate" userId="e114377e-46a7-43ba-9410-e3581ea6072c" providerId="ADAL" clId="{11B882DD-ACA6-4672-8669-08C5810CF5E5}" dt="2022-04-08T22:20:48.436" v="570" actId="47"/>
          <pc:sldLayoutMkLst>
            <pc:docMk/>
            <pc:sldMasterMk cId="2030566188" sldId="2147483660"/>
            <pc:sldLayoutMk cId="2665213708" sldId="2147483680"/>
          </pc:sldLayoutMkLst>
        </pc:sldLayoutChg>
        <pc:sldLayoutChg chg="del">
          <pc:chgData name="Gordon, Kate" userId="e114377e-46a7-43ba-9410-e3581ea6072c" providerId="ADAL" clId="{11B882DD-ACA6-4672-8669-08C5810CF5E5}" dt="2022-04-08T22:19:23.036" v="562" actId="2696"/>
          <pc:sldLayoutMkLst>
            <pc:docMk/>
            <pc:sldMasterMk cId="2030566188" sldId="2147483660"/>
            <pc:sldLayoutMk cId="2965754428" sldId="2147483692"/>
          </pc:sldLayoutMkLst>
        </pc:sldLayoutChg>
        <pc:sldLayoutChg chg="del">
          <pc:chgData name="Gordon, Kate" userId="e114377e-46a7-43ba-9410-e3581ea6072c" providerId="ADAL" clId="{11B882DD-ACA6-4672-8669-08C5810CF5E5}" dt="2022-04-08T22:09:38.624" v="330" actId="2696"/>
          <pc:sldLayoutMkLst>
            <pc:docMk/>
            <pc:sldMasterMk cId="2030566188" sldId="2147483660"/>
            <pc:sldLayoutMk cId="3846685563" sldId="2147483693"/>
          </pc:sldLayoutMkLst>
        </pc:sldLayoutChg>
        <pc:sldLayoutChg chg="del">
          <pc:chgData name="Gordon, Kate" userId="e114377e-46a7-43ba-9410-e3581ea6072c" providerId="ADAL" clId="{11B882DD-ACA6-4672-8669-08C5810CF5E5}" dt="2022-04-08T22:09:38.624" v="330" actId="2696"/>
          <pc:sldLayoutMkLst>
            <pc:docMk/>
            <pc:sldMasterMk cId="2030566188" sldId="2147483660"/>
            <pc:sldLayoutMk cId="445430706" sldId="2147483694"/>
          </pc:sldLayoutMkLst>
        </pc:sldLayoutChg>
      </pc:sldMasterChg>
      <pc:sldMasterChg chg="delSldLayout">
        <pc:chgData name="Gordon, Kate" userId="e114377e-46a7-43ba-9410-e3581ea6072c" providerId="ADAL" clId="{11B882DD-ACA6-4672-8669-08C5810CF5E5}" dt="2022-04-08T22:23:32.822" v="591" actId="47"/>
        <pc:sldMasterMkLst>
          <pc:docMk/>
          <pc:sldMasterMk cId="1232792028" sldId="2147483681"/>
        </pc:sldMasterMkLst>
        <pc:sldLayoutChg chg="del">
          <pc:chgData name="Gordon, Kate" userId="e114377e-46a7-43ba-9410-e3581ea6072c" providerId="ADAL" clId="{11B882DD-ACA6-4672-8669-08C5810CF5E5}" dt="2022-04-08T22:23:32.822" v="591" actId="47"/>
          <pc:sldLayoutMkLst>
            <pc:docMk/>
            <pc:sldMasterMk cId="1232792028" sldId="2147483681"/>
            <pc:sldLayoutMk cId="3089385261" sldId="2147483691"/>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C75B69-808E-4F0D-9A62-2F444C346138}" type="datetimeFigureOut">
              <a:rPr lang="en-US" smtClean="0"/>
              <a:t>4/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121F0D-7777-422C-A84A-0E09290A93D9}" type="slidenum">
              <a:rPr lang="en-US" smtClean="0"/>
              <a:t>‹#›</a:t>
            </a:fld>
            <a:endParaRPr lang="en-US"/>
          </a:p>
        </p:txBody>
      </p:sp>
    </p:spTree>
    <p:extLst>
      <p:ext uri="{BB962C8B-B14F-4D97-AF65-F5344CB8AC3E}">
        <p14:creationId xmlns:p14="http://schemas.microsoft.com/office/powerpoint/2010/main" val="32021426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npr.org/2021/11/15/1055841358/biden-signs-1t-bipartisan-infrastructure-bill-into-law"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73121F0D-7777-422C-A84A-0E09290A93D9}" type="slidenum">
              <a:rPr lang="en-US" smtClean="0"/>
              <a:t>2</a:t>
            </a:fld>
            <a:endParaRPr lang="en-US"/>
          </a:p>
        </p:txBody>
      </p:sp>
    </p:spTree>
    <p:extLst>
      <p:ext uri="{BB962C8B-B14F-4D97-AF65-F5344CB8AC3E}">
        <p14:creationId xmlns:p14="http://schemas.microsoft.com/office/powerpoint/2010/main" val="36484139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enerators are also considering a wide range of clean energy alternative as they strive to make the best use of these asset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AD9CCC-4DB9-874B-8618-ABF8013F20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94233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enerators are also considering a wide range of clean energy alternativ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AD9CCC-4DB9-874B-8618-ABF8013F20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85946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iscuss the purpose of the clearinghouse and provide a high-level overview of what’s currently included: summary statistics (number of agencies, number of opportunities, total dollar amount available, et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re are many more opportunities coming from the bipartisan infrastructure law as new programs and funding are announced beyond those currently identified as planned.</a:t>
            </a: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rgbClr val="FF0000"/>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3E4585-6916-4919-8812-D2CD645E3D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57781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ＭＳ Ｐゴシック" pitchFamily="-108" charset="-128"/>
                <a:cs typeface="ＭＳ Ｐゴシック" charset="0"/>
              </a:rPr>
              <a:t>We welcome input and collaboration on the next steps we are taking.</a:t>
            </a:r>
          </a:p>
        </p:txBody>
      </p:sp>
      <p:sp>
        <p:nvSpPr>
          <p:cNvPr id="4" name="Slide Number Placeholder 3"/>
          <p:cNvSpPr>
            <a:spLocks noGrp="1"/>
          </p:cNvSpPr>
          <p:nvPr>
            <p:ph type="sldNum" sz="quarter" idx="5"/>
          </p:nvPr>
        </p:nvSpPr>
        <p:spPr/>
        <p:txBody>
          <a:bodyPr/>
          <a:lstStyle/>
          <a:p>
            <a:fld id="{8774783E-8C29-42B3-9130-5B3F7C48C41B}" type="slidenum">
              <a:rPr lang="en-US" smtClean="0"/>
              <a:t>26</a:t>
            </a:fld>
            <a:endParaRPr lang="en-US" dirty="0"/>
          </a:p>
        </p:txBody>
      </p:sp>
    </p:spTree>
    <p:extLst>
      <p:ext uri="{BB962C8B-B14F-4D97-AF65-F5344CB8AC3E}">
        <p14:creationId xmlns:p14="http://schemas.microsoft.com/office/powerpoint/2010/main" val="27582082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E4C1A54-7F2E-2148-854B-9D255CDB8720}" type="slidenum">
              <a:rPr kumimoji="0" lang="en-US" sz="1200" b="0" i="0" u="none" strike="noStrike" kern="1200" cap="none" spc="0" normalizeH="0" baseline="0" noProof="0" smtClean="0">
                <a:ln>
                  <a:noFill/>
                </a:ln>
                <a:solidFill>
                  <a:prstClr val="black"/>
                </a:solidFill>
                <a:effectLst/>
                <a:uLnTx/>
                <a:uFillTx/>
                <a:latin typeface="Calibri" charset="0"/>
              </a:rPr>
              <a:pPr marL="0" marR="0" lvl="0" indent="0" algn="r" defTabSz="4572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charset="0"/>
            </a:endParaRPr>
          </a:p>
        </p:txBody>
      </p:sp>
    </p:spTree>
    <p:extLst>
      <p:ext uri="{BB962C8B-B14F-4D97-AF65-F5344CB8AC3E}">
        <p14:creationId xmlns:p14="http://schemas.microsoft.com/office/powerpoint/2010/main" val="39098287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a:bodyPr>
          <a:lstStyle/>
          <a:p>
            <a:pPr marL="0" marR="0" lvl="0" indent="0">
              <a:spcBef>
                <a:spcPts val="0"/>
              </a:spcBef>
              <a:spcAft>
                <a:spcPts val="0"/>
              </a:spcAft>
              <a:buFont typeface="Symbol" panose="05050102010706020507" pitchFamily="18" charset="2"/>
              <a:buNone/>
            </a:pPr>
            <a:endParaRPr lang="en-US" sz="180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E4C1A54-7F2E-2148-854B-9D255CDB8720}" type="slidenum">
              <a:rPr kumimoji="0" lang="en-US" sz="1200" b="0" i="0" u="none" strike="noStrike" kern="1200" cap="none" spc="0" normalizeH="0" baseline="0" noProof="0" smtClean="0">
                <a:ln>
                  <a:noFill/>
                </a:ln>
                <a:solidFill>
                  <a:prstClr val="black"/>
                </a:solidFill>
                <a:effectLst/>
                <a:uLnTx/>
                <a:uFillTx/>
                <a:latin typeface="Calibri"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charset="0"/>
              <a:ea typeface="+mn-ea"/>
              <a:cs typeface="+mn-cs"/>
            </a:endParaRPr>
          </a:p>
        </p:txBody>
      </p:sp>
    </p:spTree>
    <p:extLst>
      <p:ext uri="{BB962C8B-B14F-4D97-AF65-F5344CB8AC3E}">
        <p14:creationId xmlns:p14="http://schemas.microsoft.com/office/powerpoint/2010/main" val="668154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Battery material processing, manufacturing, and recycling. Focus on critical minerals. </a:t>
            </a:r>
          </a:p>
        </p:txBody>
      </p:sp>
      <p:sp>
        <p:nvSpPr>
          <p:cNvPr id="4" name="Slide Number Placeholder 3"/>
          <p:cNvSpPr>
            <a:spLocks noGrp="1"/>
          </p:cNvSpPr>
          <p:nvPr>
            <p:ph type="sldNum" sz="quarter" idx="5"/>
          </p:nvPr>
        </p:nvSpPr>
        <p:spPr/>
        <p:txBody>
          <a:bodyPr/>
          <a:lstStyle/>
          <a:p>
            <a:fld id="{73121F0D-7777-422C-A84A-0E09290A93D9}" type="slidenum">
              <a:rPr lang="en-US" smtClean="0"/>
              <a:t>7</a:t>
            </a:fld>
            <a:endParaRPr lang="en-US"/>
          </a:p>
        </p:txBody>
      </p:sp>
    </p:spTree>
    <p:extLst>
      <p:ext uri="{BB962C8B-B14F-4D97-AF65-F5344CB8AC3E}">
        <p14:creationId xmlns:p14="http://schemas.microsoft.com/office/powerpoint/2010/main" val="2875810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hoto link: </a:t>
            </a:r>
            <a:r>
              <a:rPr lang="en-US">
                <a:hlinkClick r:id="rId3"/>
              </a:rPr>
              <a:t>Biden signs bipartisan infrastructure bill into law : NPR</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61F9EC-C08C-444D-9B99-F1CE05B2F2A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72474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3FEDB1-DD37-4D24-8CBD-D1D9717FB4A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85612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1"/>
        <p:cNvGrpSpPr/>
        <p:nvPr/>
      </p:nvGrpSpPr>
      <p:grpSpPr>
        <a:xfrm>
          <a:off x="0" y="0"/>
          <a:ext cx="0" cy="0"/>
          <a:chOff x="0" y="0"/>
          <a:chExt cx="0" cy="0"/>
        </a:xfrm>
      </p:grpSpPr>
      <p:sp>
        <p:nvSpPr>
          <p:cNvPr id="262" name="Google Shape;262;g9b3e272eed_0_10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
        <p:nvSpPr>
          <p:cNvPr id="263" name="Google Shape;263;g9b3e272eed_0_1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5467798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b="1" kern="1200" dirty="0">
                <a:solidFill>
                  <a:schemeClr val="tx1"/>
                </a:solidFill>
                <a:effectLst/>
                <a:latin typeface="+mn-lt"/>
                <a:ea typeface="ヒラギノ角ゴ Pro W3" charset="0"/>
                <a:cs typeface="ＭＳ Ｐゴシック" pitchFamily="-108" charset="-128"/>
              </a:rPr>
              <a:t>IWG was established by EO14008 </a:t>
            </a:r>
            <a:r>
              <a:rPr lang="en-US" sz="1200" kern="1200" dirty="0">
                <a:solidFill>
                  <a:schemeClr val="tx1"/>
                </a:solidFill>
                <a:effectLst/>
                <a:latin typeface="+mn-lt"/>
                <a:ea typeface="ヒラギノ角ゴ Pro W3" charset="0"/>
                <a:cs typeface="ＭＳ Ｐゴシック" pitchFamily="-108" charset="-128"/>
              </a:rPr>
              <a:t>(Executive Order on Tackling the Climate Crisis at Home and Abroad) signed by the President in January 2021. DOE was charged to write an Initial Report to assess existing authorities available to the government to support coal, oil and gas, and power plant communities as they transition.</a:t>
            </a:r>
          </a:p>
          <a:p>
            <a:pPr marL="171450" lvl="0" indent="-171450">
              <a:buFont typeface="Arial" panose="020B0604020202020204" pitchFamily="34" charset="0"/>
              <a:buChar char="•"/>
            </a:pPr>
            <a:r>
              <a:rPr lang="en-US" sz="1200" b="1" kern="1200" dirty="0">
                <a:solidFill>
                  <a:schemeClr val="tx1"/>
                </a:solidFill>
                <a:effectLst/>
                <a:latin typeface="+mn-lt"/>
                <a:ea typeface="ヒラギノ角ゴ Pro W3" charset="0"/>
                <a:cs typeface="ＭＳ Ｐゴシック" pitchFamily="-108" charset="-128"/>
              </a:rPr>
              <a:t>The IWG is an interagency effort and consists of 12 member agencies.</a:t>
            </a:r>
          </a:p>
        </p:txBody>
      </p:sp>
      <p:sp>
        <p:nvSpPr>
          <p:cNvPr id="4" name="Slide Number Placeholder 3"/>
          <p:cNvSpPr>
            <a:spLocks noGrp="1"/>
          </p:cNvSpPr>
          <p:nvPr>
            <p:ph type="sldNum" sz="quarter" idx="5"/>
          </p:nvPr>
        </p:nvSpPr>
        <p:spPr/>
        <p:txBody>
          <a:bodyPr/>
          <a:lstStyle/>
          <a:p>
            <a:fld id="{4698B84C-A1B8-46CF-9A84-5751371D40F2}" type="slidenum">
              <a:rPr lang="en-US" smtClean="0"/>
              <a:t>20</a:t>
            </a:fld>
            <a:endParaRPr lang="en-US"/>
          </a:p>
        </p:txBody>
      </p:sp>
    </p:spTree>
    <p:extLst>
      <p:ext uri="{BB962C8B-B14F-4D97-AF65-F5344CB8AC3E}">
        <p14:creationId xmlns:p14="http://schemas.microsoft.com/office/powerpoint/2010/main" val="37714226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1100" b="0" dirty="0"/>
              <a:t>The Interagency Working Group </a:t>
            </a:r>
            <a:r>
              <a:rPr lang="en-US" sz="1100" b="1" kern="1200" dirty="0">
                <a:solidFill>
                  <a:schemeClr val="tx1"/>
                </a:solidFill>
                <a:effectLst/>
                <a:ea typeface="ヒラギノ角ゴ Pro W3" charset="0"/>
                <a:cs typeface="ＭＳ Ｐゴシック" pitchFamily="-108" charset="-128"/>
              </a:rPr>
              <a:t>identified 25 priority Energy Communities/</a:t>
            </a:r>
            <a:r>
              <a:rPr lang="en-US" sz="1100" kern="1200" dirty="0">
                <a:solidFill>
                  <a:schemeClr val="tx1"/>
                </a:solidFill>
                <a:effectLst/>
                <a:ea typeface="ヒラギノ角ゴ Pro W3" charset="0"/>
                <a:cs typeface="ＭＳ Ｐゴシック" pitchFamily="-108" charset="-128"/>
              </a:rPr>
              <a:t>The 25 regions are related to those areas of the country with the densest coal employment – these areas are also closely related to the areas that have suffered the most losses of coal mines and coal power plants over the last 15 years.</a:t>
            </a:r>
          </a:p>
          <a:p>
            <a:pPr marL="171450" lvl="0" indent="-171450">
              <a:buFont typeface="Arial" panose="020B0604020202020204" pitchFamily="34" charset="0"/>
              <a:buChar char="•"/>
            </a:pPr>
            <a:endParaRPr lang="en-US" sz="1100" kern="1200" dirty="0">
              <a:solidFill>
                <a:schemeClr val="tx1"/>
              </a:solidFill>
              <a:effectLst/>
              <a:ea typeface="ヒラギノ角ゴ Pro W3" charset="0"/>
              <a:cs typeface="ＭＳ Ｐゴシック" pitchFamily="-108" charset="-128"/>
            </a:endParaRPr>
          </a:p>
          <a:p>
            <a:pPr marL="171450" lvl="0" indent="-171450">
              <a:buFont typeface="Arial" panose="020B0604020202020204" pitchFamily="34" charset="0"/>
              <a:buChar char="•"/>
            </a:pPr>
            <a:r>
              <a:rPr lang="en-US" sz="1100" b="1" kern="1200" dirty="0">
                <a:solidFill>
                  <a:schemeClr val="tx1"/>
                </a:solidFill>
                <a:effectLst/>
                <a:ea typeface="ヒラギノ角ゴ Pro W3" charset="0"/>
                <a:cs typeface="ＭＳ Ｐゴシック" pitchFamily="-108" charset="-128"/>
              </a:rPr>
              <a:t>The 25 communities will be used to guide the logistics of listening tour planning and to provide a focus for coordinating and catalyzing investments</a:t>
            </a:r>
            <a:r>
              <a:rPr lang="en-US" sz="1100" kern="1200" dirty="0">
                <a:solidFill>
                  <a:schemeClr val="tx1"/>
                </a:solidFill>
                <a:effectLst/>
                <a:ea typeface="ヒラギノ角ゴ Pro W3" charset="0"/>
                <a:cs typeface="ＭＳ Ｐゴシック" pitchFamily="-108" charset="-128"/>
              </a:rPr>
              <a:t>. </a:t>
            </a:r>
          </a:p>
          <a:p>
            <a:pPr marL="171450" lvl="0" indent="-171450">
              <a:buFont typeface="Arial" panose="020B0604020202020204" pitchFamily="34" charset="0"/>
              <a:buChar char="•"/>
            </a:pPr>
            <a:r>
              <a:rPr lang="en-US" sz="1100" b="1" kern="1200" dirty="0">
                <a:solidFill>
                  <a:schemeClr val="tx1"/>
                </a:solidFill>
                <a:effectLst/>
                <a:ea typeface="ヒラギノ角ゴ Pro W3" charset="0"/>
                <a:cs typeface="ＭＳ Ｐゴシック" pitchFamily="-108" charset="-128"/>
              </a:rPr>
              <a:t>Two of those communities are in Kentuck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a:solidFill>
                  <a:schemeClr val="tx1"/>
                </a:solidFill>
                <a:effectLst/>
                <a:ea typeface="ヒラギノ角ゴ Pro W3" charset="0"/>
                <a:cs typeface="ＭＳ Ｐゴシック" pitchFamily="-108" charset="-128"/>
              </a:rPr>
              <a:t>Cover Eastern and Western Kentucky communities</a:t>
            </a:r>
          </a:p>
          <a:p>
            <a:pPr marL="171450" lvl="0" indent="-171450">
              <a:buFont typeface="Arial" panose="020B0604020202020204" pitchFamily="34" charset="0"/>
              <a:buChar char="•"/>
            </a:pPr>
            <a:endParaRPr lang="en-US" sz="1100" b="1" kern="1200" dirty="0">
              <a:solidFill>
                <a:schemeClr val="tx1"/>
              </a:solidFill>
              <a:effectLst/>
              <a:ea typeface="ヒラギノ角ゴ Pro W3" charset="0"/>
              <a:cs typeface="ＭＳ Ｐゴシック" pitchFamily="-108" charset="-128"/>
            </a:endParaRPr>
          </a:p>
          <a:p>
            <a:pPr marL="171450" lvl="0" indent="-171450">
              <a:buFont typeface="Arial" panose="020B0604020202020204" pitchFamily="34" charset="0"/>
              <a:buChar char="•"/>
            </a:pPr>
            <a:r>
              <a:rPr lang="en-US" sz="1100" b="1" kern="1200" dirty="0">
                <a:solidFill>
                  <a:schemeClr val="tx1"/>
                </a:solidFill>
                <a:effectLst/>
                <a:ea typeface="ヒラギノ角ゴ Pro W3" charset="0"/>
                <a:cs typeface="ＭＳ Ｐゴシック" pitchFamily="-108" charset="-128"/>
              </a:rPr>
              <a:t>The four main goals</a:t>
            </a:r>
            <a:r>
              <a:rPr lang="en-US" sz="1100" b="0" kern="1200" dirty="0">
                <a:solidFill>
                  <a:schemeClr val="tx1"/>
                </a:solidFill>
                <a:effectLst/>
                <a:ea typeface="ヒラギノ角ゴ Pro W3" charset="0"/>
                <a:cs typeface="ＭＳ Ｐゴシック" pitchFamily="-108" charset="-128"/>
              </a:rPr>
              <a:t> are to create good-paying jobs, spur economic revitalization, remediate environmental degradation, and support energy workers (current and former)</a:t>
            </a:r>
            <a:endParaRPr lang="en-US" sz="1100" b="1" kern="1200" dirty="0">
              <a:solidFill>
                <a:schemeClr val="tx1"/>
              </a:solidFill>
              <a:effectLst/>
              <a:ea typeface="ヒラギノ角ゴ Pro W3" charset="0"/>
              <a:cs typeface="ＭＳ Ｐゴシック" pitchFamily="-108" charset="-128"/>
            </a:endParaRPr>
          </a:p>
          <a:p>
            <a:endParaRPr lang="en-US" dirty="0"/>
          </a:p>
        </p:txBody>
      </p:sp>
      <p:sp>
        <p:nvSpPr>
          <p:cNvPr id="4" name="Slide Number Placeholder 3"/>
          <p:cNvSpPr>
            <a:spLocks noGrp="1"/>
          </p:cNvSpPr>
          <p:nvPr>
            <p:ph type="sldNum" sz="quarter" idx="5"/>
          </p:nvPr>
        </p:nvSpPr>
        <p:spPr/>
        <p:txBody>
          <a:bodyPr/>
          <a:lstStyle/>
          <a:p>
            <a:fld id="{4698B84C-A1B8-46CF-9A84-5751371D40F2}" type="slidenum">
              <a:rPr lang="en-US" smtClean="0"/>
              <a:t>21</a:t>
            </a:fld>
            <a:endParaRPr lang="en-US"/>
          </a:p>
        </p:txBody>
      </p:sp>
    </p:spTree>
    <p:extLst>
      <p:ext uri="{BB962C8B-B14F-4D97-AF65-F5344CB8AC3E}">
        <p14:creationId xmlns:p14="http://schemas.microsoft.com/office/powerpoint/2010/main" val="3147317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E3543D-3F0B-4CD9-A96E-7386CDF1F573}"/>
              </a:ext>
            </a:extLst>
          </p:cNvPr>
          <p:cNvSpPr>
            <a:spLocks noGrp="1"/>
          </p:cNvSpPr>
          <p:nvPr>
            <p:ph type="ctrTitle"/>
          </p:nvPr>
        </p:nvSpPr>
        <p:spPr>
          <a:xfrm>
            <a:off x="1524000" y="1122363"/>
            <a:ext cx="9144000" cy="2387600"/>
          </a:xfrm>
        </p:spPr>
        <p:txBody>
          <a:bodyPr anchor="b">
            <a:normAutofit/>
          </a:bodyPr>
          <a:lstStyle>
            <a:lvl1pPr algn="ctr">
              <a:defRPr sz="54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4BAD251F-9B33-4B9F-97E2-BC8410DCEE95}"/>
              </a:ext>
            </a:extLst>
          </p:cNvPr>
          <p:cNvSpPr>
            <a:spLocks noGrp="1"/>
          </p:cNvSpPr>
          <p:nvPr>
            <p:ph type="subTitle" idx="1"/>
          </p:nvPr>
        </p:nvSpPr>
        <p:spPr>
          <a:xfrm>
            <a:off x="1524000" y="3602038"/>
            <a:ext cx="9144000" cy="1655762"/>
          </a:xfrm>
        </p:spPr>
        <p:txBody>
          <a:bodyPr/>
          <a:lstStyle>
            <a:lvl1pPr marL="0" indent="0" algn="ctr">
              <a:buNone/>
              <a:defRPr sz="24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Rectangle 8">
            <a:extLst>
              <a:ext uri="{FF2B5EF4-FFF2-40B4-BE49-F238E27FC236}">
                <a16:creationId xmlns:a16="http://schemas.microsoft.com/office/drawing/2014/main" id="{13CC580E-2D62-40CF-83E6-DBC8F3021861}"/>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5">
            <a:extLst>
              <a:ext uri="{FF2B5EF4-FFF2-40B4-BE49-F238E27FC236}">
                <a16:creationId xmlns:a16="http://schemas.microsoft.com/office/drawing/2014/main" id="{F6BF00D3-0B13-4F74-BEB2-3EB1E0955FE4}"/>
              </a:ext>
            </a:extLst>
          </p:cNvPr>
          <p:cNvSpPr txBox="1">
            <a:spLocks/>
          </p:cNvSpPr>
          <p:nvPr userDrawn="1"/>
        </p:nvSpPr>
        <p:spPr>
          <a:xfrm>
            <a:off x="8610600" y="628123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17542F-3D05-4156-9308-A42F80506B15}" type="slidenum">
              <a:rPr lang="en-US" smtClean="0"/>
              <a:pPr/>
              <a:t>‹#›</a:t>
            </a:fld>
            <a:endParaRPr lang="en-US"/>
          </a:p>
        </p:txBody>
      </p:sp>
      <p:sp>
        <p:nvSpPr>
          <p:cNvPr id="16" name="Rectangle 15">
            <a:extLst>
              <a:ext uri="{FF2B5EF4-FFF2-40B4-BE49-F238E27FC236}">
                <a16:creationId xmlns:a16="http://schemas.microsoft.com/office/drawing/2014/main" id="{BE6076CE-4DBF-4982-B6F3-4F1C4B79A87A}"/>
              </a:ext>
            </a:extLst>
          </p:cNvPr>
          <p:cNvSpPr/>
          <p:nvPr userDrawn="1"/>
        </p:nvSpPr>
        <p:spPr>
          <a:xfrm>
            <a:off x="0" y="6309807"/>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5">
            <a:extLst>
              <a:ext uri="{FF2B5EF4-FFF2-40B4-BE49-F238E27FC236}">
                <a16:creationId xmlns:a16="http://schemas.microsoft.com/office/drawing/2014/main" id="{AE33F57D-94AC-47F3-9163-1E7FFE59ED42}"/>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9" name="Footer Placeholder 7">
            <a:extLst>
              <a:ext uri="{FF2B5EF4-FFF2-40B4-BE49-F238E27FC236}">
                <a16:creationId xmlns:a16="http://schemas.microsoft.com/office/drawing/2014/main" id="{4936151C-3C7C-42AE-9189-37E8227072AF}"/>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a:t>
            </a:r>
          </a:p>
        </p:txBody>
      </p:sp>
      <p:pic>
        <p:nvPicPr>
          <p:cNvPr id="12" name="Picture 11" descr="A picture containing text, clipart&#10;&#10;Description automatically generated">
            <a:extLst>
              <a:ext uri="{FF2B5EF4-FFF2-40B4-BE49-F238E27FC236}">
                <a16:creationId xmlns:a16="http://schemas.microsoft.com/office/drawing/2014/main" id="{AA4683A4-F09C-4C7F-84DD-4D29002F84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7180" y="6365367"/>
            <a:ext cx="2037293" cy="458705"/>
          </a:xfrm>
          <a:prstGeom prst="rect">
            <a:avLst/>
          </a:prstGeom>
        </p:spPr>
      </p:pic>
    </p:spTree>
    <p:extLst>
      <p:ext uri="{BB962C8B-B14F-4D97-AF65-F5344CB8AC3E}">
        <p14:creationId xmlns:p14="http://schemas.microsoft.com/office/powerpoint/2010/main" val="34495236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547591-4007-4FB6-87D0-D3B8C960D469}"/>
              </a:ext>
            </a:extLst>
          </p:cNvPr>
          <p:cNvSpPr>
            <a:spLocks noGrp="1"/>
          </p:cNvSpPr>
          <p:nvPr>
            <p:ph type="title"/>
          </p:nvPr>
        </p:nvSpPr>
        <p:spPr/>
        <p:txBody>
          <a:bodyPr>
            <a:normAutofit/>
          </a:bodyPr>
          <a:lstStyle>
            <a:lvl1pPr>
              <a:defRPr sz="40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Vertical Text Placeholder 2">
            <a:extLst>
              <a:ext uri="{FF2B5EF4-FFF2-40B4-BE49-F238E27FC236}">
                <a16:creationId xmlns:a16="http://schemas.microsoft.com/office/drawing/2014/main" id="{344D8E3C-E780-4699-B677-FB47D8FD688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B70F3B40-30B2-42C1-8677-12962FAF5465}"/>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5">
            <a:extLst>
              <a:ext uri="{FF2B5EF4-FFF2-40B4-BE49-F238E27FC236}">
                <a16:creationId xmlns:a16="http://schemas.microsoft.com/office/drawing/2014/main" id="{F71F4E5A-4D77-4338-BE05-FDFE19F892B9}"/>
              </a:ext>
            </a:extLst>
          </p:cNvPr>
          <p:cNvSpPr txBox="1">
            <a:spLocks/>
          </p:cNvSpPr>
          <p:nvPr userDrawn="1"/>
        </p:nvSpPr>
        <p:spPr>
          <a:xfrm>
            <a:off x="8610600" y="628123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17542F-3D05-4156-9308-A42F80506B15}" type="slidenum">
              <a:rPr lang="en-US" smtClean="0"/>
              <a:pPr/>
              <a:t>‹#›</a:t>
            </a:fld>
            <a:endParaRPr lang="en-US"/>
          </a:p>
        </p:txBody>
      </p:sp>
      <p:sp>
        <p:nvSpPr>
          <p:cNvPr id="15" name="Rectangle 14">
            <a:extLst>
              <a:ext uri="{FF2B5EF4-FFF2-40B4-BE49-F238E27FC236}">
                <a16:creationId xmlns:a16="http://schemas.microsoft.com/office/drawing/2014/main" id="{433D8BB3-5A37-4478-8066-0F65E2FE713C}"/>
              </a:ext>
            </a:extLst>
          </p:cNvPr>
          <p:cNvSpPr/>
          <p:nvPr userDrawn="1"/>
        </p:nvSpPr>
        <p:spPr>
          <a:xfrm>
            <a:off x="0" y="6289379"/>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E3E88770-C5C5-4653-AB51-18AAD06FA3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8200" y="6406838"/>
            <a:ext cx="1844615" cy="321202"/>
          </a:xfrm>
          <a:prstGeom prst="rect">
            <a:avLst/>
          </a:prstGeom>
        </p:spPr>
      </p:pic>
      <p:sp>
        <p:nvSpPr>
          <p:cNvPr id="17" name="Slide Number Placeholder 5">
            <a:extLst>
              <a:ext uri="{FF2B5EF4-FFF2-40B4-BE49-F238E27FC236}">
                <a16:creationId xmlns:a16="http://schemas.microsoft.com/office/drawing/2014/main" id="{6AF31BFF-6BE3-4044-A7C6-136B80B2F729}"/>
              </a:ext>
            </a:extLst>
          </p:cNvPr>
          <p:cNvSpPr>
            <a:spLocks noGrp="1"/>
          </p:cNvSpPr>
          <p:nvPr>
            <p:ph type="sldNum" sz="quarter" idx="12"/>
          </p:nvPr>
        </p:nvSpPr>
        <p:spPr>
          <a:xfrm>
            <a:off x="8610600" y="6289379"/>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8" name="Footer Placeholder 7">
            <a:extLst>
              <a:ext uri="{FF2B5EF4-FFF2-40B4-BE49-F238E27FC236}">
                <a16:creationId xmlns:a16="http://schemas.microsoft.com/office/drawing/2014/main" id="{FF468A47-4E59-46F1-B894-816F73AE1A1B}"/>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policy</a:t>
            </a:r>
          </a:p>
        </p:txBody>
      </p:sp>
    </p:spTree>
    <p:extLst>
      <p:ext uri="{BB962C8B-B14F-4D97-AF65-F5344CB8AC3E}">
        <p14:creationId xmlns:p14="http://schemas.microsoft.com/office/powerpoint/2010/main" val="2690163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988E493-A958-4F26-889A-419D8DC03412}"/>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2EBA62D-9F80-46F3-BA29-89D44925AD20}"/>
              </a:ext>
            </a:extLst>
          </p:cNvPr>
          <p:cNvSpPr/>
          <p:nvPr userDrawn="1"/>
        </p:nvSpPr>
        <p:spPr>
          <a:xfrm>
            <a:off x="0" y="6281232"/>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lide Number Placeholder 5">
            <a:extLst>
              <a:ext uri="{FF2B5EF4-FFF2-40B4-BE49-F238E27FC236}">
                <a16:creationId xmlns:a16="http://schemas.microsoft.com/office/drawing/2014/main" id="{926B12AD-5454-487B-B43A-FE6ACB83429A}"/>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8" name="Footer Placeholder 7">
            <a:extLst>
              <a:ext uri="{FF2B5EF4-FFF2-40B4-BE49-F238E27FC236}">
                <a16:creationId xmlns:a16="http://schemas.microsoft.com/office/drawing/2014/main" id="{B1BC4969-1D20-4375-A354-C1900F1148E7}"/>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a:t>
            </a:r>
          </a:p>
        </p:txBody>
      </p:sp>
      <p:pic>
        <p:nvPicPr>
          <p:cNvPr id="7" name="Picture 6" descr="A picture containing text, clipart&#10;&#10;Description automatically generated">
            <a:extLst>
              <a:ext uri="{FF2B5EF4-FFF2-40B4-BE49-F238E27FC236}">
                <a16:creationId xmlns:a16="http://schemas.microsoft.com/office/drawing/2014/main" id="{59BB571B-8413-4C73-B850-37FF4AEA40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7180" y="6336792"/>
            <a:ext cx="2037293" cy="458705"/>
          </a:xfrm>
          <a:prstGeom prst="rect">
            <a:avLst/>
          </a:prstGeom>
        </p:spPr>
      </p:pic>
    </p:spTree>
    <p:extLst>
      <p:ext uri="{BB962C8B-B14F-4D97-AF65-F5344CB8AC3E}">
        <p14:creationId xmlns:p14="http://schemas.microsoft.com/office/powerpoint/2010/main" val="2829293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 column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477615" y="1046532"/>
            <a:ext cx="11236267" cy="537070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97249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000F83F-9B85-4C95-AC65-DED9D87E633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04" y="283"/>
            <a:ext cx="12190992" cy="6857433"/>
          </a:xfrm>
          <a:prstGeom prst="rect">
            <a:avLst/>
          </a:prstGeom>
        </p:spPr>
      </p:pic>
      <p:sp>
        <p:nvSpPr>
          <p:cNvPr id="2" name="Title 1">
            <a:extLst>
              <a:ext uri="{FF2B5EF4-FFF2-40B4-BE49-F238E27FC236}">
                <a16:creationId xmlns:a16="http://schemas.microsoft.com/office/drawing/2014/main" id="{BD21E76C-D28A-40DD-B495-3968FDF3F17B}"/>
              </a:ext>
            </a:extLst>
          </p:cNvPr>
          <p:cNvSpPr>
            <a:spLocks noGrp="1"/>
          </p:cNvSpPr>
          <p:nvPr>
            <p:ph type="ctrTitle" hasCustomPrompt="1"/>
          </p:nvPr>
        </p:nvSpPr>
        <p:spPr>
          <a:xfrm>
            <a:off x="992038" y="1725284"/>
            <a:ext cx="10429336" cy="862642"/>
          </a:xfrm>
        </p:spPr>
        <p:txBody>
          <a:bodyPr anchor="b">
            <a:normAutofit/>
          </a:bodyPr>
          <a:lstStyle>
            <a:lvl1pPr algn="l">
              <a:spcAft>
                <a:spcPts val="1200"/>
              </a:spcAft>
              <a:defRPr sz="4000" b="1">
                <a:solidFill>
                  <a:srgbClr val="0075A1"/>
                </a:solidFill>
                <a:latin typeface="Arial" panose="020B0604020202020204" pitchFamily="34" charset="0"/>
                <a:cs typeface="Arial" panose="020B0604020202020204" pitchFamily="34" charset="0"/>
              </a:defRPr>
            </a:lvl1pPr>
          </a:lstStyle>
          <a:p>
            <a:r>
              <a:rPr lang="en-US"/>
              <a:t>Title of Presentation</a:t>
            </a:r>
          </a:p>
        </p:txBody>
      </p:sp>
      <p:sp>
        <p:nvSpPr>
          <p:cNvPr id="13" name="Text Placeholder 12">
            <a:extLst>
              <a:ext uri="{FF2B5EF4-FFF2-40B4-BE49-F238E27FC236}">
                <a16:creationId xmlns:a16="http://schemas.microsoft.com/office/drawing/2014/main" id="{E6392972-7909-4E6A-B9D7-89B9234D0EF2}"/>
              </a:ext>
            </a:extLst>
          </p:cNvPr>
          <p:cNvSpPr>
            <a:spLocks noGrp="1"/>
          </p:cNvSpPr>
          <p:nvPr>
            <p:ph type="body" sz="quarter" idx="13" hasCustomPrompt="1"/>
          </p:nvPr>
        </p:nvSpPr>
        <p:spPr>
          <a:xfrm>
            <a:off x="992188" y="2924329"/>
            <a:ext cx="10429186" cy="647011"/>
          </a:xfrm>
        </p:spPr>
        <p:txBody>
          <a:bodyPr/>
          <a:lstStyle>
            <a:lvl1pPr marL="0" indent="0">
              <a:buNone/>
              <a:defRPr>
                <a:solidFill>
                  <a:schemeClr val="tx1"/>
                </a:solidFill>
                <a:latin typeface="Arial" panose="020B0604020202020204" pitchFamily="34" charset="0"/>
                <a:cs typeface="Arial" panose="020B0604020202020204" pitchFamily="34" charset="0"/>
              </a:defRPr>
            </a:lvl1pPr>
          </a:lstStyle>
          <a:p>
            <a:pPr lvl="0"/>
            <a:r>
              <a:rPr lang="en-US"/>
              <a:t>Presenter | Position</a:t>
            </a:r>
          </a:p>
        </p:txBody>
      </p:sp>
      <p:sp>
        <p:nvSpPr>
          <p:cNvPr id="15" name="Text Placeholder 14">
            <a:extLst>
              <a:ext uri="{FF2B5EF4-FFF2-40B4-BE49-F238E27FC236}">
                <a16:creationId xmlns:a16="http://schemas.microsoft.com/office/drawing/2014/main" id="{6600D2D1-7852-494E-AED0-A305192A83DC}"/>
              </a:ext>
            </a:extLst>
          </p:cNvPr>
          <p:cNvSpPr>
            <a:spLocks noGrp="1"/>
          </p:cNvSpPr>
          <p:nvPr>
            <p:ph type="body" sz="quarter" idx="14" hasCustomPrompt="1"/>
          </p:nvPr>
        </p:nvSpPr>
        <p:spPr>
          <a:xfrm>
            <a:off x="8523288" y="362309"/>
            <a:ext cx="2898086" cy="957564"/>
          </a:xfrm>
        </p:spPr>
        <p:txBody>
          <a:bodyPr>
            <a:normAutofit/>
          </a:bodyPr>
          <a:lstStyle>
            <a:lvl1pPr marL="0" indent="0" algn="r">
              <a:buNone/>
              <a:defRPr sz="2000" b="1">
                <a:solidFill>
                  <a:schemeClr val="bg1">
                    <a:lumMod val="50000"/>
                  </a:schemeClr>
                </a:solidFill>
                <a:latin typeface="Arial" panose="020B0604020202020204" pitchFamily="34" charset="0"/>
                <a:cs typeface="Arial" panose="020B0604020202020204" pitchFamily="34" charset="0"/>
              </a:defRPr>
            </a:lvl1pPr>
          </a:lstStyle>
          <a:p>
            <a:pPr lvl="0"/>
            <a:r>
              <a:rPr lang="en-US"/>
              <a:t>Date</a:t>
            </a:r>
          </a:p>
        </p:txBody>
      </p:sp>
      <p:sp>
        <p:nvSpPr>
          <p:cNvPr id="7" name="TextBox 6">
            <a:extLst>
              <a:ext uri="{FF2B5EF4-FFF2-40B4-BE49-F238E27FC236}">
                <a16:creationId xmlns:a16="http://schemas.microsoft.com/office/drawing/2014/main" id="{79E1F824-3171-4164-AE95-652A4E8996BA}"/>
              </a:ext>
            </a:extLst>
          </p:cNvPr>
          <p:cNvSpPr txBox="1"/>
          <p:nvPr userDrawn="1"/>
        </p:nvSpPr>
        <p:spPr>
          <a:xfrm>
            <a:off x="676275" y="0"/>
            <a:ext cx="2992438" cy="1104900"/>
          </a:xfrm>
          <a:prstGeom prst="rect">
            <a:avLst/>
          </a:prstGeom>
          <a:solidFill>
            <a:schemeClr val="bg1"/>
          </a:solidFill>
        </p:spPr>
        <p:txBody>
          <a:bodyPr wrap="square" rtlCol="0">
            <a:spAutoFit/>
          </a:bodyPr>
          <a:lstStyle/>
          <a:p>
            <a:endParaRPr lang="en-US"/>
          </a:p>
        </p:txBody>
      </p:sp>
      <p:pic>
        <p:nvPicPr>
          <p:cNvPr id="9" name="Picture 8" descr="A picture containing text&#10;&#10;Description automatically generated">
            <a:extLst>
              <a:ext uri="{FF2B5EF4-FFF2-40B4-BE49-F238E27FC236}">
                <a16:creationId xmlns:a16="http://schemas.microsoft.com/office/drawing/2014/main" id="{114BBBD2-07A6-49ED-8806-2F44F9E34B3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051" y="83102"/>
            <a:ext cx="2132169" cy="536024"/>
          </a:xfrm>
          <a:prstGeom prst="rect">
            <a:avLst/>
          </a:prstGeom>
        </p:spPr>
      </p:pic>
    </p:spTree>
    <p:extLst>
      <p:ext uri="{BB962C8B-B14F-4D97-AF65-F5344CB8AC3E}">
        <p14:creationId xmlns:p14="http://schemas.microsoft.com/office/powerpoint/2010/main" val="33794248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Two Line Header">
    <p:spTree>
      <p:nvGrpSpPr>
        <p:cNvPr id="1" name=""/>
        <p:cNvGrpSpPr/>
        <p:nvPr/>
      </p:nvGrpSpPr>
      <p:grpSpPr>
        <a:xfrm>
          <a:off x="0" y="0"/>
          <a:ext cx="0" cy="0"/>
          <a:chOff x="0" y="0"/>
          <a:chExt cx="0" cy="0"/>
        </a:xfrm>
      </p:grpSpPr>
      <p:cxnSp>
        <p:nvCxnSpPr>
          <p:cNvPr id="7" name="Straight Connector 6"/>
          <p:cNvCxnSpPr>
            <a:cxnSpLocks/>
          </p:cNvCxnSpPr>
          <p:nvPr/>
        </p:nvCxnSpPr>
        <p:spPr>
          <a:xfrm>
            <a:off x="0" y="1186755"/>
            <a:ext cx="12192000" cy="0"/>
          </a:xfrm>
          <a:prstGeom prst="line">
            <a:avLst/>
          </a:prstGeom>
          <a:ln w="22225">
            <a:solidFill>
              <a:srgbClr val="002060"/>
            </a:solidFill>
          </a:ln>
        </p:spPr>
        <p:style>
          <a:lnRef idx="1">
            <a:schemeClr val="accent1"/>
          </a:lnRef>
          <a:fillRef idx="0">
            <a:schemeClr val="accent1"/>
          </a:fillRef>
          <a:effectRef idx="0">
            <a:schemeClr val="accent1"/>
          </a:effectRef>
          <a:fontRef idx="minor">
            <a:schemeClr val="tx1"/>
          </a:fontRef>
        </p:style>
      </p:cxnSp>
      <p:sp>
        <p:nvSpPr>
          <p:cNvPr id="10" name="Subtitle 2"/>
          <p:cNvSpPr>
            <a:spLocks noGrp="1"/>
          </p:cNvSpPr>
          <p:nvPr>
            <p:ph type="subTitle" idx="13" hasCustomPrompt="1"/>
          </p:nvPr>
        </p:nvSpPr>
        <p:spPr>
          <a:xfrm>
            <a:off x="270627" y="1223825"/>
            <a:ext cx="11580921" cy="411156"/>
          </a:xfrm>
          <a:prstGeom prst="rect">
            <a:avLst/>
          </a:prstGeom>
        </p:spPr>
        <p:txBody>
          <a:bodyPr>
            <a:noAutofit/>
          </a:bodyPr>
          <a:lstStyle>
            <a:lvl1pPr marL="0" indent="0" algn="l">
              <a:buNone/>
              <a:defRPr sz="2000" b="1">
                <a:solidFill>
                  <a:srgbClr val="F4B238"/>
                </a:solidFill>
                <a:latin typeface="Tw Cen MT" panose="020B06020201040206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sp>
        <p:nvSpPr>
          <p:cNvPr id="12" name="Rectangle 11"/>
          <p:cNvSpPr/>
          <p:nvPr/>
        </p:nvSpPr>
        <p:spPr>
          <a:xfrm>
            <a:off x="0" y="6258757"/>
            <a:ext cx="12192000" cy="517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rot="5400000" flipH="1">
            <a:off x="6073142" y="748018"/>
            <a:ext cx="45719" cy="12192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23919"/>
            <a:ext cx="9587749" cy="1052207"/>
          </a:xfrm>
          <a:prstGeom prst="rect">
            <a:avLst/>
          </a:prstGeom>
        </p:spPr>
        <p:txBody>
          <a:bodyPr/>
          <a:lstStyle>
            <a:lvl1pPr>
              <a:defRPr sz="3300">
                <a:latin typeface="Tw Cen MT" panose="020B0602020104020603" pitchFamily="34" charset="77"/>
              </a:defRPr>
            </a:lvl1pPr>
          </a:lstStyle>
          <a:p>
            <a:r>
              <a:rPr lang="en-US" dirty="0"/>
              <a:t>Master Page Title with two lines </a:t>
            </a:r>
            <a:br>
              <a:rPr lang="en-US" dirty="0"/>
            </a:br>
            <a:endParaRPr lang="en-US" dirty="0"/>
          </a:p>
        </p:txBody>
      </p:sp>
      <p:pic>
        <p:nvPicPr>
          <p:cNvPr id="4" name="Picture 3">
            <a:extLst>
              <a:ext uri="{FF2B5EF4-FFF2-40B4-BE49-F238E27FC236}">
                <a16:creationId xmlns:a16="http://schemas.microsoft.com/office/drawing/2014/main" id="{06ECD129-BA62-4A6B-BC31-A083545634C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1004879" y="148428"/>
            <a:ext cx="914400" cy="914400"/>
          </a:xfrm>
          <a:prstGeom prst="rect">
            <a:avLst/>
          </a:prstGeom>
        </p:spPr>
      </p:pic>
      <p:sp>
        <p:nvSpPr>
          <p:cNvPr id="17" name="Content Placeholder 2">
            <a:extLst>
              <a:ext uri="{FF2B5EF4-FFF2-40B4-BE49-F238E27FC236}">
                <a16:creationId xmlns:a16="http://schemas.microsoft.com/office/drawing/2014/main" id="{1732BEE4-5EBB-4F57-ABA5-80994CA038DE}"/>
              </a:ext>
            </a:extLst>
          </p:cNvPr>
          <p:cNvSpPr>
            <a:spLocks noGrp="1"/>
          </p:cNvSpPr>
          <p:nvPr>
            <p:ph idx="1"/>
          </p:nvPr>
        </p:nvSpPr>
        <p:spPr>
          <a:xfrm>
            <a:off x="407406" y="1883121"/>
            <a:ext cx="11444142" cy="4113732"/>
          </a:xfrm>
          <a:prstGeom prst="rect">
            <a:avLst/>
          </a:prstGeom>
        </p:spPr>
        <p:txBody>
          <a:bodyPr>
            <a:normAutofit/>
          </a:bodyPr>
          <a:lstStyle>
            <a:lvl1pPr marL="342900" indent="-342900">
              <a:buFont typeface="Arial" panose="020B0604020202020204" pitchFamily="34" charset="0"/>
              <a:buChar char="•"/>
              <a:defRPr sz="2200" b="0">
                <a:latin typeface="Tw Cen MT" panose="020B0602020104020603" pitchFamily="34" charset="77"/>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dirty="0"/>
              <a:t>Click to edit Master text styles</a:t>
            </a:r>
          </a:p>
        </p:txBody>
      </p:sp>
      <p:sp>
        <p:nvSpPr>
          <p:cNvPr id="11" name="Slide Number Placeholder 8">
            <a:extLst>
              <a:ext uri="{FF2B5EF4-FFF2-40B4-BE49-F238E27FC236}">
                <a16:creationId xmlns:a16="http://schemas.microsoft.com/office/drawing/2014/main" id="{5A415548-2F8D-BC41-897F-E382932E002B}"/>
              </a:ext>
            </a:extLst>
          </p:cNvPr>
          <p:cNvSpPr>
            <a:spLocks noGrp="1"/>
          </p:cNvSpPr>
          <p:nvPr>
            <p:ph type="sldNum" sz="quarter" idx="15"/>
          </p:nvPr>
        </p:nvSpPr>
        <p:spPr>
          <a:xfrm>
            <a:off x="9406092" y="6356350"/>
            <a:ext cx="2743200" cy="365125"/>
          </a:xfrm>
        </p:spPr>
        <p:txBody>
          <a:bodyPr/>
          <a:lstStyle>
            <a:lvl1pPr>
              <a:defRPr b="1">
                <a:solidFill>
                  <a:schemeClr val="bg1"/>
                </a:solidFill>
                <a:latin typeface="Century Gothic" panose="020B0502020202020204" pitchFamily="34" charset="0"/>
              </a:defRPr>
            </a:lvl1pPr>
          </a:lstStyle>
          <a:p>
            <a:fld id="{960EC776-4F8E-46A8-A97F-EBE2F00A8093}" type="slidenum">
              <a:rPr lang="en-US" smtClean="0"/>
              <a:pPr/>
              <a:t>‹#›</a:t>
            </a:fld>
            <a:endParaRPr lang="en-US"/>
          </a:p>
        </p:txBody>
      </p:sp>
    </p:spTree>
    <p:extLst>
      <p:ext uri="{BB962C8B-B14F-4D97-AF65-F5344CB8AC3E}">
        <p14:creationId xmlns:p14="http://schemas.microsoft.com/office/powerpoint/2010/main" val="529755274"/>
      </p:ext>
    </p:extLst>
  </p:cSld>
  <p:clrMapOvr>
    <a:masterClrMapping/>
  </p:clrMapOvr>
  <p:hf hdr="0" ft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cxnSp>
        <p:nvCxnSpPr>
          <p:cNvPr id="7" name="Straight Connector 6"/>
          <p:cNvCxnSpPr>
            <a:cxnSpLocks/>
          </p:cNvCxnSpPr>
          <p:nvPr/>
        </p:nvCxnSpPr>
        <p:spPr>
          <a:xfrm>
            <a:off x="0" y="753618"/>
            <a:ext cx="10808898" cy="0"/>
          </a:xfrm>
          <a:prstGeom prst="line">
            <a:avLst/>
          </a:prstGeom>
          <a:ln w="22225">
            <a:solidFill>
              <a:srgbClr val="002060"/>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407406" y="1361722"/>
            <a:ext cx="11444142" cy="4635131"/>
          </a:xfrm>
          <a:prstGeom prst="rect">
            <a:avLst/>
          </a:prstGeom>
        </p:spPr>
        <p:txBody>
          <a:bodyPr>
            <a:normAutofit/>
          </a:bodyPr>
          <a:lstStyle>
            <a:lvl1pPr marL="342900" indent="-342900">
              <a:buFont typeface="Arial" panose="020B0604020202020204" pitchFamily="34" charset="0"/>
              <a:buChar char="•"/>
              <a:defRPr sz="2200" b="0">
                <a:latin typeface="Tw Cen MT" panose="020B0602020104020603" pitchFamily="34" charset="77"/>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dirty="0"/>
              <a:t>Click to edit Master text styles</a:t>
            </a:r>
          </a:p>
        </p:txBody>
      </p:sp>
      <p:sp>
        <p:nvSpPr>
          <p:cNvPr id="10"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4B238"/>
                </a:solidFill>
                <a:latin typeface="Tw Cen MT" panose="020B06020201040206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sp>
        <p:nvSpPr>
          <p:cNvPr id="12" name="Rectangle 11"/>
          <p:cNvSpPr/>
          <p:nvPr/>
        </p:nvSpPr>
        <p:spPr>
          <a:xfrm>
            <a:off x="0" y="6258757"/>
            <a:ext cx="12192000" cy="517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rot="5400000" flipH="1">
            <a:off x="6073142" y="748018"/>
            <a:ext cx="45719" cy="12192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22926"/>
            <a:ext cx="9587749" cy="609144"/>
          </a:xfrm>
          <a:prstGeom prst="rect">
            <a:avLst/>
          </a:prstGeom>
        </p:spPr>
        <p:txBody>
          <a:bodyPr/>
          <a:lstStyle>
            <a:lvl1pPr>
              <a:defRPr sz="3300">
                <a:latin typeface="Tw Cen MT" panose="020B0602020104020603" pitchFamily="34" charset="77"/>
              </a:defRPr>
            </a:lvl1pPr>
          </a:lstStyle>
          <a:p>
            <a:r>
              <a:rPr lang="en-US" dirty="0"/>
              <a:t>Master Page Title</a:t>
            </a:r>
          </a:p>
        </p:txBody>
      </p:sp>
      <p:pic>
        <p:nvPicPr>
          <p:cNvPr id="17" name="Picture 16">
            <a:extLst>
              <a:ext uri="{FF2B5EF4-FFF2-40B4-BE49-F238E27FC236}">
                <a16:creationId xmlns:a16="http://schemas.microsoft.com/office/drawing/2014/main" id="{6D3846AE-24AA-4C43-939B-25BAFB63AE3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1004879" y="148428"/>
            <a:ext cx="914400" cy="914400"/>
          </a:xfrm>
          <a:prstGeom prst="rect">
            <a:avLst/>
          </a:prstGeom>
        </p:spPr>
      </p:pic>
      <p:sp>
        <p:nvSpPr>
          <p:cNvPr id="11" name="Slide Number Placeholder 8">
            <a:extLst>
              <a:ext uri="{FF2B5EF4-FFF2-40B4-BE49-F238E27FC236}">
                <a16:creationId xmlns:a16="http://schemas.microsoft.com/office/drawing/2014/main" id="{70CC618D-AF14-E049-8CE3-7C48DC9F2FB7}"/>
              </a:ext>
            </a:extLst>
          </p:cNvPr>
          <p:cNvSpPr>
            <a:spLocks noGrp="1"/>
          </p:cNvSpPr>
          <p:nvPr>
            <p:ph type="sldNum" sz="quarter" idx="15"/>
          </p:nvPr>
        </p:nvSpPr>
        <p:spPr>
          <a:xfrm>
            <a:off x="9406092" y="6356350"/>
            <a:ext cx="2743200" cy="365125"/>
          </a:xfrm>
        </p:spPr>
        <p:txBody>
          <a:bodyPr/>
          <a:lstStyle>
            <a:lvl1pPr>
              <a:defRPr b="1">
                <a:solidFill>
                  <a:schemeClr val="bg1"/>
                </a:solidFill>
                <a:latin typeface="Century Gothic" panose="020B0502020202020204" pitchFamily="34" charset="0"/>
              </a:defRPr>
            </a:lvl1pPr>
          </a:lstStyle>
          <a:p>
            <a:fld id="{960EC776-4F8E-46A8-A97F-EBE2F00A8093}" type="slidenum">
              <a:rPr lang="en-US" smtClean="0"/>
              <a:pPr/>
              <a:t>‹#›</a:t>
            </a:fld>
            <a:endParaRPr lang="en-US"/>
          </a:p>
        </p:txBody>
      </p:sp>
    </p:spTree>
    <p:extLst>
      <p:ext uri="{BB962C8B-B14F-4D97-AF65-F5344CB8AC3E}">
        <p14:creationId xmlns:p14="http://schemas.microsoft.com/office/powerpoint/2010/main" val="3791264927"/>
      </p:ext>
    </p:extLst>
  </p:cSld>
  <p:clrMapOvr>
    <a:masterClrMapping/>
  </p:clrMapOvr>
  <p:hf hdr="0" ftr="0" dt="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only - AEO">
    <p:spTree>
      <p:nvGrpSpPr>
        <p:cNvPr id="1" name=""/>
        <p:cNvGrpSpPr/>
        <p:nvPr/>
      </p:nvGrpSpPr>
      <p:grpSpPr>
        <a:xfrm>
          <a:off x="0" y="0"/>
          <a:ext cx="0" cy="0"/>
          <a:chOff x="0" y="0"/>
          <a:chExt cx="0" cy="0"/>
        </a:xfrm>
      </p:grpSpPr>
      <p:sp>
        <p:nvSpPr>
          <p:cNvPr id="7" name="Rectangle 6"/>
          <p:cNvSpPr/>
          <p:nvPr userDrawn="1"/>
        </p:nvSpPr>
        <p:spPr>
          <a:xfrm>
            <a:off x="0" y="0"/>
            <a:ext cx="12192000" cy="1139952"/>
          </a:xfrm>
          <a:prstGeom prst="rect">
            <a:avLst/>
          </a:prstGeom>
          <a:solidFill>
            <a:srgbClr val="2E709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chemeClr val="bg1"/>
              </a:solidFill>
            </a:endParaRPr>
          </a:p>
        </p:txBody>
      </p:sp>
      <p:sp>
        <p:nvSpPr>
          <p:cNvPr id="2" name="Title 1"/>
          <p:cNvSpPr>
            <a:spLocks noGrp="1"/>
          </p:cNvSpPr>
          <p:nvPr>
            <p:ph type="title"/>
          </p:nvPr>
        </p:nvSpPr>
        <p:spPr>
          <a:xfrm>
            <a:off x="0" y="177801"/>
            <a:ext cx="12192000" cy="774825"/>
          </a:xfrm>
          <a:prstGeom prst="rect">
            <a:avLst/>
          </a:prstGeom>
        </p:spPr>
        <p:txBody>
          <a:bodyPr/>
          <a:lstStyle>
            <a:lvl1pPr>
              <a:defRPr>
                <a:solidFill>
                  <a:schemeClr val="bg1"/>
                </a:solidFill>
                <a:latin typeface="+mn-lt"/>
              </a:defRPr>
            </a:lvl1pPr>
          </a:lstStyle>
          <a:p>
            <a:r>
              <a:rPr lang="en-US"/>
              <a:t>Click to edit Master title style</a:t>
            </a:r>
          </a:p>
        </p:txBody>
      </p:sp>
      <p:sp>
        <p:nvSpPr>
          <p:cNvPr id="5" name="Footer Placeholder 4"/>
          <p:cNvSpPr>
            <a:spLocks noGrp="1"/>
          </p:cNvSpPr>
          <p:nvPr>
            <p:ph type="ftr" sz="quarter" idx="11"/>
          </p:nvPr>
        </p:nvSpPr>
        <p:spPr>
          <a:xfrm>
            <a:off x="4038600" y="6396510"/>
            <a:ext cx="4114800" cy="365125"/>
          </a:xfrm>
          <a:prstGeom prst="rect">
            <a:avLst/>
          </a:prstGeom>
        </p:spPr>
        <p:txBody>
          <a:bodyPr wrap="none" anchor="ctr" anchorCtr="0"/>
          <a:lstStyle>
            <a:lvl1pPr>
              <a:defRPr sz="1067"/>
            </a:lvl1pPr>
          </a:lstStyle>
          <a:p>
            <a:endParaRPr lang="en-US" dirty="0"/>
          </a:p>
        </p:txBody>
      </p:sp>
      <p:sp>
        <p:nvSpPr>
          <p:cNvPr id="6" name="Slide Number Placeholder 5"/>
          <p:cNvSpPr>
            <a:spLocks noGrp="1"/>
          </p:cNvSpPr>
          <p:nvPr>
            <p:ph type="sldNum" sz="quarter" idx="12"/>
          </p:nvPr>
        </p:nvSpPr>
        <p:spPr>
          <a:xfrm>
            <a:off x="8737600" y="6455349"/>
            <a:ext cx="3048000" cy="268923"/>
          </a:xfrm>
          <a:prstGeom prst="rect">
            <a:avLst/>
          </a:prstGeom>
        </p:spPr>
        <p:txBody>
          <a:bodyPr wrap="none" anchor="ctr" anchorCtr="0"/>
          <a:lstStyle>
            <a:lvl1pPr algn="r">
              <a:defRPr sz="1067"/>
            </a:lvl1pPr>
          </a:lstStyle>
          <a:p>
            <a:pPr algn="r"/>
            <a:fld id="{D5EA5792-F77B-D149-A94B-BE93FD6D287C}" type="slidenum">
              <a:rPr lang="en-US" smtClean="0"/>
              <a:pPr algn="r"/>
              <a:t>‹#›</a:t>
            </a:fld>
            <a:endParaRPr lang="en-US" dirty="0"/>
          </a:p>
        </p:txBody>
      </p:sp>
      <p:pic>
        <p:nvPicPr>
          <p:cNvPr id="10" name="Picture 9">
            <a:extLst>
              <a:ext uri="{FF2B5EF4-FFF2-40B4-BE49-F238E27FC236}">
                <a16:creationId xmlns:a16="http://schemas.microsoft.com/office/drawing/2014/main" id="{F4CD815E-4EA8-874A-8383-D3004E91969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1915557" y="1032500"/>
            <a:ext cx="10276444" cy="104648"/>
          </a:xfrm>
          <a:prstGeom prst="rect">
            <a:avLst/>
          </a:prstGeom>
        </p:spPr>
      </p:pic>
      <p:pic>
        <p:nvPicPr>
          <p:cNvPr id="11" name="Picture 10">
            <a:extLst>
              <a:ext uri="{FF2B5EF4-FFF2-40B4-BE49-F238E27FC236}">
                <a16:creationId xmlns:a16="http://schemas.microsoft.com/office/drawing/2014/main" id="{3168F326-D830-E040-83D1-834BFF8C40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flipV="1">
            <a:off x="-14847" y="6059150"/>
            <a:ext cx="12206845" cy="72409"/>
          </a:xfrm>
          <a:prstGeom prst="rect">
            <a:avLst/>
          </a:prstGeom>
        </p:spPr>
      </p:pic>
      <p:pic>
        <p:nvPicPr>
          <p:cNvPr id="13" name="ISIO_Title_DOE_logo.png"/>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bwMode="auto">
          <a:xfrm>
            <a:off x="203200" y="6355235"/>
            <a:ext cx="2721680" cy="406400"/>
          </a:xfrm>
          <a:prstGeom prst="rect">
            <a:avLst/>
          </a:prstGeom>
          <a:noFill/>
          <a:ln w="9525">
            <a:noFill/>
            <a:miter lim="800000"/>
            <a:headEnd/>
            <a:tailEnd/>
          </a:ln>
        </p:spPr>
      </p:pic>
    </p:spTree>
    <p:extLst>
      <p:ext uri="{BB962C8B-B14F-4D97-AF65-F5344CB8AC3E}">
        <p14:creationId xmlns:p14="http://schemas.microsoft.com/office/powerpoint/2010/main" val="300852969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p:cNvSpPr/>
          <p:nvPr/>
        </p:nvSpPr>
        <p:spPr>
          <a:xfrm>
            <a:off x="0" y="676276"/>
            <a:ext cx="12192000" cy="282575"/>
          </a:xfrm>
          <a:prstGeom prst="rect">
            <a:avLst/>
          </a:prstGeom>
          <a:solidFill>
            <a:srgbClr val="FEFEF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pic>
        <p:nvPicPr>
          <p:cNvPr id="6" name="Picture 14" descr="EERE identifier_vert_2017_top bleed_BC.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63601" y="0"/>
            <a:ext cx="2476500" cy="1354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15"/>
          <p:cNvPicPr>
            <a:picLocks noChangeAspect="1"/>
          </p:cNvPicPr>
          <p:nvPr/>
        </p:nvPicPr>
        <p:blipFill>
          <a:blip r:embed="rId3">
            <a:extLst>
              <a:ext uri="{28A0092B-C50C-407E-A947-70E740481C1C}">
                <a14:useLocalDpi xmlns:a14="http://schemas.microsoft.com/office/drawing/2010/main" val="0"/>
              </a:ext>
            </a:extLst>
          </a:blip>
          <a:srcRect/>
          <a:stretch/>
        </p:blipFill>
        <p:spPr bwMode="auto">
          <a:xfrm>
            <a:off x="1" y="4153582"/>
            <a:ext cx="12192000" cy="2711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 name="Subtitle 2"/>
          <p:cNvSpPr>
            <a:spLocks noGrp="1"/>
          </p:cNvSpPr>
          <p:nvPr>
            <p:ph type="subTitle" idx="1"/>
          </p:nvPr>
        </p:nvSpPr>
        <p:spPr>
          <a:xfrm>
            <a:off x="707948" y="1544720"/>
            <a:ext cx="11026339" cy="1381360"/>
          </a:xfrm>
          <a:prstGeom prst="rect">
            <a:avLst/>
          </a:prstGeom>
        </p:spPr>
        <p:txBody>
          <a:bodyPr>
            <a:normAutofit/>
          </a:bodyPr>
          <a:lstStyle>
            <a:lvl1pPr marL="0" indent="0" algn="l">
              <a:buNone/>
              <a:defRPr sz="4000" b="1" i="0">
                <a:solidFill>
                  <a:srgbClr val="282B2E"/>
                </a:solidFill>
                <a:latin typeface="+mj-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0" name="Text Placeholder 17"/>
          <p:cNvSpPr>
            <a:spLocks noGrp="1"/>
          </p:cNvSpPr>
          <p:nvPr>
            <p:ph type="body" sz="quarter" idx="10"/>
          </p:nvPr>
        </p:nvSpPr>
        <p:spPr>
          <a:xfrm>
            <a:off x="739559" y="2976352"/>
            <a:ext cx="5561403" cy="331125"/>
          </a:xfrm>
          <a:prstGeom prst="rect">
            <a:avLst/>
          </a:prstGeom>
        </p:spPr>
        <p:txBody>
          <a:bodyPr/>
          <a:lstStyle>
            <a:lvl1pPr marL="0" marR="0" indent="0" algn="l" defTabSz="457200" rtl="0" eaLnBrk="1" fontAlgn="auto" latinLnBrk="0" hangingPunct="1">
              <a:lnSpc>
                <a:spcPct val="100000"/>
              </a:lnSpc>
              <a:spcBef>
                <a:spcPct val="20000"/>
              </a:spcBef>
              <a:spcAft>
                <a:spcPts val="0"/>
              </a:spcAft>
              <a:buClrTx/>
              <a:buSzTx/>
              <a:buFontTx/>
              <a:buNone/>
              <a:tabLst/>
              <a:defRPr kumimoji="0" lang="en-US" sz="1600" b="1" i="0" u="none" strike="noStrike" kern="1200" cap="none" spc="0" normalizeH="0" baseline="0" noProof="0">
                <a:ln>
                  <a:noFill/>
                </a:ln>
                <a:solidFill>
                  <a:srgbClr val="282B2E"/>
                </a:solidFill>
                <a:effectLst/>
                <a:uLnTx/>
                <a:uFillTx/>
                <a:latin typeface="+mn-lt"/>
                <a:cs typeface="Arial"/>
              </a:defRPr>
            </a:lvl1pPr>
          </a:lstStyle>
          <a:p>
            <a:pPr lvl="0"/>
            <a:r>
              <a:rPr lang="en-US" noProof="0"/>
              <a:t>Click to edit Master text styles</a:t>
            </a:r>
          </a:p>
        </p:txBody>
      </p:sp>
      <p:sp>
        <p:nvSpPr>
          <p:cNvPr id="22" name="Text Placeholder 18"/>
          <p:cNvSpPr>
            <a:spLocks noGrp="1"/>
          </p:cNvSpPr>
          <p:nvPr>
            <p:ph type="body" sz="quarter" idx="13"/>
          </p:nvPr>
        </p:nvSpPr>
        <p:spPr>
          <a:xfrm>
            <a:off x="745474" y="3424167"/>
            <a:ext cx="3798903" cy="288687"/>
          </a:xfrm>
          <a:prstGeom prst="rect">
            <a:avLst/>
          </a:prstGeom>
        </p:spPr>
        <p:txBody>
          <a:bodyPr>
            <a:normAutofit/>
          </a:bodyPr>
          <a:lstStyle>
            <a:lvl1pPr>
              <a:buNone/>
              <a:defRPr sz="1200">
                <a:solidFill>
                  <a:srgbClr val="282B2E"/>
                </a:solidFill>
                <a:latin typeface="+mn-lt"/>
                <a:cs typeface="Arial"/>
              </a:defRPr>
            </a:lvl1pPr>
            <a:lvl5pPr>
              <a:defRPr/>
            </a:lvl5pPr>
          </a:lstStyle>
          <a:p>
            <a:pPr lvl="0"/>
            <a:r>
              <a:rPr lang="en-US"/>
              <a:t>Click to edit Master text styles</a:t>
            </a:r>
          </a:p>
        </p:txBody>
      </p:sp>
    </p:spTree>
    <p:extLst>
      <p:ext uri="{BB962C8B-B14F-4D97-AF65-F5344CB8AC3E}">
        <p14:creationId xmlns:p14="http://schemas.microsoft.com/office/powerpoint/2010/main" val="4889399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column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477615" y="1046532"/>
            <a:ext cx="11236267" cy="537070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8519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2"/>
          <p:cNvSpPr>
            <a:spLocks noGrp="1"/>
          </p:cNvSpPr>
          <p:nvPr>
            <p:ph sz="half" idx="1"/>
          </p:nvPr>
        </p:nvSpPr>
        <p:spPr>
          <a:xfrm>
            <a:off x="500025" y="1677981"/>
            <a:ext cx="5506328" cy="4267200"/>
          </a:xfrm>
          <a:prstGeom prst="rect">
            <a:avLst/>
          </a:prstGeom>
        </p:spPr>
        <p:txBody>
          <a:bodyPr/>
          <a:lstStyle>
            <a:lvl1pPr marL="182880" indent="-182880">
              <a:defRPr sz="2200" b="0" baseline="0"/>
            </a:lvl1pPr>
            <a:lvl2pPr>
              <a:buSzPct val="80000"/>
              <a:buFont typeface="Courier New" pitchFamily="49" charset="0"/>
              <a:buChar char="o"/>
              <a:defRPr lang="en-US" sz="2200" kern="1200" dirty="0" smtClean="0">
                <a:solidFill>
                  <a:schemeClr val="tx1"/>
                </a:solidFill>
                <a:latin typeface="+mn-lt"/>
                <a:ea typeface="+mn-ea"/>
                <a:cs typeface="+mn-cs"/>
              </a:defRPr>
            </a:lvl2pPr>
            <a:lvl3pPr>
              <a:buFont typeface="Calibri" pitchFamily="34" charset="0"/>
              <a:buChar char="–"/>
              <a:defRPr sz="2000"/>
            </a:lvl3pPr>
            <a:lvl4pPr>
              <a:buFont typeface="Wingdings" pitchFamily="2" charset="2"/>
              <a:buChar cha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p:cNvSpPr>
            <a:spLocks noGrp="1"/>
          </p:cNvSpPr>
          <p:nvPr>
            <p:ph sz="half" idx="2"/>
          </p:nvPr>
        </p:nvSpPr>
        <p:spPr>
          <a:xfrm>
            <a:off x="6317129" y="1677981"/>
            <a:ext cx="5665695" cy="4267200"/>
          </a:xfrm>
          <a:prstGeom prst="rect">
            <a:avLst/>
          </a:prstGeom>
        </p:spPr>
        <p:txBody>
          <a:bodyPr/>
          <a:lstStyle>
            <a:lvl1pPr marL="182880" indent="-182880">
              <a:defRPr sz="2200" b="0"/>
            </a:lvl1pPr>
            <a:lvl2pPr>
              <a:buSzPct val="80000"/>
              <a:buFont typeface="Courier New" pitchFamily="49" charset="0"/>
              <a:buChar char="o"/>
              <a:defRPr sz="2200"/>
            </a:lvl2pPr>
            <a:lvl3pPr>
              <a:buFont typeface="Calibri" pitchFamily="34" charset="0"/>
              <a:buChar char="–"/>
              <a:defRPr sz="2000"/>
            </a:lvl3pPr>
            <a:lvl4pPr>
              <a:buFont typeface="Wingdings" pitchFamily="2" charset="2"/>
              <a:buChar cha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0"/>
          </p:nvPr>
        </p:nvSpPr>
        <p:spPr>
          <a:xfrm>
            <a:off x="500025" y="1068381"/>
            <a:ext cx="5496368" cy="457200"/>
          </a:xfrm>
          <a:prstGeom prst="rect">
            <a:avLst/>
          </a:prstGeom>
        </p:spPr>
        <p:txBody>
          <a:bodyPr>
            <a:noAutofit/>
          </a:bodyPr>
          <a:lstStyle>
            <a:lvl1pPr>
              <a:buNone/>
              <a:defRPr sz="2400" b="1"/>
            </a:lvl1pPr>
          </a:lstStyle>
          <a:p>
            <a:pPr lvl="0"/>
            <a:r>
              <a:rPr lang="en-US"/>
              <a:t>Click to edit Master text styles</a:t>
            </a:r>
          </a:p>
        </p:txBody>
      </p:sp>
      <p:sp>
        <p:nvSpPr>
          <p:cNvPr id="9" name="Text Placeholder 8"/>
          <p:cNvSpPr>
            <a:spLocks noGrp="1"/>
          </p:cNvSpPr>
          <p:nvPr>
            <p:ph type="body" sz="quarter" idx="11"/>
          </p:nvPr>
        </p:nvSpPr>
        <p:spPr>
          <a:xfrm>
            <a:off x="6317129" y="1068381"/>
            <a:ext cx="5665695" cy="457200"/>
          </a:xfrm>
          <a:prstGeom prst="rect">
            <a:avLst/>
          </a:prstGeom>
        </p:spPr>
        <p:txBody>
          <a:bodyPr>
            <a:noAutofit/>
          </a:bodyPr>
          <a:lstStyle>
            <a:lvl1pPr>
              <a:buNone/>
              <a:defRPr sz="2400" b="1"/>
            </a:lvl1pPr>
          </a:lstStyle>
          <a:p>
            <a:pPr lvl="0"/>
            <a:r>
              <a:rPr lang="en-US"/>
              <a:t>Click to edit Master text styles</a:t>
            </a:r>
          </a:p>
        </p:txBody>
      </p:sp>
    </p:spTree>
    <p:extLst>
      <p:ext uri="{BB962C8B-B14F-4D97-AF65-F5344CB8AC3E}">
        <p14:creationId xmlns:p14="http://schemas.microsoft.com/office/powerpoint/2010/main" val="6051087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0AE4E-79BC-4E6E-AC2E-2F7DFBD9D7CE}"/>
              </a:ext>
            </a:extLst>
          </p:cNvPr>
          <p:cNvSpPr>
            <a:spLocks noGrp="1"/>
          </p:cNvSpPr>
          <p:nvPr>
            <p:ph type="title"/>
          </p:nvPr>
        </p:nvSpPr>
        <p:spPr>
          <a:xfrm>
            <a:off x="838200" y="238425"/>
            <a:ext cx="10515600" cy="1325563"/>
          </a:xfrm>
        </p:spPr>
        <p:txBody>
          <a:bodyPr>
            <a:normAutofit/>
          </a:bodyPr>
          <a:lstStyle>
            <a:lvl1pPr>
              <a:defRPr sz="40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7A46A898-3381-4E9E-B7A4-8026068C101C}"/>
              </a:ext>
            </a:extLst>
          </p:cNvPr>
          <p:cNvSpPr>
            <a:spLocks noGrp="1"/>
          </p:cNvSpPr>
          <p:nvPr>
            <p:ph idx="1"/>
          </p:nvPr>
        </p:nvSpPr>
        <p:spPr>
          <a:xfrm>
            <a:off x="838200" y="1825625"/>
            <a:ext cx="10515600" cy="4108017"/>
          </a:xfrm>
        </p:spPr>
        <p:txBody>
          <a:bodyPr/>
          <a:lstStyle>
            <a:lvl1pPr>
              <a:defRPr>
                <a:latin typeface="Franklin Gothic Book" panose="020B0503020102020204" pitchFamily="34" charset="0"/>
                <a:cs typeface="Arial" panose="020B0604020202020204" pitchFamily="34" charset="0"/>
              </a:defRPr>
            </a:lvl1pPr>
            <a:lvl2pPr>
              <a:defRPr>
                <a:latin typeface="Franklin Gothic Book" panose="020B0503020102020204" pitchFamily="34" charset="0"/>
                <a:cs typeface="Arial" panose="020B0604020202020204" pitchFamily="34" charset="0"/>
              </a:defRPr>
            </a:lvl2pPr>
            <a:lvl3pPr>
              <a:defRPr>
                <a:latin typeface="Franklin Gothic Book" panose="020B0503020102020204" pitchFamily="34" charset="0"/>
                <a:cs typeface="Arial" panose="020B0604020202020204" pitchFamily="34" charset="0"/>
              </a:defRPr>
            </a:lvl3pPr>
            <a:lvl4pPr>
              <a:defRPr>
                <a:latin typeface="Franklin Gothic Book" panose="020B0503020102020204" pitchFamily="34" charset="0"/>
                <a:cs typeface="Arial" panose="020B0604020202020204" pitchFamily="34" charset="0"/>
              </a:defRPr>
            </a:lvl4pPr>
            <a:lvl5pPr>
              <a:defRPr>
                <a:latin typeface="Franklin Gothic Book" panose="020B05030201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a:extLst>
              <a:ext uri="{FF2B5EF4-FFF2-40B4-BE49-F238E27FC236}">
                <a16:creationId xmlns:a16="http://schemas.microsoft.com/office/drawing/2014/main" id="{DFAC75A4-94DB-4723-B604-82CB4A6ACFB6}"/>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13A5D24-02B9-4B89-B733-FD0C9AE831B7}"/>
              </a:ext>
            </a:extLst>
          </p:cNvPr>
          <p:cNvSpPr/>
          <p:nvPr userDrawn="1"/>
        </p:nvSpPr>
        <p:spPr>
          <a:xfrm>
            <a:off x="0" y="6281232"/>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lide Number Placeholder 5">
            <a:extLst>
              <a:ext uri="{FF2B5EF4-FFF2-40B4-BE49-F238E27FC236}">
                <a16:creationId xmlns:a16="http://schemas.microsoft.com/office/drawing/2014/main" id="{796AC816-C034-4E33-843C-69923E87A996}"/>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8" name="Footer Placeholder 7">
            <a:extLst>
              <a:ext uri="{FF2B5EF4-FFF2-40B4-BE49-F238E27FC236}">
                <a16:creationId xmlns:a16="http://schemas.microsoft.com/office/drawing/2014/main" id="{3EDBF77A-2CDB-498C-B013-6A9DA73D2E9E}"/>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a:t>
            </a:r>
          </a:p>
        </p:txBody>
      </p:sp>
      <p:pic>
        <p:nvPicPr>
          <p:cNvPr id="5" name="Picture 4" descr="A picture containing text, clipart&#10;&#10;Description automatically generated">
            <a:extLst>
              <a:ext uri="{FF2B5EF4-FFF2-40B4-BE49-F238E27FC236}">
                <a16:creationId xmlns:a16="http://schemas.microsoft.com/office/drawing/2014/main" id="{C05DB8D6-C415-41F6-B2A3-786EFBD4FC1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7180" y="6336792"/>
            <a:ext cx="2037293" cy="458705"/>
          </a:xfrm>
          <a:prstGeom prst="rect">
            <a:avLst/>
          </a:prstGeom>
        </p:spPr>
      </p:pic>
    </p:spTree>
    <p:extLst>
      <p:ext uri="{BB962C8B-B14F-4D97-AF65-F5344CB8AC3E}">
        <p14:creationId xmlns:p14="http://schemas.microsoft.com/office/powerpoint/2010/main" val="1925714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hart Placeholder 6"/>
          <p:cNvSpPr>
            <a:spLocks noGrp="1"/>
          </p:cNvSpPr>
          <p:nvPr>
            <p:ph type="chart" sz="quarter" idx="10"/>
          </p:nvPr>
        </p:nvSpPr>
        <p:spPr>
          <a:xfrm>
            <a:off x="487700" y="1045595"/>
            <a:ext cx="10100613" cy="5244640"/>
          </a:xfrm>
          <a:prstGeom prst="rect">
            <a:avLst/>
          </a:prstGeom>
        </p:spPr>
        <p:txBody>
          <a:bodyPr rtlCol="0">
            <a:normAutofit/>
          </a:bodyPr>
          <a:lstStyle/>
          <a:p>
            <a:pPr lvl="0"/>
            <a:r>
              <a:rPr lang="en-US" noProof="0"/>
              <a:t>Click icon to add chart</a:t>
            </a:r>
          </a:p>
        </p:txBody>
      </p:sp>
    </p:spTree>
    <p:extLst>
      <p:ext uri="{BB962C8B-B14F-4D97-AF65-F5344CB8AC3E}">
        <p14:creationId xmlns:p14="http://schemas.microsoft.com/office/powerpoint/2010/main" val="15303886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 white">
    <p:spTree>
      <p:nvGrpSpPr>
        <p:cNvPr id="1" name=""/>
        <p:cNvGrpSpPr/>
        <p:nvPr/>
      </p:nvGrpSpPr>
      <p:grpSpPr>
        <a:xfrm>
          <a:off x="0" y="0"/>
          <a:ext cx="0" cy="0"/>
          <a:chOff x="0" y="0"/>
          <a:chExt cx="0" cy="0"/>
        </a:xfrm>
      </p:grpSpPr>
      <p:sp>
        <p:nvSpPr>
          <p:cNvPr id="4" name="Rectangle 3"/>
          <p:cNvSpPr/>
          <p:nvPr/>
        </p:nvSpPr>
        <p:spPr>
          <a:xfrm>
            <a:off x="0" y="676276"/>
            <a:ext cx="12192000" cy="282575"/>
          </a:xfrm>
          <a:prstGeom prst="rect">
            <a:avLst/>
          </a:prstGeom>
          <a:solidFill>
            <a:srgbClr val="FEFEF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a:xfrm>
            <a:off x="0" y="2389457"/>
            <a:ext cx="12192000" cy="812725"/>
          </a:xfrm>
        </p:spPr>
        <p:txBody>
          <a:bodyPr/>
          <a:lstStyle>
            <a:lvl1pPr algn="ctr">
              <a:defRPr/>
            </a:lvl1pPr>
          </a:lstStyle>
          <a:p>
            <a:r>
              <a:rPr lang="en-US"/>
              <a:t>Click to edit Master title style</a:t>
            </a:r>
          </a:p>
        </p:txBody>
      </p:sp>
      <p:sp>
        <p:nvSpPr>
          <p:cNvPr id="7" name="Text Placeholder 6"/>
          <p:cNvSpPr>
            <a:spLocks noGrp="1"/>
          </p:cNvSpPr>
          <p:nvPr>
            <p:ph type="body" sz="quarter" idx="11"/>
          </p:nvPr>
        </p:nvSpPr>
        <p:spPr>
          <a:xfrm>
            <a:off x="1" y="3257084"/>
            <a:ext cx="12191999" cy="1150564"/>
          </a:xfrm>
          <a:prstGeom prst="rect">
            <a:avLst/>
          </a:prstGeom>
        </p:spPr>
        <p:txBody>
          <a:bodyPr/>
          <a:lstStyle>
            <a:lvl1pPr marL="0" indent="0" algn="ctr">
              <a:buFontTx/>
              <a:buNone/>
              <a:defRPr/>
            </a:lvl1pPr>
          </a:lstStyle>
          <a:p>
            <a:pPr lvl="0"/>
            <a:r>
              <a:rPr lang="en-US"/>
              <a:t>Click to edit Master text styles</a:t>
            </a:r>
          </a:p>
        </p:txBody>
      </p:sp>
    </p:spTree>
    <p:extLst>
      <p:ext uri="{BB962C8B-B14F-4D97-AF65-F5344CB8AC3E}">
        <p14:creationId xmlns:p14="http://schemas.microsoft.com/office/powerpoint/2010/main" val="32237541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 column - green">
    <p:spTree>
      <p:nvGrpSpPr>
        <p:cNvPr id="1" name=""/>
        <p:cNvGrpSpPr/>
        <p:nvPr/>
      </p:nvGrpSpPr>
      <p:grpSpPr>
        <a:xfrm>
          <a:off x="0" y="0"/>
          <a:ext cx="0" cy="0"/>
          <a:chOff x="0" y="0"/>
          <a:chExt cx="0" cy="0"/>
        </a:xfrm>
      </p:grpSpPr>
      <p:sp>
        <p:nvSpPr>
          <p:cNvPr id="4" name="Rectangle 3"/>
          <p:cNvSpPr/>
          <p:nvPr/>
        </p:nvSpPr>
        <p:spPr>
          <a:xfrm>
            <a:off x="0" y="847725"/>
            <a:ext cx="12192000" cy="57038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5" name="Rectangle 4"/>
          <p:cNvSpPr/>
          <p:nvPr/>
        </p:nvSpPr>
        <p:spPr>
          <a:xfrm>
            <a:off x="0" y="0"/>
            <a:ext cx="12192000" cy="8143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8" name="Content Placeholder 6"/>
          <p:cNvSpPr>
            <a:spLocks noGrp="1"/>
          </p:cNvSpPr>
          <p:nvPr>
            <p:ph sz="quarter" idx="10"/>
          </p:nvPr>
        </p:nvSpPr>
        <p:spPr>
          <a:xfrm>
            <a:off x="477615" y="1046532"/>
            <a:ext cx="11236267" cy="5370703"/>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19682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 green">
    <p:spTree>
      <p:nvGrpSpPr>
        <p:cNvPr id="1" name=""/>
        <p:cNvGrpSpPr/>
        <p:nvPr/>
      </p:nvGrpSpPr>
      <p:grpSpPr>
        <a:xfrm>
          <a:off x="0" y="0"/>
          <a:ext cx="0" cy="0"/>
          <a:chOff x="0" y="0"/>
          <a:chExt cx="0" cy="0"/>
        </a:xfrm>
      </p:grpSpPr>
      <p:sp>
        <p:nvSpPr>
          <p:cNvPr id="7" name="Rectangle 6"/>
          <p:cNvSpPr/>
          <p:nvPr/>
        </p:nvSpPr>
        <p:spPr>
          <a:xfrm>
            <a:off x="0" y="847725"/>
            <a:ext cx="12192000" cy="57038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8" name="Rectangle 7"/>
          <p:cNvSpPr/>
          <p:nvPr/>
        </p:nvSpPr>
        <p:spPr>
          <a:xfrm>
            <a:off x="0" y="0"/>
            <a:ext cx="12192000" cy="8143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9" name="Content Placeholder 2"/>
          <p:cNvSpPr>
            <a:spLocks noGrp="1"/>
          </p:cNvSpPr>
          <p:nvPr>
            <p:ph sz="half" idx="1"/>
          </p:nvPr>
        </p:nvSpPr>
        <p:spPr>
          <a:xfrm>
            <a:off x="500025" y="1677981"/>
            <a:ext cx="5506328" cy="4267200"/>
          </a:xfrm>
          <a:prstGeom prst="rect">
            <a:avLst/>
          </a:prstGeom>
        </p:spPr>
        <p:txBody>
          <a:bodyPr/>
          <a:lstStyle>
            <a:lvl1pPr marL="182880" indent="-182880">
              <a:defRPr sz="2200" b="0" baseline="0">
                <a:solidFill>
                  <a:srgbClr val="FFFFFF"/>
                </a:solidFill>
              </a:defRPr>
            </a:lvl1pPr>
            <a:lvl2pPr>
              <a:buSzPct val="80000"/>
              <a:buFont typeface="Courier New" pitchFamily="49" charset="0"/>
              <a:buChar char="o"/>
              <a:defRPr lang="en-US" sz="2200" kern="1200" dirty="0" smtClean="0">
                <a:solidFill>
                  <a:srgbClr val="FFFFFF"/>
                </a:solidFill>
                <a:latin typeface="+mn-lt"/>
                <a:ea typeface="+mn-ea"/>
                <a:cs typeface="+mn-cs"/>
              </a:defRPr>
            </a:lvl2pPr>
            <a:lvl3pPr>
              <a:buFont typeface="Calibri" pitchFamily="34" charset="0"/>
              <a:buChar char="–"/>
              <a:defRPr sz="2000">
                <a:solidFill>
                  <a:srgbClr val="FFFFFF"/>
                </a:solidFill>
              </a:defRPr>
            </a:lvl3pPr>
            <a:lvl4pPr>
              <a:buFont typeface="Wingdings" pitchFamily="2" charset="2"/>
              <a:buChar char="§"/>
              <a:defRPr sz="1800">
                <a:solidFill>
                  <a:srgbClr val="FFFFFF"/>
                </a:solidFill>
              </a:defRPr>
            </a:lvl4pPr>
            <a:lvl5pPr>
              <a:defRPr sz="18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317129" y="1677981"/>
            <a:ext cx="5665695" cy="4267200"/>
          </a:xfrm>
          <a:prstGeom prst="rect">
            <a:avLst/>
          </a:prstGeom>
        </p:spPr>
        <p:txBody>
          <a:bodyPr/>
          <a:lstStyle>
            <a:lvl1pPr marL="182880" indent="-182880">
              <a:defRPr sz="2200" b="0">
                <a:solidFill>
                  <a:srgbClr val="FFFFFF"/>
                </a:solidFill>
              </a:defRPr>
            </a:lvl1pPr>
            <a:lvl2pPr>
              <a:buSzPct val="80000"/>
              <a:buFont typeface="Courier New" pitchFamily="49" charset="0"/>
              <a:buChar char="o"/>
              <a:defRPr sz="2200">
                <a:solidFill>
                  <a:srgbClr val="FFFFFF"/>
                </a:solidFill>
              </a:defRPr>
            </a:lvl2pPr>
            <a:lvl3pPr>
              <a:buFont typeface="Calibri" pitchFamily="34" charset="0"/>
              <a:buChar char="–"/>
              <a:defRPr sz="2000">
                <a:solidFill>
                  <a:srgbClr val="FFFFFF"/>
                </a:solidFill>
              </a:defRPr>
            </a:lvl3pPr>
            <a:lvl4pPr>
              <a:buFont typeface="Wingdings" pitchFamily="2" charset="2"/>
              <a:buChar char="§"/>
              <a:defRPr sz="1800">
                <a:solidFill>
                  <a:srgbClr val="FFFFFF"/>
                </a:solidFill>
              </a:defRPr>
            </a:lvl4pPr>
            <a:lvl5pPr>
              <a:defRPr sz="18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10"/>
          </p:nvPr>
        </p:nvSpPr>
        <p:spPr>
          <a:xfrm>
            <a:off x="500025" y="1068381"/>
            <a:ext cx="5496368" cy="457200"/>
          </a:xfrm>
          <a:prstGeom prst="rect">
            <a:avLst/>
          </a:prstGeom>
        </p:spPr>
        <p:txBody>
          <a:bodyPr>
            <a:noAutofit/>
          </a:bodyPr>
          <a:lstStyle>
            <a:lvl1pPr>
              <a:buNone/>
              <a:defRPr sz="2400" b="1">
                <a:solidFill>
                  <a:srgbClr val="FFFFFF"/>
                </a:solidFill>
              </a:defRPr>
            </a:lvl1pPr>
          </a:lstStyle>
          <a:p>
            <a:pPr lvl="0"/>
            <a:r>
              <a:rPr lang="en-US"/>
              <a:t>Click to edit Master text styles</a:t>
            </a:r>
          </a:p>
        </p:txBody>
      </p:sp>
      <p:sp>
        <p:nvSpPr>
          <p:cNvPr id="12" name="Text Placeholder 8"/>
          <p:cNvSpPr>
            <a:spLocks noGrp="1"/>
          </p:cNvSpPr>
          <p:nvPr>
            <p:ph type="body" sz="quarter" idx="11"/>
          </p:nvPr>
        </p:nvSpPr>
        <p:spPr>
          <a:xfrm>
            <a:off x="6317129" y="1068381"/>
            <a:ext cx="5665695" cy="457200"/>
          </a:xfrm>
          <a:prstGeom prst="rect">
            <a:avLst/>
          </a:prstGeom>
        </p:spPr>
        <p:txBody>
          <a:bodyPr>
            <a:noAutofit/>
          </a:bodyPr>
          <a:lstStyle>
            <a:lvl1pPr>
              <a:buNone/>
              <a:defRPr sz="2400" b="1">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11323904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rt - green">
    <p:spTree>
      <p:nvGrpSpPr>
        <p:cNvPr id="1" name=""/>
        <p:cNvGrpSpPr/>
        <p:nvPr/>
      </p:nvGrpSpPr>
      <p:grpSpPr>
        <a:xfrm>
          <a:off x="0" y="0"/>
          <a:ext cx="0" cy="0"/>
          <a:chOff x="0" y="0"/>
          <a:chExt cx="0" cy="0"/>
        </a:xfrm>
      </p:grpSpPr>
      <p:sp>
        <p:nvSpPr>
          <p:cNvPr id="4" name="Rectangle 3"/>
          <p:cNvSpPr/>
          <p:nvPr/>
        </p:nvSpPr>
        <p:spPr>
          <a:xfrm>
            <a:off x="0" y="847725"/>
            <a:ext cx="12192000" cy="57038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5" name="Rectangle 4"/>
          <p:cNvSpPr/>
          <p:nvPr/>
        </p:nvSpPr>
        <p:spPr>
          <a:xfrm>
            <a:off x="0" y="0"/>
            <a:ext cx="12192000" cy="8143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9" name="Chart Placeholder 6"/>
          <p:cNvSpPr>
            <a:spLocks noGrp="1"/>
          </p:cNvSpPr>
          <p:nvPr>
            <p:ph type="chart" sz="quarter" idx="10"/>
          </p:nvPr>
        </p:nvSpPr>
        <p:spPr>
          <a:xfrm>
            <a:off x="487700" y="1045595"/>
            <a:ext cx="10100613" cy="5244640"/>
          </a:xfrm>
          <a:prstGeom prst="rect">
            <a:avLst/>
          </a:prstGeom>
        </p:spPr>
        <p:txBody>
          <a:bodyPr rtlCol="0">
            <a:normAutofit/>
          </a:bodyPr>
          <a:lstStyle>
            <a:lvl1pPr>
              <a:defRPr>
                <a:solidFill>
                  <a:srgbClr val="FFFFFF"/>
                </a:solidFill>
              </a:defRPr>
            </a:lvl1pPr>
          </a:lstStyle>
          <a:p>
            <a:pPr lvl="0"/>
            <a:r>
              <a:rPr lang="en-US" noProof="0"/>
              <a:t>Click icon to add chart</a:t>
            </a:r>
          </a:p>
        </p:txBody>
      </p:sp>
    </p:spTree>
    <p:extLst>
      <p:ext uri="{BB962C8B-B14F-4D97-AF65-F5344CB8AC3E}">
        <p14:creationId xmlns:p14="http://schemas.microsoft.com/office/powerpoint/2010/main" val="5197773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 green">
    <p:spTree>
      <p:nvGrpSpPr>
        <p:cNvPr id="1" name=""/>
        <p:cNvGrpSpPr/>
        <p:nvPr/>
      </p:nvGrpSpPr>
      <p:grpSpPr>
        <a:xfrm>
          <a:off x="0" y="0"/>
          <a:ext cx="0" cy="0"/>
          <a:chOff x="0" y="0"/>
          <a:chExt cx="0" cy="0"/>
        </a:xfrm>
      </p:grpSpPr>
      <p:sp>
        <p:nvSpPr>
          <p:cNvPr id="3" name="Rectangle 2"/>
          <p:cNvSpPr/>
          <p:nvPr/>
        </p:nvSpPr>
        <p:spPr>
          <a:xfrm>
            <a:off x="0" y="1"/>
            <a:ext cx="12192000" cy="655161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4" name="Title 1"/>
          <p:cNvSpPr txBox="1">
            <a:spLocks/>
          </p:cNvSpPr>
          <p:nvPr/>
        </p:nvSpPr>
        <p:spPr>
          <a:xfrm>
            <a:off x="0" y="2389188"/>
            <a:ext cx="12192000" cy="812800"/>
          </a:xfrm>
          <a:prstGeom prst="rect">
            <a:avLst/>
          </a:prstGeom>
        </p:spPr>
        <p:txBody>
          <a:bodyPr anchor="ctr"/>
          <a:lstStyle>
            <a:lvl1pPr algn="ctr" defTabSz="457200" rtl="0" eaLnBrk="1" latinLnBrk="0" hangingPunct="1">
              <a:spcBef>
                <a:spcPct val="0"/>
              </a:spcBef>
              <a:buNone/>
              <a:defRPr lang="en-US" sz="3300" b="1" kern="1200" dirty="0" smtClean="0">
                <a:solidFill>
                  <a:schemeClr val="accent5"/>
                </a:solidFill>
                <a:latin typeface="+mj-lt"/>
                <a:ea typeface="+mj-ea"/>
                <a:cs typeface="Arial"/>
              </a:defRPr>
            </a:lvl1pPr>
          </a:lstStyle>
          <a:p>
            <a:pPr>
              <a:defRPr/>
            </a:pPr>
            <a:r>
              <a:rPr sz="3300">
                <a:solidFill>
                  <a:srgbClr val="FFFFFF"/>
                </a:solidFill>
              </a:rPr>
              <a:t>Click to edit Master title style</a:t>
            </a:r>
          </a:p>
        </p:txBody>
      </p:sp>
      <p:sp>
        <p:nvSpPr>
          <p:cNvPr id="10" name="Text Placeholder 6"/>
          <p:cNvSpPr>
            <a:spLocks noGrp="1"/>
          </p:cNvSpPr>
          <p:nvPr>
            <p:ph type="body" sz="quarter" idx="11"/>
          </p:nvPr>
        </p:nvSpPr>
        <p:spPr>
          <a:xfrm>
            <a:off x="1" y="3257084"/>
            <a:ext cx="12191999" cy="1150564"/>
          </a:xfrm>
          <a:prstGeom prst="rect">
            <a:avLst/>
          </a:prstGeom>
        </p:spPr>
        <p:txBody>
          <a:bodyPr/>
          <a:lstStyle>
            <a:lvl1pPr marL="0" indent="0" algn="ctr">
              <a:buFontTx/>
              <a:buNone/>
              <a:defRPr>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8324774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25ED2B-F326-46C6-B217-E0929DA4A80E}"/>
              </a:ext>
            </a:extLst>
          </p:cNvPr>
          <p:cNvSpPr>
            <a:spLocks noGrp="1"/>
          </p:cNvSpPr>
          <p:nvPr>
            <p:ph type="title"/>
          </p:nvPr>
        </p:nvSpPr>
        <p:spPr>
          <a:xfrm>
            <a:off x="831850" y="1709738"/>
            <a:ext cx="10515600" cy="2852737"/>
          </a:xfrm>
        </p:spPr>
        <p:txBody>
          <a:bodyPr anchor="b">
            <a:normAutofit/>
          </a:bodyPr>
          <a:lstStyle>
            <a:lvl1pPr>
              <a:defRPr sz="54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DCD65565-EB49-4361-8D21-74242974F5A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9" name="Rectangle 8">
            <a:extLst>
              <a:ext uri="{FF2B5EF4-FFF2-40B4-BE49-F238E27FC236}">
                <a16:creationId xmlns:a16="http://schemas.microsoft.com/office/drawing/2014/main" id="{B8C8C81E-A91C-4C57-B0BD-2233982FB7E7}"/>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a:extLst>
              <a:ext uri="{FF2B5EF4-FFF2-40B4-BE49-F238E27FC236}">
                <a16:creationId xmlns:a16="http://schemas.microsoft.com/office/drawing/2014/main" id="{D19B2DD2-B2F3-400D-B68D-38D0E2C0922C}"/>
              </a:ext>
            </a:extLst>
          </p:cNvPr>
          <p:cNvSpPr txBox="1">
            <a:spLocks/>
          </p:cNvSpPr>
          <p:nvPr userDrawn="1"/>
        </p:nvSpPr>
        <p:spPr>
          <a:xfrm>
            <a:off x="8763000" y="643363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17542F-3D05-4156-9308-A42F80506B15}" type="slidenum">
              <a:rPr lang="en-US" smtClean="0"/>
              <a:pPr/>
              <a:t>‹#›</a:t>
            </a:fld>
            <a:endParaRPr lang="en-US"/>
          </a:p>
        </p:txBody>
      </p:sp>
      <p:sp>
        <p:nvSpPr>
          <p:cNvPr id="15" name="Rectangle 14">
            <a:extLst>
              <a:ext uri="{FF2B5EF4-FFF2-40B4-BE49-F238E27FC236}">
                <a16:creationId xmlns:a16="http://schemas.microsoft.com/office/drawing/2014/main" id="{75DD108C-DA9A-4CCF-B1B8-E2DA82E44290}"/>
              </a:ext>
            </a:extLst>
          </p:cNvPr>
          <p:cNvSpPr/>
          <p:nvPr userDrawn="1"/>
        </p:nvSpPr>
        <p:spPr>
          <a:xfrm>
            <a:off x="0" y="6309807"/>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lide Number Placeholder 5">
            <a:extLst>
              <a:ext uri="{FF2B5EF4-FFF2-40B4-BE49-F238E27FC236}">
                <a16:creationId xmlns:a16="http://schemas.microsoft.com/office/drawing/2014/main" id="{F5F140CD-7204-4416-9891-BE6D161AB948}"/>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8" name="Footer Placeholder 7">
            <a:extLst>
              <a:ext uri="{FF2B5EF4-FFF2-40B4-BE49-F238E27FC236}">
                <a16:creationId xmlns:a16="http://schemas.microsoft.com/office/drawing/2014/main" id="{5D488CAB-158B-42DD-A28A-CED42865501D}"/>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a:t>
            </a:r>
          </a:p>
        </p:txBody>
      </p:sp>
      <p:pic>
        <p:nvPicPr>
          <p:cNvPr id="12" name="Picture 11" descr="A picture containing text, clipart&#10;&#10;Description automatically generated">
            <a:extLst>
              <a:ext uri="{FF2B5EF4-FFF2-40B4-BE49-F238E27FC236}">
                <a16:creationId xmlns:a16="http://schemas.microsoft.com/office/drawing/2014/main" id="{AF944302-BAA2-4C85-87CE-5B49A0C53A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7180" y="6336792"/>
            <a:ext cx="2037293" cy="458705"/>
          </a:xfrm>
          <a:prstGeom prst="rect">
            <a:avLst/>
          </a:prstGeom>
        </p:spPr>
      </p:pic>
    </p:spTree>
    <p:extLst>
      <p:ext uri="{BB962C8B-B14F-4D97-AF65-F5344CB8AC3E}">
        <p14:creationId xmlns:p14="http://schemas.microsoft.com/office/powerpoint/2010/main" val="5083480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69808C-BA3D-42CC-A245-252C57C5E202}"/>
              </a:ext>
            </a:extLst>
          </p:cNvPr>
          <p:cNvSpPr>
            <a:spLocks noGrp="1"/>
          </p:cNvSpPr>
          <p:nvPr>
            <p:ph type="title"/>
          </p:nvPr>
        </p:nvSpPr>
        <p:spPr/>
        <p:txBody>
          <a:bodyPr>
            <a:normAutofit/>
          </a:bodyPr>
          <a:lstStyle>
            <a:lvl1pPr>
              <a:defRPr sz="40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B7108E85-913B-42D0-9315-B96B9F579D0E}"/>
              </a:ext>
            </a:extLst>
          </p:cNvPr>
          <p:cNvSpPr>
            <a:spLocks noGrp="1"/>
          </p:cNvSpPr>
          <p:nvPr>
            <p:ph sz="half" idx="1"/>
          </p:nvPr>
        </p:nvSpPr>
        <p:spPr>
          <a:xfrm>
            <a:off x="838200" y="1825625"/>
            <a:ext cx="5181600" cy="4351338"/>
          </a:xfrm>
        </p:spPr>
        <p:txBody>
          <a:bodyPr/>
          <a:lstStyle>
            <a:lvl1pPr>
              <a:defRPr>
                <a:latin typeface="Franklin Gothic Book" panose="020B0503020102020204" pitchFamily="34" charset="0"/>
              </a:defRPr>
            </a:lvl1pPr>
            <a:lvl2pPr>
              <a:defRPr>
                <a:latin typeface="Franklin Gothic Book" panose="020B0503020102020204" pitchFamily="34" charset="0"/>
              </a:defRPr>
            </a:lvl2pPr>
            <a:lvl3pPr>
              <a:defRPr>
                <a:latin typeface="Franklin Gothic Book" panose="020B0503020102020204" pitchFamily="34" charset="0"/>
              </a:defRPr>
            </a:lvl3pPr>
            <a:lvl4pPr>
              <a:defRPr>
                <a:latin typeface="Franklin Gothic Book" panose="020B0503020102020204" pitchFamily="34" charset="0"/>
              </a:defRPr>
            </a:lvl4pPr>
            <a:lvl5pPr>
              <a:defRPr>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B3E80C-619C-45CD-9540-A6EDAAD7FE7D}"/>
              </a:ext>
            </a:extLst>
          </p:cNvPr>
          <p:cNvSpPr>
            <a:spLocks noGrp="1"/>
          </p:cNvSpPr>
          <p:nvPr>
            <p:ph sz="half" idx="2"/>
          </p:nvPr>
        </p:nvSpPr>
        <p:spPr>
          <a:xfrm>
            <a:off x="6172200" y="1825625"/>
            <a:ext cx="5181600" cy="4351338"/>
          </a:xfrm>
        </p:spPr>
        <p:txBody>
          <a:bodyPr/>
          <a:lstStyle>
            <a:lvl1pPr>
              <a:defRPr>
                <a:latin typeface="Franklin Gothic Book" panose="020B0503020102020204" pitchFamily="34" charset="0"/>
              </a:defRPr>
            </a:lvl1pPr>
            <a:lvl2pPr>
              <a:defRPr>
                <a:latin typeface="Franklin Gothic Book" panose="020B0503020102020204" pitchFamily="34" charset="0"/>
              </a:defRPr>
            </a:lvl2pPr>
            <a:lvl3pPr>
              <a:defRPr>
                <a:latin typeface="Franklin Gothic Book" panose="020B0503020102020204" pitchFamily="34" charset="0"/>
              </a:defRPr>
            </a:lvl3pPr>
            <a:lvl4pPr>
              <a:defRPr>
                <a:latin typeface="Franklin Gothic Book" panose="020B0503020102020204" pitchFamily="34" charset="0"/>
              </a:defRPr>
            </a:lvl4pPr>
            <a:lvl5pPr>
              <a:defRPr>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8CBC71-8A83-4DCD-BB58-9E0509F2078C}"/>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lide Number Placeholder 5">
            <a:extLst>
              <a:ext uri="{FF2B5EF4-FFF2-40B4-BE49-F238E27FC236}">
                <a16:creationId xmlns:a16="http://schemas.microsoft.com/office/drawing/2014/main" id="{428B28F9-088C-4705-BED2-2F8783E18621}"/>
              </a:ext>
            </a:extLst>
          </p:cNvPr>
          <p:cNvSpPr txBox="1">
            <a:spLocks/>
          </p:cNvSpPr>
          <p:nvPr userDrawn="1"/>
        </p:nvSpPr>
        <p:spPr>
          <a:xfrm>
            <a:off x="8610600" y="628123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17542F-3D05-4156-9308-A42F80506B15}" type="slidenum">
              <a:rPr lang="en-US" smtClean="0"/>
              <a:pPr/>
              <a:t>‹#›</a:t>
            </a:fld>
            <a:endParaRPr lang="en-US"/>
          </a:p>
        </p:txBody>
      </p:sp>
      <p:sp>
        <p:nvSpPr>
          <p:cNvPr id="16" name="Rectangle 15">
            <a:extLst>
              <a:ext uri="{FF2B5EF4-FFF2-40B4-BE49-F238E27FC236}">
                <a16:creationId xmlns:a16="http://schemas.microsoft.com/office/drawing/2014/main" id="{11B57F8F-75BD-4FD8-8C2A-CEE46BF12607}"/>
              </a:ext>
            </a:extLst>
          </p:cNvPr>
          <p:cNvSpPr/>
          <p:nvPr userDrawn="1"/>
        </p:nvSpPr>
        <p:spPr>
          <a:xfrm>
            <a:off x="0" y="6311900"/>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5">
            <a:extLst>
              <a:ext uri="{FF2B5EF4-FFF2-40B4-BE49-F238E27FC236}">
                <a16:creationId xmlns:a16="http://schemas.microsoft.com/office/drawing/2014/main" id="{2E6BD613-CACE-47DE-A5CC-08FAC9D8C2BE}"/>
              </a:ext>
            </a:extLst>
          </p:cNvPr>
          <p:cNvSpPr>
            <a:spLocks noGrp="1"/>
          </p:cNvSpPr>
          <p:nvPr>
            <p:ph type="sldNum" sz="quarter" idx="12"/>
          </p:nvPr>
        </p:nvSpPr>
        <p:spPr>
          <a:xfrm>
            <a:off x="8610600" y="6283325"/>
            <a:ext cx="2743200" cy="605343"/>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9" name="Footer Placeholder 7">
            <a:extLst>
              <a:ext uri="{FF2B5EF4-FFF2-40B4-BE49-F238E27FC236}">
                <a16:creationId xmlns:a16="http://schemas.microsoft.com/office/drawing/2014/main" id="{8D1BA1C6-3C5C-4040-9A08-A14BFA98FE72}"/>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a:t>
            </a:r>
          </a:p>
        </p:txBody>
      </p:sp>
      <p:pic>
        <p:nvPicPr>
          <p:cNvPr id="12" name="Picture 11" descr="A picture containing text, clipart&#10;&#10;Description automatically generated">
            <a:extLst>
              <a:ext uri="{FF2B5EF4-FFF2-40B4-BE49-F238E27FC236}">
                <a16:creationId xmlns:a16="http://schemas.microsoft.com/office/drawing/2014/main" id="{7712C90E-5CE9-41F8-8EA8-24CF3440DE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7180" y="6336792"/>
            <a:ext cx="2037293" cy="458705"/>
          </a:xfrm>
          <a:prstGeom prst="rect">
            <a:avLst/>
          </a:prstGeom>
        </p:spPr>
      </p:pic>
    </p:spTree>
    <p:extLst>
      <p:ext uri="{BB962C8B-B14F-4D97-AF65-F5344CB8AC3E}">
        <p14:creationId xmlns:p14="http://schemas.microsoft.com/office/powerpoint/2010/main" val="18003107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B227B-9C25-4EA9-9479-2C2233725535}"/>
              </a:ext>
            </a:extLst>
          </p:cNvPr>
          <p:cNvSpPr>
            <a:spLocks noGrp="1"/>
          </p:cNvSpPr>
          <p:nvPr>
            <p:ph type="title"/>
          </p:nvPr>
        </p:nvSpPr>
        <p:spPr>
          <a:xfrm>
            <a:off x="839788" y="365125"/>
            <a:ext cx="10515600" cy="1325563"/>
          </a:xfrm>
        </p:spPr>
        <p:txBody>
          <a:bodyPr>
            <a:normAutofit/>
          </a:bodyPr>
          <a:lstStyle>
            <a:lvl1pPr>
              <a:defRPr sz="40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71D11DFE-1C31-4733-835E-394905142E42}"/>
              </a:ext>
            </a:extLst>
          </p:cNvPr>
          <p:cNvSpPr>
            <a:spLocks noGrp="1"/>
          </p:cNvSpPr>
          <p:nvPr>
            <p:ph type="body" idx="1"/>
          </p:nvPr>
        </p:nvSpPr>
        <p:spPr>
          <a:xfrm>
            <a:off x="839788" y="1681163"/>
            <a:ext cx="5157787" cy="823912"/>
          </a:xfrm>
        </p:spPr>
        <p:txBody>
          <a:bodyPr anchor="b"/>
          <a:lstStyle>
            <a:lvl1pPr marL="0" indent="0">
              <a:buNone/>
              <a:defRPr sz="2400" b="1">
                <a:latin typeface="Franklin Gothic Book" panose="020B05030201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F266C0E-A772-46E3-B257-F3D9A8EBB16D}"/>
              </a:ext>
            </a:extLst>
          </p:cNvPr>
          <p:cNvSpPr>
            <a:spLocks noGrp="1"/>
          </p:cNvSpPr>
          <p:nvPr>
            <p:ph sz="half" idx="2"/>
          </p:nvPr>
        </p:nvSpPr>
        <p:spPr>
          <a:xfrm>
            <a:off x="839788" y="2505075"/>
            <a:ext cx="5157787" cy="3684588"/>
          </a:xfrm>
        </p:spPr>
        <p:txBody>
          <a:bodyPr/>
          <a:lstStyle>
            <a:lvl1pPr>
              <a:defRPr>
                <a:latin typeface="Franklin Gothic Book" panose="020B0503020102020204" pitchFamily="34" charset="0"/>
              </a:defRPr>
            </a:lvl1pPr>
            <a:lvl2pPr>
              <a:defRPr>
                <a:latin typeface="Franklin Gothic Book" panose="020B0503020102020204" pitchFamily="34" charset="0"/>
              </a:defRPr>
            </a:lvl2pPr>
            <a:lvl3pPr>
              <a:defRPr>
                <a:latin typeface="Franklin Gothic Book" panose="020B0503020102020204" pitchFamily="34" charset="0"/>
              </a:defRPr>
            </a:lvl3pPr>
            <a:lvl4pPr>
              <a:defRPr>
                <a:latin typeface="Franklin Gothic Book" panose="020B0503020102020204" pitchFamily="34" charset="0"/>
              </a:defRPr>
            </a:lvl4pPr>
            <a:lvl5pPr>
              <a:defRPr>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12F02CB-1EA9-477C-93D6-9CD269382D50}"/>
              </a:ext>
            </a:extLst>
          </p:cNvPr>
          <p:cNvSpPr>
            <a:spLocks noGrp="1"/>
          </p:cNvSpPr>
          <p:nvPr>
            <p:ph type="body" sz="quarter" idx="3"/>
          </p:nvPr>
        </p:nvSpPr>
        <p:spPr>
          <a:xfrm>
            <a:off x="6172200" y="1681163"/>
            <a:ext cx="5183188" cy="823912"/>
          </a:xfrm>
        </p:spPr>
        <p:txBody>
          <a:bodyPr anchor="b"/>
          <a:lstStyle>
            <a:lvl1pPr marL="0" indent="0">
              <a:buNone/>
              <a:defRPr sz="2400" b="1">
                <a:latin typeface="Franklin Gothic Book" panose="020B05030201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1A34711-E170-43C2-A8CB-DCBB3EBE9A6C}"/>
              </a:ext>
            </a:extLst>
          </p:cNvPr>
          <p:cNvSpPr>
            <a:spLocks noGrp="1"/>
          </p:cNvSpPr>
          <p:nvPr>
            <p:ph sz="quarter" idx="4"/>
          </p:nvPr>
        </p:nvSpPr>
        <p:spPr>
          <a:xfrm>
            <a:off x="6172200" y="2505075"/>
            <a:ext cx="5183188" cy="3684588"/>
          </a:xfrm>
        </p:spPr>
        <p:txBody>
          <a:bodyPr/>
          <a:lstStyle>
            <a:lvl1pPr>
              <a:defRPr>
                <a:latin typeface="Franklin Gothic Book" panose="020B0503020102020204" pitchFamily="34" charset="0"/>
              </a:defRPr>
            </a:lvl1pPr>
            <a:lvl2pPr>
              <a:defRPr>
                <a:latin typeface="Franklin Gothic Book" panose="020B0503020102020204" pitchFamily="34" charset="0"/>
              </a:defRPr>
            </a:lvl2pPr>
            <a:lvl3pPr>
              <a:defRPr>
                <a:latin typeface="Franklin Gothic Book" panose="020B0503020102020204" pitchFamily="34" charset="0"/>
              </a:defRPr>
            </a:lvl3pPr>
            <a:lvl4pPr>
              <a:defRPr>
                <a:latin typeface="Franklin Gothic Book" panose="020B0503020102020204" pitchFamily="34" charset="0"/>
              </a:defRPr>
            </a:lvl4pPr>
            <a:lvl5pPr>
              <a:defRPr>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a:extLst>
              <a:ext uri="{FF2B5EF4-FFF2-40B4-BE49-F238E27FC236}">
                <a16:creationId xmlns:a16="http://schemas.microsoft.com/office/drawing/2014/main" id="{67D1258C-FA5A-4E0D-A5C9-C71EB2546D5B}"/>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lide Number Placeholder 5">
            <a:extLst>
              <a:ext uri="{FF2B5EF4-FFF2-40B4-BE49-F238E27FC236}">
                <a16:creationId xmlns:a16="http://schemas.microsoft.com/office/drawing/2014/main" id="{52A3AAA7-028B-4D64-85E2-C58A1CF6BD5C}"/>
              </a:ext>
            </a:extLst>
          </p:cNvPr>
          <p:cNvSpPr txBox="1">
            <a:spLocks/>
          </p:cNvSpPr>
          <p:nvPr userDrawn="1"/>
        </p:nvSpPr>
        <p:spPr>
          <a:xfrm>
            <a:off x="8610600" y="628123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17542F-3D05-4156-9308-A42F80506B15}" type="slidenum">
              <a:rPr lang="en-US" smtClean="0"/>
              <a:pPr/>
              <a:t>‹#›</a:t>
            </a:fld>
            <a:endParaRPr lang="en-US"/>
          </a:p>
        </p:txBody>
      </p:sp>
      <p:sp>
        <p:nvSpPr>
          <p:cNvPr id="18" name="Rectangle 17">
            <a:extLst>
              <a:ext uri="{FF2B5EF4-FFF2-40B4-BE49-F238E27FC236}">
                <a16:creationId xmlns:a16="http://schemas.microsoft.com/office/drawing/2014/main" id="{0DC4E5D0-54D8-4A69-BEE5-43027F01473F}"/>
              </a:ext>
            </a:extLst>
          </p:cNvPr>
          <p:cNvSpPr/>
          <p:nvPr userDrawn="1"/>
        </p:nvSpPr>
        <p:spPr>
          <a:xfrm>
            <a:off x="-10063" y="6273499"/>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Slide Number Placeholder 5">
            <a:extLst>
              <a:ext uri="{FF2B5EF4-FFF2-40B4-BE49-F238E27FC236}">
                <a16:creationId xmlns:a16="http://schemas.microsoft.com/office/drawing/2014/main" id="{2C5CC0F4-BF22-45A5-8B84-DB4878387636}"/>
              </a:ext>
            </a:extLst>
          </p:cNvPr>
          <p:cNvSpPr>
            <a:spLocks noGrp="1"/>
          </p:cNvSpPr>
          <p:nvPr>
            <p:ph type="sldNum" sz="quarter" idx="12"/>
          </p:nvPr>
        </p:nvSpPr>
        <p:spPr>
          <a:xfrm>
            <a:off x="8600537" y="6273499"/>
            <a:ext cx="2743200" cy="584501"/>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21" name="Footer Placeholder 7">
            <a:extLst>
              <a:ext uri="{FF2B5EF4-FFF2-40B4-BE49-F238E27FC236}">
                <a16:creationId xmlns:a16="http://schemas.microsoft.com/office/drawing/2014/main" id="{B5C6DC9F-0C64-40BD-BED5-525B1B3CC14D}"/>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a:t>
            </a:r>
          </a:p>
        </p:txBody>
      </p:sp>
      <p:pic>
        <p:nvPicPr>
          <p:cNvPr id="14" name="Picture 13" descr="A picture containing text, clipart&#10;&#10;Description automatically generated">
            <a:extLst>
              <a:ext uri="{FF2B5EF4-FFF2-40B4-BE49-F238E27FC236}">
                <a16:creationId xmlns:a16="http://schemas.microsoft.com/office/drawing/2014/main" id="{F1E5093E-D8B7-47A2-848D-4448B36D17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7180" y="6336792"/>
            <a:ext cx="2037293" cy="458705"/>
          </a:xfrm>
          <a:prstGeom prst="rect">
            <a:avLst/>
          </a:prstGeom>
        </p:spPr>
      </p:pic>
    </p:spTree>
    <p:extLst>
      <p:ext uri="{BB962C8B-B14F-4D97-AF65-F5344CB8AC3E}">
        <p14:creationId xmlns:p14="http://schemas.microsoft.com/office/powerpoint/2010/main" val="13448604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85985E-7D3E-4A7F-B57A-ED70D1E3A288}"/>
              </a:ext>
            </a:extLst>
          </p:cNvPr>
          <p:cNvSpPr>
            <a:spLocks noGrp="1"/>
          </p:cNvSpPr>
          <p:nvPr>
            <p:ph type="title"/>
          </p:nvPr>
        </p:nvSpPr>
        <p:spPr/>
        <p:txBody>
          <a:bodyPr>
            <a:normAutofit/>
          </a:bodyPr>
          <a:lstStyle>
            <a:lvl1pPr>
              <a:defRPr sz="40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Rectangle 7">
            <a:extLst>
              <a:ext uri="{FF2B5EF4-FFF2-40B4-BE49-F238E27FC236}">
                <a16:creationId xmlns:a16="http://schemas.microsoft.com/office/drawing/2014/main" id="{748E0831-3FA4-4492-9DEC-D6C8CF752604}"/>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5">
            <a:extLst>
              <a:ext uri="{FF2B5EF4-FFF2-40B4-BE49-F238E27FC236}">
                <a16:creationId xmlns:a16="http://schemas.microsoft.com/office/drawing/2014/main" id="{D24F37F3-E977-4E30-A60C-8A6F9B3C87A3}"/>
              </a:ext>
            </a:extLst>
          </p:cNvPr>
          <p:cNvSpPr txBox="1">
            <a:spLocks/>
          </p:cNvSpPr>
          <p:nvPr userDrawn="1"/>
        </p:nvSpPr>
        <p:spPr>
          <a:xfrm>
            <a:off x="8610600" y="628123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17542F-3D05-4156-9308-A42F80506B15}" type="slidenum">
              <a:rPr lang="en-US" smtClean="0"/>
              <a:pPr/>
              <a:t>‹#›</a:t>
            </a:fld>
            <a:endParaRPr lang="en-US"/>
          </a:p>
        </p:txBody>
      </p:sp>
      <p:sp>
        <p:nvSpPr>
          <p:cNvPr id="14" name="Rectangle 13">
            <a:extLst>
              <a:ext uri="{FF2B5EF4-FFF2-40B4-BE49-F238E27FC236}">
                <a16:creationId xmlns:a16="http://schemas.microsoft.com/office/drawing/2014/main" id="{D851A1DA-FE16-48FB-986A-63475B60EC0B}"/>
              </a:ext>
            </a:extLst>
          </p:cNvPr>
          <p:cNvSpPr/>
          <p:nvPr userDrawn="1"/>
        </p:nvSpPr>
        <p:spPr>
          <a:xfrm>
            <a:off x="0" y="6309807"/>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EDEA25BE-9500-4F42-9D75-F0287C838CFE}"/>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7" name="Footer Placeholder 7">
            <a:extLst>
              <a:ext uri="{FF2B5EF4-FFF2-40B4-BE49-F238E27FC236}">
                <a16:creationId xmlns:a16="http://schemas.microsoft.com/office/drawing/2014/main" id="{51A96B0E-ECBA-4D54-B6A0-C3D84452461B}"/>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a:t>
            </a:r>
          </a:p>
        </p:txBody>
      </p:sp>
      <p:pic>
        <p:nvPicPr>
          <p:cNvPr id="10" name="Picture 9" descr="A picture containing text, clipart&#10;&#10;Description automatically generated">
            <a:extLst>
              <a:ext uri="{FF2B5EF4-FFF2-40B4-BE49-F238E27FC236}">
                <a16:creationId xmlns:a16="http://schemas.microsoft.com/office/drawing/2014/main" id="{636DC736-FE5B-4C46-BC8F-8B01E4B357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7180" y="6336792"/>
            <a:ext cx="2037293" cy="458705"/>
          </a:xfrm>
          <a:prstGeom prst="rect">
            <a:avLst/>
          </a:prstGeom>
        </p:spPr>
      </p:pic>
    </p:spTree>
    <p:extLst>
      <p:ext uri="{BB962C8B-B14F-4D97-AF65-F5344CB8AC3E}">
        <p14:creationId xmlns:p14="http://schemas.microsoft.com/office/powerpoint/2010/main" val="30018219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986AAEA-A48F-4BAD-9EBB-E9F38FFBFF34}"/>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0D1966C-A9BD-47B0-B9C3-CF37C9B42797}"/>
              </a:ext>
            </a:extLst>
          </p:cNvPr>
          <p:cNvSpPr/>
          <p:nvPr userDrawn="1"/>
        </p:nvSpPr>
        <p:spPr>
          <a:xfrm>
            <a:off x="0" y="6281232"/>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486EA3CA-5E05-4E3F-97F7-140BC64C894F}"/>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6" name="Footer Placeholder 7">
            <a:extLst>
              <a:ext uri="{FF2B5EF4-FFF2-40B4-BE49-F238E27FC236}">
                <a16:creationId xmlns:a16="http://schemas.microsoft.com/office/drawing/2014/main" id="{5F204DBB-E423-40B8-8329-D55211327EE8}"/>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a:t>
            </a:r>
          </a:p>
        </p:txBody>
      </p:sp>
      <p:pic>
        <p:nvPicPr>
          <p:cNvPr id="8" name="Picture 7" descr="A picture containing text, clipart&#10;&#10;Description automatically generated">
            <a:extLst>
              <a:ext uri="{FF2B5EF4-FFF2-40B4-BE49-F238E27FC236}">
                <a16:creationId xmlns:a16="http://schemas.microsoft.com/office/drawing/2014/main" id="{202FBB69-27C7-43E5-9199-D695DCC1956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7180" y="6336792"/>
            <a:ext cx="2037293" cy="458705"/>
          </a:xfrm>
          <a:prstGeom prst="rect">
            <a:avLst/>
          </a:prstGeom>
        </p:spPr>
      </p:pic>
    </p:spTree>
    <p:extLst>
      <p:ext uri="{BB962C8B-B14F-4D97-AF65-F5344CB8AC3E}">
        <p14:creationId xmlns:p14="http://schemas.microsoft.com/office/powerpoint/2010/main" val="12674054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7093A6-F0E9-435B-B7B3-A9C4DD55A480}"/>
              </a:ext>
            </a:extLst>
          </p:cNvPr>
          <p:cNvSpPr>
            <a:spLocks noGrp="1"/>
          </p:cNvSpPr>
          <p:nvPr>
            <p:ph type="title"/>
          </p:nvPr>
        </p:nvSpPr>
        <p:spPr>
          <a:xfrm>
            <a:off x="839788" y="457200"/>
            <a:ext cx="3932237" cy="1600200"/>
          </a:xfrm>
        </p:spPr>
        <p:txBody>
          <a:bodyPr anchor="b"/>
          <a:lstStyle>
            <a:lvl1pPr>
              <a:defRPr sz="32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BECB5BE4-00B7-4728-A015-D69AC8B4F25E}"/>
              </a:ext>
            </a:extLst>
          </p:cNvPr>
          <p:cNvSpPr>
            <a:spLocks noGrp="1"/>
          </p:cNvSpPr>
          <p:nvPr>
            <p:ph idx="1"/>
          </p:nvPr>
        </p:nvSpPr>
        <p:spPr>
          <a:xfrm>
            <a:off x="5183188" y="987425"/>
            <a:ext cx="6172200" cy="4873625"/>
          </a:xfrm>
        </p:spPr>
        <p:txBody>
          <a:bodyPr/>
          <a:lstStyle>
            <a:lvl1pPr>
              <a:defRPr sz="3200">
                <a:latin typeface="Franklin Gothic Book" panose="020B0503020102020204" pitchFamily="34" charset="0"/>
              </a:defRPr>
            </a:lvl1pPr>
            <a:lvl2pPr>
              <a:defRPr sz="2800">
                <a:latin typeface="Franklin Gothic Book" panose="020B0503020102020204" pitchFamily="34" charset="0"/>
              </a:defRPr>
            </a:lvl2pPr>
            <a:lvl3pPr>
              <a:defRPr sz="2400">
                <a:latin typeface="Franklin Gothic Book" panose="020B0503020102020204" pitchFamily="34" charset="0"/>
              </a:defRPr>
            </a:lvl3pPr>
            <a:lvl4pPr>
              <a:defRPr sz="2000">
                <a:latin typeface="Franklin Gothic Book" panose="020B0503020102020204" pitchFamily="34" charset="0"/>
              </a:defRPr>
            </a:lvl4pPr>
            <a:lvl5pPr>
              <a:defRPr sz="2000">
                <a:latin typeface="Franklin Gothic Book" panose="020B05030201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6DE060F-4EAC-4222-A778-B45501E4FD68}"/>
              </a:ext>
            </a:extLst>
          </p:cNvPr>
          <p:cNvSpPr>
            <a:spLocks noGrp="1"/>
          </p:cNvSpPr>
          <p:nvPr>
            <p:ph type="body" sz="half" idx="2"/>
          </p:nvPr>
        </p:nvSpPr>
        <p:spPr>
          <a:xfrm>
            <a:off x="839788" y="2057400"/>
            <a:ext cx="3932237" cy="3811588"/>
          </a:xfrm>
        </p:spPr>
        <p:txBody>
          <a:bodyPr/>
          <a:lstStyle>
            <a:lvl1pPr marL="0" indent="0">
              <a:buNone/>
              <a:defRPr sz="1600">
                <a:latin typeface="Franklin Gothic Book" panose="020B05030201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Rectangle 9">
            <a:extLst>
              <a:ext uri="{FF2B5EF4-FFF2-40B4-BE49-F238E27FC236}">
                <a16:creationId xmlns:a16="http://schemas.microsoft.com/office/drawing/2014/main" id="{BE9A65C0-C696-44F2-A58C-9329DD5836DA}"/>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lide Number Placeholder 5">
            <a:extLst>
              <a:ext uri="{FF2B5EF4-FFF2-40B4-BE49-F238E27FC236}">
                <a16:creationId xmlns:a16="http://schemas.microsoft.com/office/drawing/2014/main" id="{EF3DDA91-1A84-463C-8ED0-7E412226C8E2}"/>
              </a:ext>
            </a:extLst>
          </p:cNvPr>
          <p:cNvSpPr txBox="1">
            <a:spLocks/>
          </p:cNvSpPr>
          <p:nvPr userDrawn="1"/>
        </p:nvSpPr>
        <p:spPr>
          <a:xfrm>
            <a:off x="8610600" y="628123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17542F-3D05-4156-9308-A42F80506B15}" type="slidenum">
              <a:rPr lang="en-US" smtClean="0"/>
              <a:pPr/>
              <a:t>‹#›</a:t>
            </a:fld>
            <a:endParaRPr lang="en-US"/>
          </a:p>
        </p:txBody>
      </p:sp>
      <p:sp>
        <p:nvSpPr>
          <p:cNvPr id="16" name="Rectangle 15">
            <a:extLst>
              <a:ext uri="{FF2B5EF4-FFF2-40B4-BE49-F238E27FC236}">
                <a16:creationId xmlns:a16="http://schemas.microsoft.com/office/drawing/2014/main" id="{C8E3EEBD-4D39-45AA-8AFD-B0B0915F203A}"/>
              </a:ext>
            </a:extLst>
          </p:cNvPr>
          <p:cNvSpPr/>
          <p:nvPr userDrawn="1"/>
        </p:nvSpPr>
        <p:spPr>
          <a:xfrm>
            <a:off x="0" y="6281232"/>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AAAF13D2-62BB-4462-8CB6-CFC12204BAC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8200" y="6398691"/>
            <a:ext cx="1844615" cy="321202"/>
          </a:xfrm>
          <a:prstGeom prst="rect">
            <a:avLst/>
          </a:prstGeom>
        </p:spPr>
      </p:pic>
      <p:sp>
        <p:nvSpPr>
          <p:cNvPr id="18" name="Slide Number Placeholder 5">
            <a:extLst>
              <a:ext uri="{FF2B5EF4-FFF2-40B4-BE49-F238E27FC236}">
                <a16:creationId xmlns:a16="http://schemas.microsoft.com/office/drawing/2014/main" id="{1656288B-AE04-4A9C-88A8-1CFDEAF4A576}"/>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9" name="Footer Placeholder 7">
            <a:extLst>
              <a:ext uri="{FF2B5EF4-FFF2-40B4-BE49-F238E27FC236}">
                <a16:creationId xmlns:a16="http://schemas.microsoft.com/office/drawing/2014/main" id="{C9AD2C42-7ED6-4328-B88F-9CCF390B1FC8}"/>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policy</a:t>
            </a:r>
          </a:p>
        </p:txBody>
      </p:sp>
    </p:spTree>
    <p:extLst>
      <p:ext uri="{BB962C8B-B14F-4D97-AF65-F5344CB8AC3E}">
        <p14:creationId xmlns:p14="http://schemas.microsoft.com/office/powerpoint/2010/main" val="7758560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9D6FB7-3987-4631-9E61-654948E9BC46}"/>
              </a:ext>
            </a:extLst>
          </p:cNvPr>
          <p:cNvSpPr>
            <a:spLocks noGrp="1"/>
          </p:cNvSpPr>
          <p:nvPr>
            <p:ph type="title"/>
          </p:nvPr>
        </p:nvSpPr>
        <p:spPr>
          <a:xfrm>
            <a:off x="839788" y="457200"/>
            <a:ext cx="3932237" cy="1600200"/>
          </a:xfrm>
        </p:spPr>
        <p:txBody>
          <a:bodyPr anchor="b"/>
          <a:lstStyle>
            <a:lvl1pPr>
              <a:defRPr sz="3200" b="1">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Picture Placeholder 2">
            <a:extLst>
              <a:ext uri="{FF2B5EF4-FFF2-40B4-BE49-F238E27FC236}">
                <a16:creationId xmlns:a16="http://schemas.microsoft.com/office/drawing/2014/main" id="{97F6D002-A7C9-41C2-B30A-AA5CBF97D64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D76727B-F922-41BC-BFA9-32E7B3C8E9DC}"/>
              </a:ext>
            </a:extLst>
          </p:cNvPr>
          <p:cNvSpPr>
            <a:spLocks noGrp="1"/>
          </p:cNvSpPr>
          <p:nvPr>
            <p:ph type="body" sz="half" idx="2"/>
          </p:nvPr>
        </p:nvSpPr>
        <p:spPr>
          <a:xfrm>
            <a:off x="839788" y="2057400"/>
            <a:ext cx="3932237" cy="3811588"/>
          </a:xfrm>
        </p:spPr>
        <p:txBody>
          <a:bodyPr/>
          <a:lstStyle>
            <a:lvl1pPr marL="0" indent="0">
              <a:buNone/>
              <a:defRPr sz="1600">
                <a:latin typeface="Franklin Gothic Book" panose="020B05030201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Rectangle 9">
            <a:extLst>
              <a:ext uri="{FF2B5EF4-FFF2-40B4-BE49-F238E27FC236}">
                <a16:creationId xmlns:a16="http://schemas.microsoft.com/office/drawing/2014/main" id="{4EB31B3F-F951-414A-8E42-4E48AEE65550}"/>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7744F2D-2493-4D5C-A63A-5E0CF6B23CB6}"/>
              </a:ext>
            </a:extLst>
          </p:cNvPr>
          <p:cNvSpPr/>
          <p:nvPr userDrawn="1"/>
        </p:nvSpPr>
        <p:spPr>
          <a:xfrm>
            <a:off x="0" y="6281232"/>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7A379486-0189-48B4-A1ED-ADA76937A1F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8200" y="6398691"/>
            <a:ext cx="1844615" cy="321202"/>
          </a:xfrm>
          <a:prstGeom prst="rect">
            <a:avLst/>
          </a:prstGeom>
        </p:spPr>
      </p:pic>
      <p:sp>
        <p:nvSpPr>
          <p:cNvPr id="18" name="Slide Number Placeholder 5">
            <a:extLst>
              <a:ext uri="{FF2B5EF4-FFF2-40B4-BE49-F238E27FC236}">
                <a16:creationId xmlns:a16="http://schemas.microsoft.com/office/drawing/2014/main" id="{C406DEB8-1A0D-489E-B8B3-2E4A11696DE4}"/>
              </a:ext>
            </a:extLst>
          </p:cNvPr>
          <p:cNvSpPr>
            <a:spLocks noGrp="1"/>
          </p:cNvSpPr>
          <p:nvPr>
            <p:ph type="sldNum" sz="quarter" idx="12"/>
          </p:nvPr>
        </p:nvSpPr>
        <p:spPr>
          <a:xfrm>
            <a:off x="8610600" y="6281232"/>
            <a:ext cx="2743200" cy="576768"/>
          </a:xfrm>
        </p:spPr>
        <p:txBody>
          <a:bodyPr/>
          <a:lstStyle>
            <a:lvl1pPr>
              <a:defRPr>
                <a:solidFill>
                  <a:schemeClr val="bg1"/>
                </a:solidFill>
                <a:latin typeface="Arial" panose="020B0604020202020204" pitchFamily="34" charset="0"/>
                <a:cs typeface="Arial" panose="020B0604020202020204" pitchFamily="34" charset="0"/>
              </a:defRPr>
            </a:lvl1pPr>
          </a:lstStyle>
          <a:p>
            <a:fld id="{B617542F-3D05-4156-9308-A42F80506B15}" type="slidenum">
              <a:rPr lang="en-US" smtClean="0"/>
              <a:pPr/>
              <a:t>‹#›</a:t>
            </a:fld>
            <a:endParaRPr lang="en-US"/>
          </a:p>
        </p:txBody>
      </p:sp>
      <p:sp>
        <p:nvSpPr>
          <p:cNvPr id="19" name="Footer Placeholder 7">
            <a:extLst>
              <a:ext uri="{FF2B5EF4-FFF2-40B4-BE49-F238E27FC236}">
                <a16:creationId xmlns:a16="http://schemas.microsoft.com/office/drawing/2014/main" id="{AB4B91E3-6CF1-4C68-BF8A-73135EF27BC7}"/>
              </a:ext>
            </a:extLst>
          </p:cNvPr>
          <p:cNvSpPr txBox="1">
            <a:spLocks/>
          </p:cNvSpPr>
          <p:nvPr userDrawn="1"/>
        </p:nvSpPr>
        <p:spPr>
          <a:xfrm>
            <a:off x="4038600" y="6336792"/>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policy</a:t>
            </a:r>
          </a:p>
        </p:txBody>
      </p:sp>
    </p:spTree>
    <p:extLst>
      <p:ext uri="{BB962C8B-B14F-4D97-AF65-F5344CB8AC3E}">
        <p14:creationId xmlns:p14="http://schemas.microsoft.com/office/powerpoint/2010/main" val="3717640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10" Type="http://schemas.openxmlformats.org/officeDocument/2006/relationships/theme" Target="../theme/theme2.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50B997-EB3A-45CC-B53E-C516526F495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DB902E6-4413-4D57-9016-E2AC03B7024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08F73F-C363-4D6F-8B76-C1ECE8248B6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04E3B90-59A3-4A8D-AE13-9AE1033E8CED}" type="datetime1">
              <a:rPr lang="en-US" smtClean="0"/>
              <a:t>4/8/2022</a:t>
            </a:fld>
            <a:endParaRPr lang="en-US"/>
          </a:p>
        </p:txBody>
      </p:sp>
      <p:sp>
        <p:nvSpPr>
          <p:cNvPr id="5" name="Footer Placeholder 4">
            <a:extLst>
              <a:ext uri="{FF2B5EF4-FFF2-40B4-BE49-F238E27FC236}">
                <a16:creationId xmlns:a16="http://schemas.microsoft.com/office/drawing/2014/main" id="{58946671-C1AB-486E-967D-E8755B5A2EE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energy.gov/</a:t>
            </a:r>
            <a:r>
              <a:rPr lang="en-US" err="1"/>
              <a:t>fe</a:t>
            </a:r>
            <a:endParaRPr lang="en-US"/>
          </a:p>
        </p:txBody>
      </p:sp>
      <p:sp>
        <p:nvSpPr>
          <p:cNvPr id="6" name="Slide Number Placeholder 5">
            <a:extLst>
              <a:ext uri="{FF2B5EF4-FFF2-40B4-BE49-F238E27FC236}">
                <a16:creationId xmlns:a16="http://schemas.microsoft.com/office/drawing/2014/main" id="{6B2ABDB0-BA35-4612-9530-32119020D1D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17542F-3D05-4156-9308-A42F80506B15}" type="slidenum">
              <a:rPr lang="en-US" smtClean="0"/>
              <a:t>‹#›</a:t>
            </a:fld>
            <a:endParaRPr lang="en-US"/>
          </a:p>
        </p:txBody>
      </p:sp>
      <p:sp>
        <p:nvSpPr>
          <p:cNvPr id="7" name="Rectangle 6">
            <a:extLst>
              <a:ext uri="{FF2B5EF4-FFF2-40B4-BE49-F238E27FC236}">
                <a16:creationId xmlns:a16="http://schemas.microsoft.com/office/drawing/2014/main" id="{CB0AA7FE-969D-49FE-A93F-9178F0A73925}"/>
              </a:ext>
            </a:extLst>
          </p:cNvPr>
          <p:cNvSpPr/>
          <p:nvPr userDrawn="1"/>
        </p:nvSpPr>
        <p:spPr>
          <a:xfrm>
            <a:off x="0" y="571499"/>
            <a:ext cx="594360" cy="594360"/>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658BD45E-C390-4A15-887C-D719B52E589B}"/>
              </a:ext>
            </a:extLst>
          </p:cNvPr>
          <p:cNvSpPr/>
          <p:nvPr userDrawn="1"/>
        </p:nvSpPr>
        <p:spPr>
          <a:xfrm>
            <a:off x="0" y="6316157"/>
            <a:ext cx="12192000" cy="576768"/>
          </a:xfrm>
          <a:prstGeom prst="rect">
            <a:avLst/>
          </a:prstGeom>
          <a:solidFill>
            <a:srgbClr val="007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lide Number Placeholder 5">
            <a:extLst>
              <a:ext uri="{FF2B5EF4-FFF2-40B4-BE49-F238E27FC236}">
                <a16:creationId xmlns:a16="http://schemas.microsoft.com/office/drawing/2014/main" id="{E34DDA39-2D55-43C5-9BCD-6BA294E415A9}"/>
              </a:ext>
            </a:extLst>
          </p:cNvPr>
          <p:cNvSpPr txBox="1">
            <a:spLocks/>
          </p:cNvSpPr>
          <p:nvPr userDrawn="1"/>
        </p:nvSpPr>
        <p:spPr>
          <a:xfrm>
            <a:off x="8610600" y="6281232"/>
            <a:ext cx="2743200" cy="576768"/>
          </a:xfrm>
          <a:prstGeom prst="rect">
            <a:avLst/>
          </a:prstGeom>
        </p:spPr>
        <p:txBody>
          <a:bodyPr lIns="0" tIns="0" rIns="0" bIns="0" anchor="ctr" anchorCtr="0"/>
          <a:lstStyle>
            <a:defPPr>
              <a:defRPr lang="en-US"/>
            </a:defPPr>
            <a:lvl1pPr marL="0" algn="l" defTabSz="914400" rtl="0" eaLnBrk="1" latinLnBrk="0" hangingPunct="1">
              <a:defRPr sz="1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B617542F-3D05-4156-9308-A42F80506B15}" type="slidenum">
              <a:rPr lang="en-US" sz="1200" smtClean="0"/>
              <a:pPr algn="r"/>
              <a:t>‹#›</a:t>
            </a:fld>
            <a:endParaRPr lang="en-US" sz="1200"/>
          </a:p>
        </p:txBody>
      </p:sp>
      <p:sp>
        <p:nvSpPr>
          <p:cNvPr id="12" name="Footer Placeholder 7">
            <a:extLst>
              <a:ext uri="{FF2B5EF4-FFF2-40B4-BE49-F238E27FC236}">
                <a16:creationId xmlns:a16="http://schemas.microsoft.com/office/drawing/2014/main" id="{721A99E9-2D30-4F6D-B8B3-C7CAD840D83C}"/>
              </a:ext>
            </a:extLst>
          </p:cNvPr>
          <p:cNvSpPr txBox="1">
            <a:spLocks/>
          </p:cNvSpPr>
          <p:nvPr userDrawn="1"/>
        </p:nvSpPr>
        <p:spPr>
          <a:xfrm>
            <a:off x="4038600" y="6332988"/>
            <a:ext cx="4114800" cy="576768"/>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aseline="30000">
                <a:solidFill>
                  <a:schemeClr val="bg1"/>
                </a:solidFill>
                <a:latin typeface="Arial" panose="020B0604020202020204" pitchFamily="34" charset="0"/>
                <a:cs typeface="Arial" panose="020B0604020202020204" pitchFamily="34" charset="0"/>
              </a:rPr>
              <a:t>energy.gov</a:t>
            </a:r>
          </a:p>
        </p:txBody>
      </p:sp>
      <p:pic>
        <p:nvPicPr>
          <p:cNvPr id="13" name="Picture 12" descr="A picture containing text, clipart&#10;&#10;Description automatically generated">
            <a:extLst>
              <a:ext uri="{FF2B5EF4-FFF2-40B4-BE49-F238E27FC236}">
                <a16:creationId xmlns:a16="http://schemas.microsoft.com/office/drawing/2014/main" id="{256141CD-62C9-4E7B-A3A9-A0C7E8951D53}"/>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297180" y="6336792"/>
            <a:ext cx="2037293" cy="458705"/>
          </a:xfrm>
          <a:prstGeom prst="rect">
            <a:avLst/>
          </a:prstGeom>
        </p:spPr>
      </p:pic>
    </p:spTree>
    <p:extLst>
      <p:ext uri="{BB962C8B-B14F-4D97-AF65-F5344CB8AC3E}">
        <p14:creationId xmlns:p14="http://schemas.microsoft.com/office/powerpoint/2010/main" val="20305661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5" r:id="rId12"/>
    <p:sldLayoutId id="2147483677" r:id="rId13"/>
    <p:sldLayoutId id="2147483693" r:id="rId14"/>
    <p:sldLayoutId id="2147483694" r:id="rId15"/>
    <p:sldLayoutId id="2147483695" r:id="rId16"/>
  </p:sldLayoutIdLst>
  <p:hf hdr="0" dt="0"/>
  <p:txStyles>
    <p:titleStyle>
      <a:lvl1pPr algn="l" defTabSz="914400" rtl="0" eaLnBrk="1" latinLnBrk="0" hangingPunct="1">
        <a:lnSpc>
          <a:spcPct val="90000"/>
        </a:lnSpc>
        <a:spcBef>
          <a:spcPct val="0"/>
        </a:spcBef>
        <a:buNone/>
        <a:defRPr sz="4000" b="1" kern="1200">
          <a:solidFill>
            <a:schemeClr val="tx1">
              <a:lumMod val="75000"/>
              <a:lumOff val="25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421467" y="6578601"/>
            <a:ext cx="9770533" cy="284163"/>
          </a:xfrm>
          <a:prstGeom prst="rect">
            <a:avLst/>
          </a:prstGeom>
          <a:solidFill>
            <a:srgbClr val="0066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12" name="Rectangle 11"/>
          <p:cNvSpPr>
            <a:spLocks/>
          </p:cNvSpPr>
          <p:nvPr/>
        </p:nvSpPr>
        <p:spPr>
          <a:xfrm flipH="1">
            <a:off x="1" y="6578601"/>
            <a:ext cx="2434167" cy="284163"/>
          </a:xfrm>
          <a:prstGeom prst="rect">
            <a:avLst/>
          </a:prstGeom>
          <a:solidFill>
            <a:srgbClr val="3A901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1028" name="Title Placeholder 1"/>
          <p:cNvSpPr>
            <a:spLocks noGrp="1"/>
          </p:cNvSpPr>
          <p:nvPr>
            <p:ph type="title"/>
          </p:nvPr>
        </p:nvSpPr>
        <p:spPr bwMode="auto">
          <a:xfrm>
            <a:off x="480484" y="-38100"/>
            <a:ext cx="11633200" cy="812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4" name="Text Placeholder 9"/>
          <p:cNvSpPr txBox="1">
            <a:spLocks/>
          </p:cNvSpPr>
          <p:nvPr/>
        </p:nvSpPr>
        <p:spPr>
          <a:xfrm>
            <a:off x="11588752" y="6605588"/>
            <a:ext cx="603249" cy="241300"/>
          </a:xfrm>
          <a:prstGeom prst="rect">
            <a:avLst/>
          </a:prstGeom>
        </p:spPr>
        <p:txBody>
          <a:bodyPr>
            <a:normAutofit/>
          </a:bodyPr>
          <a:lstStyle>
            <a:lvl1pPr marL="342900" indent="-342900" eaLnBrk="0" hangingPunct="0">
              <a:defRPr sz="2400">
                <a:solidFill>
                  <a:schemeClr val="tx1"/>
                </a:solidFill>
                <a:latin typeface="Arial" charset="0"/>
                <a:ea typeface="ヒラギノ角ゴ Pro W3"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algn="ctr" eaLnBrk="1" hangingPunct="1">
              <a:lnSpc>
                <a:spcPct val="90000"/>
              </a:lnSpc>
              <a:spcBef>
                <a:spcPct val="20000"/>
              </a:spcBef>
              <a:buFont typeface="Arial" charset="0"/>
              <a:buNone/>
            </a:pPr>
            <a:fld id="{3B8FDC89-80CC-DB49-B2EA-BD0F5E541433}" type="slidenum">
              <a:rPr lang="en-US" sz="900">
                <a:solidFill>
                  <a:srgbClr val="FFFFFF"/>
                </a:solidFill>
                <a:latin typeface="Franklin Gothic Book" charset="0"/>
                <a:cs typeface="Arial" charset="0"/>
              </a:rPr>
              <a:pPr algn="ctr" eaLnBrk="1" hangingPunct="1">
                <a:lnSpc>
                  <a:spcPct val="90000"/>
                </a:lnSpc>
                <a:spcBef>
                  <a:spcPct val="20000"/>
                </a:spcBef>
                <a:buFont typeface="Arial" charset="0"/>
                <a:buNone/>
              </a:pPr>
              <a:t>‹#›</a:t>
            </a:fld>
            <a:endParaRPr lang="en-US" sz="900">
              <a:solidFill>
                <a:srgbClr val="FFFFFF"/>
              </a:solidFill>
              <a:latin typeface="Franklin Gothic Book" charset="0"/>
              <a:cs typeface="Arial" charset="0"/>
            </a:endParaRPr>
          </a:p>
        </p:txBody>
      </p:sp>
      <p:sp>
        <p:nvSpPr>
          <p:cNvPr id="11" name="Rectangle 10"/>
          <p:cNvSpPr/>
          <p:nvPr/>
        </p:nvSpPr>
        <p:spPr bwMode="auto">
          <a:xfrm flipH="1" flipV="1">
            <a:off x="0" y="787401"/>
            <a:ext cx="12192000" cy="28575"/>
          </a:xfrm>
          <a:prstGeom prst="rect">
            <a:avLst/>
          </a:prstGeom>
          <a:solidFill>
            <a:schemeClr val="accent5"/>
          </a:solidFill>
          <a:ln>
            <a:solidFill>
              <a:srgbClr val="3A901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5" name="TextBox 4"/>
          <p:cNvSpPr txBox="1"/>
          <p:nvPr/>
        </p:nvSpPr>
        <p:spPr>
          <a:xfrm>
            <a:off x="97368" y="6596064"/>
            <a:ext cx="6593417" cy="238125"/>
          </a:xfrm>
          <a:prstGeom prst="rect">
            <a:avLst/>
          </a:prstGeom>
          <a:noFill/>
        </p:spPr>
        <p:txBody>
          <a:bodyPr>
            <a:spAutoFit/>
          </a:bodyPr>
          <a:lstStyle/>
          <a:p>
            <a:pPr>
              <a:defRPr/>
            </a:pPr>
            <a:r>
              <a:rPr lang="en-US" sz="950">
                <a:solidFill>
                  <a:schemeClr val="bg1"/>
                </a:solidFill>
                <a:latin typeface="+mj-lt"/>
                <a:ea typeface="ＭＳ Ｐゴシック" pitchFamily="-106" charset="-128"/>
                <a:cs typeface="ＭＳ Ｐゴシック" pitchFamily="-106" charset="-128"/>
              </a:rPr>
              <a:t>U.S. DEPARTMENT OF ENERGY       OFFICE OF ENERGY EFFICIENCY &amp; RENEWABLE ENERGY</a:t>
            </a:r>
          </a:p>
        </p:txBody>
      </p:sp>
      <p:sp>
        <p:nvSpPr>
          <p:cNvPr id="1032" name="Text Placeholder 8"/>
          <p:cNvSpPr>
            <a:spLocks noGrp="1"/>
          </p:cNvSpPr>
          <p:nvPr>
            <p:ph type="body" idx="1"/>
          </p:nvPr>
        </p:nvSpPr>
        <p:spPr bwMode="auto">
          <a:xfrm>
            <a:off x="480484" y="1047751"/>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279202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Lst>
  <p:txStyles>
    <p:title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p:titleStyle>
    <p:bodyStyle>
      <a:lvl1pPr marL="342900" indent="-342900" algn="l" defTabSz="457200" rtl="0" eaLnBrk="1" fontAlgn="base" hangingPunct="1">
        <a:spcBef>
          <a:spcPct val="20000"/>
        </a:spcBef>
        <a:spcAft>
          <a:spcPct val="0"/>
        </a:spcAft>
        <a:buFont typeface="Arial" charset="0"/>
        <a:buChar char="•"/>
        <a:defRPr sz="2600" kern="1200">
          <a:solidFill>
            <a:srgbClr val="282B2E"/>
          </a:solidFill>
          <a:latin typeface="+mj-lt"/>
          <a:ea typeface="ヒラギノ角ゴ Pro W3" charset="0"/>
          <a:cs typeface="Arial"/>
        </a:defRPr>
      </a:lvl1pPr>
      <a:lvl2pPr marL="742950" indent="-285750" algn="l" defTabSz="457200" rtl="0" eaLnBrk="1" fontAlgn="base" hangingPunct="1">
        <a:spcBef>
          <a:spcPct val="20000"/>
        </a:spcBef>
        <a:spcAft>
          <a:spcPct val="0"/>
        </a:spcAft>
        <a:buFont typeface="Arial" charset="0"/>
        <a:buChar char="–"/>
        <a:defRPr sz="2400" kern="1200">
          <a:solidFill>
            <a:srgbClr val="282B2E"/>
          </a:solidFill>
          <a:latin typeface="+mn-lt"/>
          <a:ea typeface="ヒラギノ角ゴ Pro W3" charset="0"/>
          <a:cs typeface="Arial"/>
        </a:defRPr>
      </a:lvl2pPr>
      <a:lvl3pPr marL="1143000" indent="-228600" algn="l" defTabSz="457200" rtl="0" eaLnBrk="1" fontAlgn="base" hangingPunct="1">
        <a:spcBef>
          <a:spcPct val="20000"/>
        </a:spcBef>
        <a:spcAft>
          <a:spcPct val="0"/>
        </a:spcAft>
        <a:buFont typeface="Arial" charset="0"/>
        <a:buChar char="•"/>
        <a:defRPr sz="2200" kern="1200">
          <a:solidFill>
            <a:srgbClr val="282B2E"/>
          </a:solidFill>
          <a:latin typeface="+mn-lt"/>
          <a:ea typeface="ヒラギノ角ゴ Pro W3" charset="0"/>
          <a:cs typeface="Arial"/>
        </a:defRPr>
      </a:lvl3pPr>
      <a:lvl4pPr marL="1600200" indent="-228600" algn="l" defTabSz="457200" rtl="0" eaLnBrk="1" fontAlgn="base" hangingPunct="1">
        <a:spcBef>
          <a:spcPct val="20000"/>
        </a:spcBef>
        <a:spcAft>
          <a:spcPct val="0"/>
        </a:spcAft>
        <a:buFont typeface="Arial" charset="0"/>
        <a:buChar char="–"/>
        <a:defRPr sz="2000" kern="1200">
          <a:solidFill>
            <a:srgbClr val="282B2E"/>
          </a:solidFill>
          <a:latin typeface="+mn-lt"/>
          <a:ea typeface="ヒラギノ角ゴ Pro W3" charset="0"/>
          <a:cs typeface="Arial"/>
        </a:defRPr>
      </a:lvl4pPr>
      <a:lvl5pPr marL="2057400" indent="-228600" algn="l" defTabSz="457200" rtl="0" eaLnBrk="1" fontAlgn="base" hangingPunct="1">
        <a:spcBef>
          <a:spcPct val="20000"/>
        </a:spcBef>
        <a:spcAft>
          <a:spcPct val="0"/>
        </a:spcAft>
        <a:buFont typeface="Arial" charset="0"/>
        <a:buChar char="»"/>
        <a:defRPr kern="1200">
          <a:solidFill>
            <a:srgbClr val="282B2E"/>
          </a:solidFill>
          <a:latin typeface="+mn-lt"/>
          <a:ea typeface="ヒラギノ角ゴ Pro W3"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21.jpeg"/><Relationship Id="rId7"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4.jpeg"/><Relationship Id="rId5" Type="http://schemas.openxmlformats.org/officeDocument/2006/relationships/image" Target="../media/image23.jpe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18.xml.rels><?xml version="1.0" encoding="UTF-8" standalone="yes"?>
<Relationships xmlns="http://schemas.openxmlformats.org/package/2006/relationships"><Relationship Id="rId3" Type="http://schemas.openxmlformats.org/officeDocument/2006/relationships/hyperlink" Target="mailto:arcticenergy@hq.doe.gov" TargetMode="External"/><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hyperlink" Target="https://www.energy.gov/arctic/"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3" Type="http://schemas.openxmlformats.org/officeDocument/2006/relationships/hyperlink" Target="https://www.whitehouse.gov/briefing-room/presidential-actions/2021/01/27/executive-order-on-tackling-the-climate-crisis-at-home-and-abroad/" TargetMode="External"/><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png"/><Relationship Id="rId2" Type="http://schemas.openxmlformats.org/officeDocument/2006/relationships/notesSlide" Target="../notesSlides/notesSlide8.xml"/><Relationship Id="rId16" Type="http://schemas.openxmlformats.org/officeDocument/2006/relationships/image" Target="../media/image43.png"/><Relationship Id="rId1" Type="http://schemas.openxmlformats.org/officeDocument/2006/relationships/slideLayout" Target="../slideLayouts/slideLayout14.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5" Type="http://schemas.openxmlformats.org/officeDocument/2006/relationships/image" Target="../media/image42.png"/><Relationship Id="rId10" Type="http://schemas.openxmlformats.org/officeDocument/2006/relationships/image" Target="../media/image37.png"/><Relationship Id="rId4" Type="http://schemas.openxmlformats.org/officeDocument/2006/relationships/hyperlink" Target="https://netl.doe.gov/IWGInitialReport" TargetMode="External"/><Relationship Id="rId9" Type="http://schemas.openxmlformats.org/officeDocument/2006/relationships/image" Target="../media/image36.png"/><Relationship Id="rId14" Type="http://schemas.openxmlformats.org/officeDocument/2006/relationships/image" Target="../media/image41.png"/></Relationships>
</file>

<file path=ppt/slides/_rels/slide21.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4.xml"/><Relationship Id="rId5" Type="http://schemas.openxmlformats.org/officeDocument/2006/relationships/image" Target="../media/image49.png"/><Relationship Id="rId4" Type="http://schemas.openxmlformats.org/officeDocument/2006/relationships/image" Target="../media/image48.png"/></Relationships>
</file>

<file path=ppt/slides/_rels/slide2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0.xml"/><Relationship Id="rId1" Type="http://schemas.openxmlformats.org/officeDocument/2006/relationships/slideLayout" Target="../slideLayouts/slideLayout15.xml"/><Relationship Id="rId5" Type="http://schemas.openxmlformats.org/officeDocument/2006/relationships/image" Target="../media/image52.jpeg"/><Relationship Id="rId4" Type="http://schemas.openxmlformats.org/officeDocument/2006/relationships/image" Target="../media/image51.jpeg"/></Relationships>
</file>

<file path=ppt/slides/_rels/slide24.xml.rels><?xml version="1.0" encoding="UTF-8" standalone="yes"?>
<Relationships xmlns="http://schemas.openxmlformats.org/package/2006/relationships"><Relationship Id="rId3" Type="http://schemas.openxmlformats.org/officeDocument/2006/relationships/image" Target="../media/image53.jpeg"/><Relationship Id="rId7" Type="http://schemas.openxmlformats.org/officeDocument/2006/relationships/image" Target="../media/image57.jpeg"/><Relationship Id="rId2" Type="http://schemas.openxmlformats.org/officeDocument/2006/relationships/notesSlide" Target="../notesSlides/notesSlide11.xml"/><Relationship Id="rId1" Type="http://schemas.openxmlformats.org/officeDocument/2006/relationships/slideLayout" Target="../slideLayouts/slideLayout15.xml"/><Relationship Id="rId6" Type="http://schemas.openxmlformats.org/officeDocument/2006/relationships/image" Target="../media/image56.jpeg"/><Relationship Id="rId5" Type="http://schemas.openxmlformats.org/officeDocument/2006/relationships/image" Target="../media/image55.jpg"/><Relationship Id="rId4" Type="http://schemas.openxmlformats.org/officeDocument/2006/relationships/image" Target="../media/image54.png"/></Relationships>
</file>

<file path=ppt/slides/_rels/slide2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image" Target="../media/image59.png"/></Relationships>
</file>

<file path=ppt/slides/_rels/slide26.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slideLayout" Target="../slideLayouts/slideLayout7.xml"/><Relationship Id="rId7" Type="http://schemas.openxmlformats.org/officeDocument/2006/relationships/image" Target="../media/image6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1.png"/><Relationship Id="rId5" Type="http://schemas.openxmlformats.org/officeDocument/2006/relationships/image" Target="../media/image60.jpg"/><Relationship Id="rId4" Type="http://schemas.openxmlformats.org/officeDocument/2006/relationships/notesSlide" Target="../notesSlides/notesSlide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2">
            <a:extLst>
              <a:ext uri="{FF2B5EF4-FFF2-40B4-BE49-F238E27FC236}">
                <a16:creationId xmlns:a16="http://schemas.microsoft.com/office/drawing/2014/main" id="{1F1D880E-C1A9-4E78-898A-0A3F7D918657}"/>
              </a:ext>
            </a:extLst>
          </p:cNvPr>
          <p:cNvSpPr txBox="1">
            <a:spLocks/>
          </p:cNvSpPr>
          <p:nvPr/>
        </p:nvSpPr>
        <p:spPr>
          <a:xfrm>
            <a:off x="462649" y="2015283"/>
            <a:ext cx="10656075" cy="1073071"/>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200"/>
              </a:spcBef>
              <a:spcAft>
                <a:spcPts val="200"/>
              </a:spcAft>
              <a:buFont typeface="Arial" panose="020B0604020202020204" pitchFamily="34" charset="0"/>
              <a:buChar char="•"/>
            </a:pPr>
            <a:endParaRPr lang="en-US" sz="1800"/>
          </a:p>
          <a:p>
            <a:pPr>
              <a:spcBef>
                <a:spcPts val="200"/>
              </a:spcBef>
              <a:spcAft>
                <a:spcPts val="200"/>
              </a:spcAft>
            </a:pPr>
            <a:endParaRPr lang="en-US" sz="1800">
              <a:latin typeface="Arial"/>
              <a:cs typeface="Arial"/>
            </a:endParaRPr>
          </a:p>
          <a:p>
            <a:pPr>
              <a:spcBef>
                <a:spcPts val="200"/>
              </a:spcBef>
              <a:spcAft>
                <a:spcPts val="200"/>
              </a:spcAft>
            </a:pPr>
            <a:endParaRPr lang="en-US" sz="1800"/>
          </a:p>
        </p:txBody>
      </p:sp>
      <p:sp>
        <p:nvSpPr>
          <p:cNvPr id="4" name="Title 3">
            <a:extLst>
              <a:ext uri="{FF2B5EF4-FFF2-40B4-BE49-F238E27FC236}">
                <a16:creationId xmlns:a16="http://schemas.microsoft.com/office/drawing/2014/main" id="{217BB39F-9789-45E0-8F1E-FBB2B8F0C22A}"/>
              </a:ext>
            </a:extLst>
          </p:cNvPr>
          <p:cNvSpPr>
            <a:spLocks noGrp="1"/>
          </p:cNvSpPr>
          <p:nvPr>
            <p:ph type="ctrTitle"/>
          </p:nvPr>
        </p:nvSpPr>
        <p:spPr/>
        <p:txBody>
          <a:bodyPr>
            <a:normAutofit fontScale="90000"/>
          </a:bodyPr>
          <a:lstStyle/>
          <a:p>
            <a:r>
              <a:rPr lang="en-US" dirty="0"/>
              <a:t>Opportunities for Alaska Under the Bipartisan Infrastructure Law</a:t>
            </a:r>
          </a:p>
        </p:txBody>
      </p:sp>
      <p:sp>
        <p:nvSpPr>
          <p:cNvPr id="3" name="Text Placeholder 2">
            <a:extLst>
              <a:ext uri="{FF2B5EF4-FFF2-40B4-BE49-F238E27FC236}">
                <a16:creationId xmlns:a16="http://schemas.microsoft.com/office/drawing/2014/main" id="{77D6E148-10BF-4CC3-88DE-E83675AC7811}"/>
              </a:ext>
            </a:extLst>
          </p:cNvPr>
          <p:cNvSpPr>
            <a:spLocks noGrp="1"/>
          </p:cNvSpPr>
          <p:nvPr>
            <p:ph type="body" sz="quarter" idx="13"/>
          </p:nvPr>
        </p:nvSpPr>
        <p:spPr/>
        <p:txBody>
          <a:bodyPr vert="horz" lIns="91440" tIns="45720" rIns="91440" bIns="45720" rtlCol="0" anchor="t">
            <a:normAutofit/>
          </a:bodyPr>
          <a:lstStyle/>
          <a:p>
            <a:r>
              <a:rPr lang="en-US" dirty="0">
                <a:latin typeface="Montserrat" panose="00000500000000000000" pitchFamily="2" charset="0"/>
                <a:cs typeface="Arial"/>
              </a:rPr>
              <a:t>Kate Gordon, Senior Advisor to the Secretary </a:t>
            </a:r>
          </a:p>
        </p:txBody>
      </p:sp>
      <p:sp>
        <p:nvSpPr>
          <p:cNvPr id="8" name="Text Placeholder 7">
            <a:extLst>
              <a:ext uri="{FF2B5EF4-FFF2-40B4-BE49-F238E27FC236}">
                <a16:creationId xmlns:a16="http://schemas.microsoft.com/office/drawing/2014/main" id="{125D1051-A9AC-40EE-88EF-41C966788C88}"/>
              </a:ext>
            </a:extLst>
          </p:cNvPr>
          <p:cNvSpPr>
            <a:spLocks noGrp="1"/>
          </p:cNvSpPr>
          <p:nvPr>
            <p:ph type="body" sz="quarter" idx="14"/>
          </p:nvPr>
        </p:nvSpPr>
        <p:spPr/>
        <p:txBody>
          <a:bodyPr/>
          <a:lstStyle/>
          <a:p>
            <a:r>
              <a:rPr lang="en-US" dirty="0"/>
              <a:t>April 11, 2022</a:t>
            </a:r>
          </a:p>
        </p:txBody>
      </p:sp>
    </p:spTree>
    <p:extLst>
      <p:ext uri="{BB962C8B-B14F-4D97-AF65-F5344CB8AC3E}">
        <p14:creationId xmlns:p14="http://schemas.microsoft.com/office/powerpoint/2010/main" val="37246771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26897-4EF1-475D-A960-121358C808DB}"/>
              </a:ext>
            </a:extLst>
          </p:cNvPr>
          <p:cNvSpPr>
            <a:spLocks noGrp="1"/>
          </p:cNvSpPr>
          <p:nvPr>
            <p:ph type="title"/>
          </p:nvPr>
        </p:nvSpPr>
        <p:spPr>
          <a:xfrm>
            <a:off x="731520" y="182880"/>
            <a:ext cx="10515600" cy="1325563"/>
          </a:xfrm>
        </p:spPr>
        <p:txBody>
          <a:bodyPr>
            <a:normAutofit/>
          </a:bodyPr>
          <a:lstStyle/>
          <a:p>
            <a:r>
              <a:rPr lang="en-US" sz="3200" b="1">
                <a:latin typeface="+mn-lt"/>
              </a:rPr>
              <a:t>The U.S. DOE Hydrogen Program</a:t>
            </a:r>
            <a:endParaRPr lang="en-US" sz="3200">
              <a:latin typeface="+mn-lt"/>
            </a:endParaRPr>
          </a:p>
        </p:txBody>
      </p:sp>
      <p:sp>
        <p:nvSpPr>
          <p:cNvPr id="6" name="Slide Number Placeholder 5">
            <a:extLst>
              <a:ext uri="{FF2B5EF4-FFF2-40B4-BE49-F238E27FC236}">
                <a16:creationId xmlns:a16="http://schemas.microsoft.com/office/drawing/2014/main" id="{A6800148-6C9D-4F41-911A-3F5D199F2455}"/>
              </a:ext>
            </a:extLst>
          </p:cNvPr>
          <p:cNvSpPr>
            <a:spLocks noGrp="1"/>
          </p:cNvSpPr>
          <p:nvPr>
            <p:ph type="sldNum" sz="quarter" idx="12"/>
          </p:nvPr>
        </p:nvSpPr>
        <p:spPr/>
        <p:txBody>
          <a:bodyPr/>
          <a:lstStyle/>
          <a:p>
            <a:fld id="{00000000-1234-1234-1234-123412341234}" type="slidenum">
              <a:rPr lang="en" smtClean="0">
                <a:latin typeface="+mn-lt"/>
              </a:rPr>
              <a:pPr/>
              <a:t>10</a:t>
            </a:fld>
            <a:endParaRPr lang="en">
              <a:latin typeface="+mn-lt"/>
            </a:endParaRPr>
          </a:p>
        </p:txBody>
      </p:sp>
      <p:sp>
        <p:nvSpPr>
          <p:cNvPr id="5" name="Slide Number Placeholder 4">
            <a:extLst>
              <a:ext uri="{FF2B5EF4-FFF2-40B4-BE49-F238E27FC236}">
                <a16:creationId xmlns:a16="http://schemas.microsoft.com/office/drawing/2014/main" id="{9381D09C-377F-4129-B807-D9E7565DEF09}"/>
              </a:ext>
            </a:extLst>
          </p:cNvPr>
          <p:cNvSpPr>
            <a:spLocks noGrp="1"/>
          </p:cNvSpPr>
          <p:nvPr>
            <p:ph type="sldNum" idx="4294967295"/>
          </p:nvPr>
        </p:nvSpPr>
        <p:spPr>
          <a:xfrm>
            <a:off x="11460163" y="6332538"/>
            <a:ext cx="731837" cy="525462"/>
          </a:xfrm>
        </p:spPr>
        <p:txBody>
          <a:bodyPr/>
          <a:lstStyle/>
          <a:p>
            <a:fld id="{00000000-1234-1234-1234-123412341234}" type="slidenum">
              <a:rPr lang="en" smtClean="0"/>
              <a:pPr/>
              <a:t>10</a:t>
            </a:fld>
            <a:endParaRPr lang="en"/>
          </a:p>
        </p:txBody>
      </p:sp>
      <p:pic>
        <p:nvPicPr>
          <p:cNvPr id="16" name="Picture 15">
            <a:extLst>
              <a:ext uri="{FF2B5EF4-FFF2-40B4-BE49-F238E27FC236}">
                <a16:creationId xmlns:a16="http://schemas.microsoft.com/office/drawing/2014/main" id="{7561380A-6EF9-41E6-A6F6-A9F4B5948F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4463" y="1753620"/>
            <a:ext cx="2665661" cy="3266601"/>
          </a:xfrm>
          <a:prstGeom prst="rect">
            <a:avLst/>
          </a:prstGeom>
        </p:spPr>
      </p:pic>
      <p:sp>
        <p:nvSpPr>
          <p:cNvPr id="17" name="TextBox 16">
            <a:extLst>
              <a:ext uri="{FF2B5EF4-FFF2-40B4-BE49-F238E27FC236}">
                <a16:creationId xmlns:a16="http://schemas.microsoft.com/office/drawing/2014/main" id="{9AB4DA4D-BFCA-4F73-986B-101087F8C3F1}"/>
              </a:ext>
            </a:extLst>
          </p:cNvPr>
          <p:cNvSpPr txBox="1"/>
          <p:nvPr/>
        </p:nvSpPr>
        <p:spPr>
          <a:xfrm>
            <a:off x="612269" y="5026244"/>
            <a:ext cx="267004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rPr>
              <a:t>www.hydrogen.energy.gov</a:t>
            </a:r>
          </a:p>
        </p:txBody>
      </p:sp>
      <p:sp>
        <p:nvSpPr>
          <p:cNvPr id="18" name="TextBox 17">
            <a:extLst>
              <a:ext uri="{FF2B5EF4-FFF2-40B4-BE49-F238E27FC236}">
                <a16:creationId xmlns:a16="http://schemas.microsoft.com/office/drawing/2014/main" id="{63A354D8-55CC-4DBF-9D43-2BE72D111378}"/>
              </a:ext>
            </a:extLst>
          </p:cNvPr>
          <p:cNvSpPr txBox="1"/>
          <p:nvPr/>
        </p:nvSpPr>
        <p:spPr>
          <a:xfrm>
            <a:off x="913822" y="1274696"/>
            <a:ext cx="708269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2E66"/>
                </a:solidFill>
                <a:effectLst/>
                <a:uLnTx/>
                <a:uFillTx/>
                <a:cs typeface="Calibri" panose="020F0502020204030204" pitchFamily="34" charset="0"/>
              </a:rPr>
              <a:t>Hydrogen is one part of a broad portfolio of activities</a:t>
            </a:r>
          </a:p>
        </p:txBody>
      </p:sp>
      <p:sp>
        <p:nvSpPr>
          <p:cNvPr id="19" name="TextBox 18">
            <a:extLst>
              <a:ext uri="{FF2B5EF4-FFF2-40B4-BE49-F238E27FC236}">
                <a16:creationId xmlns:a16="http://schemas.microsoft.com/office/drawing/2014/main" id="{4F6BF6C0-916C-48FA-B004-444451EBFA25}"/>
              </a:ext>
            </a:extLst>
          </p:cNvPr>
          <p:cNvSpPr txBox="1"/>
          <p:nvPr/>
        </p:nvSpPr>
        <p:spPr>
          <a:xfrm>
            <a:off x="8711378" y="1377142"/>
            <a:ext cx="3403146" cy="3939540"/>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2800" b="1" i="0" u="none" strike="noStrike" kern="1200" cap="none" spc="0" normalizeH="0" baseline="0" noProof="0">
                <a:ln>
                  <a:noFill/>
                </a:ln>
                <a:solidFill>
                  <a:srgbClr val="000000"/>
                </a:solidFill>
                <a:effectLst/>
                <a:uLnTx/>
                <a:uFillTx/>
                <a:cs typeface="Calibri" panose="020F0502020204030204" pitchFamily="34" charset="0"/>
              </a:rPr>
              <a:t>Priorities</a:t>
            </a:r>
          </a:p>
          <a:p>
            <a:pPr marL="514350" marR="0" lvl="0" indent="-514350" algn="l" defTabSz="914400" rtl="0" eaLnBrk="1" fontAlgn="auto" latinLnBrk="0" hangingPunct="1">
              <a:lnSpc>
                <a:spcPct val="100000"/>
              </a:lnSpc>
              <a:spcBef>
                <a:spcPts val="600"/>
              </a:spcBef>
              <a:spcAft>
                <a:spcPts val="600"/>
              </a:spcAft>
              <a:buClrTx/>
              <a:buSzTx/>
              <a:buFont typeface="+mj-lt"/>
              <a:buAutoNum type="arabicPeriod"/>
              <a:tabLst/>
              <a:defRPr/>
            </a:pPr>
            <a:r>
              <a:rPr kumimoji="0" lang="en-US" sz="2400" b="1" i="0" u="none" strike="noStrike" kern="1200" cap="none" spc="0" normalizeH="0" baseline="0" noProof="0">
                <a:ln>
                  <a:noFill/>
                </a:ln>
                <a:solidFill>
                  <a:srgbClr val="000000"/>
                </a:solidFill>
                <a:effectLst/>
                <a:uLnTx/>
                <a:uFillTx/>
                <a:cs typeface="Calibri" panose="020F0502020204030204" pitchFamily="34" charset="0"/>
              </a:rPr>
              <a:t>Low cost, clean hydrogen</a:t>
            </a:r>
          </a:p>
          <a:p>
            <a:pPr marL="514350" marR="0" lvl="0" indent="-514350" algn="l" defTabSz="914400" rtl="0" eaLnBrk="1" fontAlgn="auto" latinLnBrk="0" hangingPunct="1">
              <a:lnSpc>
                <a:spcPct val="100000"/>
              </a:lnSpc>
              <a:spcBef>
                <a:spcPts val="600"/>
              </a:spcBef>
              <a:spcAft>
                <a:spcPts val="600"/>
              </a:spcAft>
              <a:buClrTx/>
              <a:buSzTx/>
              <a:buFont typeface="+mj-lt"/>
              <a:buAutoNum type="arabicPeriod"/>
              <a:tabLst/>
              <a:defRPr/>
            </a:pPr>
            <a:r>
              <a:rPr kumimoji="0" lang="en-US" sz="2400" b="1" i="0" u="none" strike="noStrike" kern="1200" cap="none" spc="0" normalizeH="0" baseline="0" noProof="0">
                <a:ln>
                  <a:noFill/>
                </a:ln>
                <a:solidFill>
                  <a:srgbClr val="000000"/>
                </a:solidFill>
                <a:effectLst/>
                <a:uLnTx/>
                <a:uFillTx/>
                <a:cs typeface="Calibri" panose="020F0502020204030204" pitchFamily="34" charset="0"/>
              </a:rPr>
              <a:t>Low cost, efficient, safe hydrogen delivery and storage</a:t>
            </a:r>
          </a:p>
          <a:p>
            <a:pPr marL="514350" marR="0" lvl="0" indent="-514350" algn="l" defTabSz="914400" rtl="0" eaLnBrk="1" fontAlgn="auto" latinLnBrk="0" hangingPunct="1">
              <a:lnSpc>
                <a:spcPct val="100000"/>
              </a:lnSpc>
              <a:spcBef>
                <a:spcPts val="600"/>
              </a:spcBef>
              <a:spcAft>
                <a:spcPts val="600"/>
              </a:spcAft>
              <a:buClrTx/>
              <a:buSzTx/>
              <a:buFont typeface="+mj-lt"/>
              <a:buAutoNum type="arabicPeriod"/>
              <a:tabLst/>
              <a:defRPr/>
            </a:pPr>
            <a:r>
              <a:rPr kumimoji="0" lang="en-US" sz="2400" b="1" i="0" u="none" strike="noStrike" kern="1200" cap="none" spc="0" normalizeH="0" baseline="0" noProof="0">
                <a:ln>
                  <a:noFill/>
                </a:ln>
                <a:solidFill>
                  <a:srgbClr val="000000"/>
                </a:solidFill>
                <a:effectLst/>
                <a:uLnTx/>
                <a:uFillTx/>
                <a:cs typeface="Calibri" panose="020F0502020204030204" pitchFamily="34" charset="0"/>
              </a:rPr>
              <a:t>Enable end use applications</a:t>
            </a:r>
            <a:r>
              <a:rPr kumimoji="0" lang="en-US" sz="2400" b="1" i="0" u="none" strike="noStrike" kern="1200" cap="none" spc="0" normalizeH="0" noProof="0">
                <a:ln>
                  <a:noFill/>
                </a:ln>
                <a:solidFill>
                  <a:srgbClr val="000000"/>
                </a:solidFill>
                <a:effectLst/>
                <a:uLnTx/>
                <a:uFillTx/>
                <a:cs typeface="Calibri" panose="020F0502020204030204" pitchFamily="34" charset="0"/>
              </a:rPr>
              <a:t> at scale for impact</a:t>
            </a:r>
            <a:endParaRPr kumimoji="0" lang="en-US" sz="2400" b="1" i="0" u="none" strike="noStrike" kern="1200" cap="none" spc="0" normalizeH="0" baseline="0" noProof="0">
              <a:ln>
                <a:noFill/>
              </a:ln>
              <a:solidFill>
                <a:srgbClr val="000000"/>
              </a:solidFill>
              <a:effectLst/>
              <a:uLnTx/>
              <a:uFillTx/>
              <a:cs typeface="Calibri" panose="020F0502020204030204" pitchFamily="34" charset="0"/>
            </a:endParaRPr>
          </a:p>
        </p:txBody>
      </p:sp>
      <p:sp>
        <p:nvSpPr>
          <p:cNvPr id="20" name="TextBox 19">
            <a:extLst>
              <a:ext uri="{FF2B5EF4-FFF2-40B4-BE49-F238E27FC236}">
                <a16:creationId xmlns:a16="http://schemas.microsoft.com/office/drawing/2014/main" id="{711399C6-5F50-4709-9098-0579986E622E}"/>
              </a:ext>
            </a:extLst>
          </p:cNvPr>
          <p:cNvSpPr txBox="1"/>
          <p:nvPr/>
        </p:nvSpPr>
        <p:spPr>
          <a:xfrm>
            <a:off x="8750918" y="5348528"/>
            <a:ext cx="3324065"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1" u="none" strike="noStrike" kern="1200" cap="none" spc="0" normalizeH="0" baseline="0" noProof="0">
                <a:ln>
                  <a:noFill/>
                </a:ln>
                <a:solidFill>
                  <a:srgbClr val="000000"/>
                </a:solidFill>
                <a:effectLst/>
                <a:uLnTx/>
                <a:uFillTx/>
                <a:cs typeface="Calibri" panose="020F0502020204030204" pitchFamily="34" charset="0"/>
              </a:rPr>
              <a:t>Workforce development, safety, codes, standards</a:t>
            </a:r>
            <a:r>
              <a:rPr lang="en-US" i="1">
                <a:solidFill>
                  <a:srgbClr val="000000"/>
                </a:solidFill>
                <a:cs typeface="Calibri" panose="020F0502020204030204" pitchFamily="34" charset="0"/>
              </a:rPr>
              <a:t>, and Environmental Justice</a:t>
            </a:r>
            <a:r>
              <a:rPr kumimoji="0" lang="en-US" b="0" i="1" u="none" strike="noStrike" kern="1200" cap="none" spc="0" normalizeH="0" noProof="0">
                <a:ln>
                  <a:noFill/>
                </a:ln>
                <a:solidFill>
                  <a:srgbClr val="000000"/>
                </a:solidFill>
                <a:effectLst/>
                <a:uLnTx/>
                <a:uFillTx/>
                <a:cs typeface="Calibri" panose="020F0502020204030204" pitchFamily="34" charset="0"/>
              </a:rPr>
              <a:t> priorities</a:t>
            </a:r>
            <a:r>
              <a:rPr kumimoji="0" lang="en-US" b="0" i="1" u="none" strike="noStrike" kern="1200" cap="none" spc="0" normalizeH="0" baseline="0" noProof="0">
                <a:ln>
                  <a:noFill/>
                </a:ln>
                <a:solidFill>
                  <a:srgbClr val="000000"/>
                </a:solidFill>
                <a:effectLst/>
                <a:uLnTx/>
                <a:uFillTx/>
                <a:cs typeface="Calibri" panose="020F0502020204030204" pitchFamily="34" charset="0"/>
              </a:rPr>
              <a:t> </a:t>
            </a:r>
          </a:p>
        </p:txBody>
      </p:sp>
      <p:sp>
        <p:nvSpPr>
          <p:cNvPr id="21" name="Rectangle 20">
            <a:extLst>
              <a:ext uri="{FF2B5EF4-FFF2-40B4-BE49-F238E27FC236}">
                <a16:creationId xmlns:a16="http://schemas.microsoft.com/office/drawing/2014/main" id="{CE4D6843-3C2B-4C05-81D2-06DDFED10BB1}"/>
              </a:ext>
            </a:extLst>
          </p:cNvPr>
          <p:cNvSpPr/>
          <p:nvPr/>
        </p:nvSpPr>
        <p:spPr>
          <a:xfrm>
            <a:off x="170090" y="5533195"/>
            <a:ext cx="8425543" cy="738663"/>
          </a:xfrm>
          <a:prstGeom prst="rect">
            <a:avLst/>
          </a:prstGeom>
          <a:solidFill>
            <a:srgbClr val="002E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kumimoji="0" lang="en-US" sz="2100" b="1" i="0" u="none" strike="noStrike" kern="1200" cap="none" spc="0" normalizeH="0" baseline="0" noProof="0">
                <a:ln>
                  <a:noFill/>
                </a:ln>
                <a:solidFill>
                  <a:prstClr val="white"/>
                </a:solidFill>
                <a:effectLst/>
                <a:uLnTx/>
                <a:uFillTx/>
              </a:rPr>
              <a:t>Coordinated across all relevant DOE Offices. Interagency Working Group coordinates across Agencies.</a:t>
            </a:r>
          </a:p>
        </p:txBody>
      </p:sp>
      <p:pic>
        <p:nvPicPr>
          <p:cNvPr id="23" name="Picture 22">
            <a:extLst>
              <a:ext uri="{FF2B5EF4-FFF2-40B4-BE49-F238E27FC236}">
                <a16:creationId xmlns:a16="http://schemas.microsoft.com/office/drawing/2014/main" id="{BE25F54E-0750-4303-A625-231B89F231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28005" y="1940559"/>
            <a:ext cx="5121084" cy="3261643"/>
          </a:xfrm>
          <a:prstGeom prst="rect">
            <a:avLst/>
          </a:prstGeom>
        </p:spPr>
      </p:pic>
    </p:spTree>
    <p:extLst>
      <p:ext uri="{BB962C8B-B14F-4D97-AF65-F5344CB8AC3E}">
        <p14:creationId xmlns:p14="http://schemas.microsoft.com/office/powerpoint/2010/main" val="21243702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30F2F8-2A1C-4F4B-A749-25649E673736}"/>
              </a:ext>
            </a:extLst>
          </p:cNvPr>
          <p:cNvSpPr>
            <a:spLocks noGrp="1"/>
          </p:cNvSpPr>
          <p:nvPr>
            <p:ph type="title"/>
          </p:nvPr>
        </p:nvSpPr>
        <p:spPr>
          <a:xfrm>
            <a:off x="616131" y="443419"/>
            <a:ext cx="11978217" cy="812800"/>
          </a:xfrm>
        </p:spPr>
        <p:txBody>
          <a:bodyPr>
            <a:normAutofit/>
          </a:bodyPr>
          <a:lstStyle/>
          <a:p>
            <a:r>
              <a:rPr lang="en-US" sz="2800" b="1"/>
              <a:t>Bipartisan Infrastructure Law - Hydrogen Highlights</a:t>
            </a:r>
          </a:p>
        </p:txBody>
      </p:sp>
      <p:sp>
        <p:nvSpPr>
          <p:cNvPr id="4" name="Content Placeholder 3">
            <a:extLst>
              <a:ext uri="{FF2B5EF4-FFF2-40B4-BE49-F238E27FC236}">
                <a16:creationId xmlns:a16="http://schemas.microsoft.com/office/drawing/2014/main" id="{C66FC418-5A25-4719-B312-35013F650EDB}"/>
              </a:ext>
            </a:extLst>
          </p:cNvPr>
          <p:cNvSpPr>
            <a:spLocks noGrp="1"/>
          </p:cNvSpPr>
          <p:nvPr>
            <p:ph sz="quarter" idx="10"/>
          </p:nvPr>
        </p:nvSpPr>
        <p:spPr>
          <a:xfrm>
            <a:off x="137160" y="1570783"/>
            <a:ext cx="4947938" cy="5370703"/>
          </a:xfrm>
        </p:spPr>
        <p:txBody>
          <a:bodyPr/>
          <a:lstStyle/>
          <a:p>
            <a:r>
              <a:rPr lang="en-US" sz="2400" b="1"/>
              <a:t>Includes $9.5B for clean hydrogen</a:t>
            </a:r>
            <a:r>
              <a:rPr lang="en-US" sz="2400"/>
              <a:t>: </a:t>
            </a:r>
          </a:p>
          <a:p>
            <a:pPr lvl="1"/>
            <a:r>
              <a:rPr lang="en-US"/>
              <a:t>$1B for electrolysis research, development and demonstration </a:t>
            </a:r>
          </a:p>
          <a:p>
            <a:pPr lvl="1"/>
            <a:r>
              <a:rPr lang="en-US"/>
              <a:t>$500M for clean hydrogen technology manufacturing and recycling R&amp;D</a:t>
            </a:r>
          </a:p>
          <a:p>
            <a:pPr lvl="1"/>
            <a:r>
              <a:rPr lang="en-US"/>
              <a:t>$8B for at least four regional clean hydrogen hubs</a:t>
            </a:r>
          </a:p>
          <a:p>
            <a:pPr lvl="1"/>
            <a:endParaRPr lang="en-US"/>
          </a:p>
        </p:txBody>
      </p:sp>
      <p:sp>
        <p:nvSpPr>
          <p:cNvPr id="5" name="TextBox 4">
            <a:extLst>
              <a:ext uri="{FF2B5EF4-FFF2-40B4-BE49-F238E27FC236}">
                <a16:creationId xmlns:a16="http://schemas.microsoft.com/office/drawing/2014/main" id="{4ADF54E0-ED64-446C-83B3-A5E36A18FDE3}"/>
              </a:ext>
            </a:extLst>
          </p:cNvPr>
          <p:cNvSpPr txBox="1"/>
          <p:nvPr/>
        </p:nvSpPr>
        <p:spPr>
          <a:xfrm>
            <a:off x="5891813" y="4636364"/>
            <a:ext cx="550527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President Biden Signs the Bipartisan Infrastructure Bill into law on November 15, 2021. </a:t>
            </a: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Photo Credit: Kenny Holston/Getty Images</a:t>
            </a:r>
            <a:endPar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026" name="Picture 2">
            <a:extLst>
              <a:ext uri="{FF2B5EF4-FFF2-40B4-BE49-F238E27FC236}">
                <a16:creationId xmlns:a16="http://schemas.microsoft.com/office/drawing/2014/main" id="{76DF77B6-BDB1-4B63-B641-E042A1649A3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19930" y="1345209"/>
            <a:ext cx="5699647" cy="3202165"/>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DA233CB-11BB-4E01-8B3B-1EA965F1D9F8}"/>
              </a:ext>
            </a:extLst>
          </p:cNvPr>
          <p:cNvSpPr txBox="1"/>
          <p:nvPr/>
        </p:nvSpPr>
        <p:spPr>
          <a:xfrm>
            <a:off x="377003" y="4996731"/>
            <a:ext cx="11437994" cy="1277273"/>
          </a:xfrm>
          <a:prstGeom prst="rect">
            <a:avLst/>
          </a:prstGeom>
          <a:noFill/>
        </p:spPr>
        <p:txBody>
          <a:bodyPr wrap="square">
            <a:spAutoFit/>
          </a:bodyPr>
          <a:lstStyle/>
          <a:p>
            <a:pPr marL="342900" marR="0" lvl="0" indent="-342900" algn="l" defTabSz="457200" rtl="0" eaLnBrk="1" fontAlgn="base" latinLnBrk="0" hangingPunct="1">
              <a:lnSpc>
                <a:spcPct val="100000"/>
              </a:lnSpc>
              <a:spcAft>
                <a:spcPts val="600"/>
              </a:spcAft>
              <a:buClrTx/>
              <a:buSzTx/>
              <a:buFont typeface="Arial" panose="020B0604020202020204" pitchFamily="34" charset="0"/>
              <a:buChar char="•"/>
              <a:tabLst/>
              <a:defRPr/>
            </a:pPr>
            <a:r>
              <a:rPr kumimoji="0" lang="en-US" sz="2400" b="1" i="0" u="none" strike="noStrike" kern="1200" cap="none" spc="0" normalizeH="0" baseline="0" noProof="0">
                <a:ln>
                  <a:noFill/>
                </a:ln>
                <a:solidFill>
                  <a:srgbClr val="282B2E"/>
                </a:solidFill>
                <a:effectLst/>
                <a:uLnTx/>
                <a:uFillTx/>
                <a:latin typeface="Calibri" panose="020F0502020204030204" pitchFamily="34" charset="0"/>
                <a:ea typeface="+mn-ea"/>
                <a:cs typeface="Arial"/>
              </a:rPr>
              <a:t>Aligns with Hydrogen Shot priorities by directing work to reduce the cost of clean hydrogen to $2 per kilogram by 2026</a:t>
            </a:r>
          </a:p>
          <a:p>
            <a:pPr marL="342900" marR="0" lvl="0" indent="-342900" algn="l" defTabSz="457200" rtl="0" eaLnBrk="1" fontAlgn="base" latinLnBrk="0" hangingPunct="1">
              <a:lnSpc>
                <a:spcPct val="100000"/>
              </a:lnSpc>
              <a:spcAft>
                <a:spcPts val="600"/>
              </a:spcAft>
              <a:buClrTx/>
              <a:buSzTx/>
              <a:buFont typeface="Arial" panose="020B0604020202020204" pitchFamily="34" charset="0"/>
              <a:buChar char="•"/>
              <a:tabLst/>
              <a:defRPr/>
            </a:pPr>
            <a:r>
              <a:rPr kumimoji="0" lang="en-US" sz="2400" b="1" i="0" u="none" strike="noStrike" kern="1200" cap="none" spc="0" normalizeH="0" baseline="0" noProof="0">
                <a:ln>
                  <a:noFill/>
                </a:ln>
                <a:solidFill>
                  <a:srgbClr val="282B2E"/>
                </a:solidFill>
                <a:effectLst/>
                <a:uLnTx/>
                <a:uFillTx/>
                <a:latin typeface="Calibri" panose="020F0502020204030204" pitchFamily="34" charset="0"/>
                <a:ea typeface="+mn-ea"/>
                <a:cs typeface="Arial"/>
              </a:rPr>
              <a:t>Requires developing a National Hydrogen Strategy and Roadmap</a:t>
            </a:r>
          </a:p>
        </p:txBody>
      </p:sp>
    </p:spTree>
    <p:extLst>
      <p:ext uri="{BB962C8B-B14F-4D97-AF65-F5344CB8AC3E}">
        <p14:creationId xmlns:p14="http://schemas.microsoft.com/office/powerpoint/2010/main" val="8872868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84FC8793-9D14-4307-8872-4452F57054AD}"/>
              </a:ext>
            </a:extLst>
          </p:cNvPr>
          <p:cNvSpPr/>
          <p:nvPr/>
        </p:nvSpPr>
        <p:spPr>
          <a:xfrm>
            <a:off x="6625118" y="1183449"/>
            <a:ext cx="5257800" cy="616458"/>
          </a:xfrm>
          <a:prstGeom prst="rect">
            <a:avLst/>
          </a:prstGeom>
          <a:solidFill>
            <a:schemeClr val="accent5"/>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b="1">
                <a:solidFill>
                  <a:schemeClr val="bg1"/>
                </a:solidFill>
              </a:rPr>
              <a:t>BIL Sec. 40314 (813)</a:t>
            </a:r>
          </a:p>
          <a:p>
            <a:pPr algn="ctr"/>
            <a:r>
              <a:rPr lang="en-US" sz="1800" b="1">
                <a:solidFill>
                  <a:schemeClr val="bg1"/>
                </a:solidFill>
              </a:rPr>
              <a:t>Regional Clean Hydrogen Hubs</a:t>
            </a:r>
          </a:p>
        </p:txBody>
      </p:sp>
      <p:sp>
        <p:nvSpPr>
          <p:cNvPr id="26" name="Rectangle 25">
            <a:extLst>
              <a:ext uri="{FF2B5EF4-FFF2-40B4-BE49-F238E27FC236}">
                <a16:creationId xmlns:a16="http://schemas.microsoft.com/office/drawing/2014/main" id="{21CAF060-9013-4CC3-862D-42E3A1BAE030}"/>
              </a:ext>
            </a:extLst>
          </p:cNvPr>
          <p:cNvSpPr/>
          <p:nvPr/>
        </p:nvSpPr>
        <p:spPr>
          <a:xfrm>
            <a:off x="309082" y="1187259"/>
            <a:ext cx="5257800" cy="612648"/>
          </a:xfrm>
          <a:prstGeom prst="rect">
            <a:avLst/>
          </a:prstGeom>
          <a:solidFill>
            <a:schemeClr val="accent5"/>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a:solidFill>
                  <a:schemeClr val="bg1"/>
                </a:solidFill>
              </a:rPr>
              <a:t>BIL Sec. 40314 (815)</a:t>
            </a:r>
          </a:p>
          <a:p>
            <a:pPr algn="ctr"/>
            <a:r>
              <a:rPr lang="en-US" b="1">
                <a:solidFill>
                  <a:schemeClr val="bg1"/>
                </a:solidFill>
              </a:rPr>
              <a:t>Clean Hydrogen Manufacturing and Recycling</a:t>
            </a:r>
            <a:endParaRPr lang="en-US">
              <a:effectLst/>
              <a:ea typeface="Calibri" panose="020F0502020204030204" pitchFamily="34" charset="0"/>
              <a:cs typeface="Times New Roman"/>
            </a:endParaRPr>
          </a:p>
        </p:txBody>
      </p:sp>
      <p:sp>
        <p:nvSpPr>
          <p:cNvPr id="22" name="TextBox 21">
            <a:extLst>
              <a:ext uri="{FF2B5EF4-FFF2-40B4-BE49-F238E27FC236}">
                <a16:creationId xmlns:a16="http://schemas.microsoft.com/office/drawing/2014/main" id="{02DF3752-F892-4F02-A43A-F5678F4FA67D}"/>
              </a:ext>
            </a:extLst>
          </p:cNvPr>
          <p:cNvSpPr txBox="1"/>
          <p:nvPr/>
        </p:nvSpPr>
        <p:spPr>
          <a:xfrm>
            <a:off x="969948" y="2275209"/>
            <a:ext cx="3551469" cy="369332"/>
          </a:xfrm>
          <a:prstGeom prst="rect">
            <a:avLst/>
          </a:prstGeom>
          <a:solidFill>
            <a:schemeClr val="bg1"/>
          </a:solidFill>
        </p:spPr>
        <p:txBody>
          <a:bodyPr wrap="square" rtlCol="0">
            <a:spAutoFit/>
          </a:bodyPr>
          <a:lstStyle/>
          <a:p>
            <a:endParaRPr lang="en-US"/>
          </a:p>
        </p:txBody>
      </p:sp>
      <p:sp>
        <p:nvSpPr>
          <p:cNvPr id="17" name="TextBox 16">
            <a:extLst>
              <a:ext uri="{FF2B5EF4-FFF2-40B4-BE49-F238E27FC236}">
                <a16:creationId xmlns:a16="http://schemas.microsoft.com/office/drawing/2014/main" id="{E5FC29AD-899A-4E9B-BFBA-CA6D2DB106D1}"/>
              </a:ext>
            </a:extLst>
          </p:cNvPr>
          <p:cNvSpPr txBox="1"/>
          <p:nvPr/>
        </p:nvSpPr>
        <p:spPr>
          <a:xfrm>
            <a:off x="309082" y="1859041"/>
            <a:ext cx="5257800" cy="41495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ea typeface="Calibri" panose="020F0502020204030204" pitchFamily="34" charset="0"/>
                <a:cs typeface="Times New Roman"/>
              </a:rPr>
              <a:t>“Research, development and demonstration projects to advance </a:t>
            </a:r>
            <a:r>
              <a:rPr kumimoji="0" lang="en-US" sz="1800" b="1" i="0" u="none" strike="noStrike" kern="1200" cap="none" spc="0" normalizeH="0" baseline="0" noProof="0">
                <a:ln>
                  <a:noFill/>
                </a:ln>
                <a:solidFill>
                  <a:prstClr val="black"/>
                </a:solidFill>
                <a:effectLst/>
                <a:uLnTx/>
                <a:uFillTx/>
                <a:ea typeface="Calibri" panose="020F0502020204030204" pitchFamily="34" charset="0"/>
                <a:cs typeface="Times New Roman"/>
              </a:rPr>
              <a:t>new clean H</a:t>
            </a:r>
            <a:r>
              <a:rPr kumimoji="0" lang="en-US" sz="1800" b="1" i="0" u="none" strike="noStrike" kern="1200" cap="none" spc="0" normalizeH="0" baseline="-25000" noProof="0">
                <a:ln>
                  <a:noFill/>
                </a:ln>
                <a:solidFill>
                  <a:prstClr val="black"/>
                </a:solidFill>
                <a:effectLst/>
                <a:uLnTx/>
                <a:uFillTx/>
                <a:ea typeface="Calibri" panose="020F0502020204030204" pitchFamily="34" charset="0"/>
                <a:cs typeface="Times New Roman"/>
              </a:rPr>
              <a:t>2</a:t>
            </a:r>
            <a:r>
              <a:rPr kumimoji="0" lang="en-US" sz="1800" b="1" i="0" u="none" strike="noStrike" kern="1200" cap="none" spc="0" normalizeH="0" baseline="0" noProof="0">
                <a:ln>
                  <a:noFill/>
                </a:ln>
                <a:solidFill>
                  <a:prstClr val="black"/>
                </a:solidFill>
                <a:effectLst/>
                <a:uLnTx/>
                <a:uFillTx/>
                <a:ea typeface="Calibri" panose="020F0502020204030204" pitchFamily="34" charset="0"/>
                <a:cs typeface="Times New Roman"/>
              </a:rPr>
              <a:t> production, processing, delivery, storage and use equipment  </a:t>
            </a:r>
            <a:r>
              <a:rPr kumimoji="0" lang="en-US" sz="1800" b="1" i="0" u="sng" strike="noStrike" kern="1200" cap="none" spc="0" normalizeH="0" baseline="0" noProof="0">
                <a:ln>
                  <a:noFill/>
                </a:ln>
                <a:solidFill>
                  <a:prstClr val="black"/>
                </a:solidFill>
                <a:effectLst/>
                <a:uLnTx/>
                <a:uFillTx/>
              </a:rPr>
              <a:t>manufacturing technologies and techniques</a:t>
            </a:r>
            <a:r>
              <a:rPr kumimoji="0" lang="en-US" sz="1800" b="0" i="0" u="none" strike="noStrike" kern="1200" cap="none" spc="0" normalizeH="0" baseline="0" noProof="0">
                <a:ln>
                  <a:noFill/>
                </a:ln>
                <a:solidFill>
                  <a:prstClr val="black"/>
                </a:solidFill>
                <a:effectLst/>
                <a:uLnTx/>
                <a:uFillTx/>
              </a:rPr>
              <a:t>.”</a:t>
            </a:r>
            <a:endParaRPr kumimoji="0" lang="en-US" sz="1800" b="0" i="0" u="none" strike="noStrike" kern="1200" cap="none" spc="0" normalizeH="0" baseline="0" noProof="0">
              <a:ln>
                <a:noFill/>
              </a:ln>
              <a:solidFill>
                <a:srgbClr val="5B9BD5"/>
              </a:solidFill>
              <a:effectLst/>
              <a:uLnTx/>
              <a:uFillTx/>
            </a:endParaRPr>
          </a:p>
          <a:p>
            <a:pPr>
              <a:lnSpc>
                <a:spcPct val="107000"/>
              </a:lnSpc>
              <a:spcBef>
                <a:spcPts val="0"/>
              </a:spcBef>
              <a:spcAft>
                <a:spcPts val="0"/>
              </a:spcAft>
            </a:pPr>
            <a:endParaRPr lang="en-US" sz="2000">
              <a:ea typeface="Calibri" panose="020F0502020204030204" pitchFamily="34" charset="0"/>
            </a:endParaRPr>
          </a:p>
          <a:p>
            <a:pPr marL="173038" indent="-173038">
              <a:lnSpc>
                <a:spcPct val="107000"/>
              </a:lnSpc>
              <a:spcBef>
                <a:spcPts val="0"/>
              </a:spcBef>
              <a:spcAft>
                <a:spcPts val="0"/>
              </a:spcAft>
              <a:buFont typeface="Arial" panose="020B0604020202020204" pitchFamily="34" charset="0"/>
              <a:buChar char="•"/>
            </a:pPr>
            <a:r>
              <a:rPr lang="en-US" sz="2000">
                <a:ea typeface="Calibri" panose="020F0502020204030204" pitchFamily="34" charset="0"/>
              </a:rPr>
              <a:t>“O</a:t>
            </a:r>
            <a:r>
              <a:rPr lang="en-US" sz="2000">
                <a:effectLst/>
                <a:ea typeface="Calibri" panose="020F0502020204030204" pitchFamily="34" charset="0"/>
              </a:rPr>
              <a:t>perate in partnership with </a:t>
            </a:r>
            <a:r>
              <a:rPr lang="en-US" sz="2000" b="1">
                <a:effectLst/>
                <a:ea typeface="Calibri" panose="020F0502020204030204" pitchFamily="34" charset="0"/>
              </a:rPr>
              <a:t>tribal energy</a:t>
            </a:r>
            <a:r>
              <a:rPr lang="en-US" sz="2000">
                <a:effectLst/>
                <a:ea typeface="Calibri" panose="020F0502020204030204" pitchFamily="34" charset="0"/>
              </a:rPr>
              <a:t> development organizations, </a:t>
            </a:r>
            <a:r>
              <a:rPr lang="en-US" sz="2000" b="1">
                <a:effectLst/>
                <a:ea typeface="Calibri" panose="020F0502020204030204" pitchFamily="34" charset="0"/>
              </a:rPr>
              <a:t>Indian Tribes, Tribal organizations, Native Hawaiian community</a:t>
            </a:r>
            <a:r>
              <a:rPr lang="en-US" sz="2000">
                <a:effectLst/>
                <a:ea typeface="Calibri" panose="020F0502020204030204" pitchFamily="34" charset="0"/>
              </a:rPr>
              <a:t>-based organizations, or territories or freely associated States; or</a:t>
            </a:r>
            <a:r>
              <a:rPr lang="en-US" sz="2000">
                <a:ea typeface="Calibri" panose="020F0502020204030204" pitchFamily="34" charset="0"/>
              </a:rPr>
              <a:t> </a:t>
            </a:r>
            <a:endParaRPr lang="en-US" sz="2000">
              <a:effectLst/>
              <a:ea typeface="Calibri" panose="020F0502020204030204" pitchFamily="34" charset="0"/>
              <a:cs typeface="Arial" panose="020B0604020202020204" pitchFamily="34" charset="0"/>
            </a:endParaRPr>
          </a:p>
          <a:p>
            <a:pPr marL="173038" marR="0" lvl="0" indent="-173038">
              <a:lnSpc>
                <a:spcPct val="107000"/>
              </a:lnSpc>
              <a:spcBef>
                <a:spcPts val="0"/>
              </a:spcBef>
              <a:spcAft>
                <a:spcPts val="800"/>
              </a:spcAft>
              <a:buFont typeface="Arial" panose="020B0604020202020204" pitchFamily="34" charset="0"/>
              <a:buChar char="•"/>
            </a:pPr>
            <a:r>
              <a:rPr lang="en-US" sz="2000">
                <a:ea typeface="Calibri" panose="020F0502020204030204" pitchFamily="34" charset="0"/>
              </a:rPr>
              <a:t>A</a:t>
            </a:r>
            <a:r>
              <a:rPr lang="en-US" sz="2000">
                <a:effectLst/>
                <a:ea typeface="Calibri" panose="020F0502020204030204" pitchFamily="34" charset="0"/>
              </a:rPr>
              <a:t>re located in </a:t>
            </a:r>
            <a:r>
              <a:rPr lang="en-US" sz="2000" b="1">
                <a:effectLst/>
                <a:ea typeface="Calibri" panose="020F0502020204030204" pitchFamily="34" charset="0"/>
              </a:rPr>
              <a:t>economically distressed areas</a:t>
            </a:r>
            <a:r>
              <a:rPr lang="en-US" sz="2000">
                <a:effectLst/>
                <a:ea typeface="Calibri" panose="020F0502020204030204" pitchFamily="34" charset="0"/>
              </a:rPr>
              <a:t> of the </a:t>
            </a:r>
            <a:r>
              <a:rPr lang="en-US" sz="2000" b="1">
                <a:effectLst/>
                <a:ea typeface="Calibri" panose="020F0502020204030204" pitchFamily="34" charset="0"/>
              </a:rPr>
              <a:t>major natural gas-producing regions</a:t>
            </a:r>
            <a:r>
              <a:rPr lang="en-US" sz="2000">
                <a:effectLst/>
                <a:ea typeface="Calibri" panose="020F0502020204030204" pitchFamily="34" charset="0"/>
              </a:rPr>
              <a:t> of the US”</a:t>
            </a:r>
            <a:endParaRPr lang="en-US" sz="2000"/>
          </a:p>
        </p:txBody>
      </p:sp>
      <p:pic>
        <p:nvPicPr>
          <p:cNvPr id="31" name="Picture 30">
            <a:extLst>
              <a:ext uri="{FF2B5EF4-FFF2-40B4-BE49-F238E27FC236}">
                <a16:creationId xmlns:a16="http://schemas.microsoft.com/office/drawing/2014/main" id="{CFB167BA-D6F2-41FC-9E72-30D2F157D2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25118" y="1889939"/>
            <a:ext cx="5257800" cy="3536747"/>
          </a:xfrm>
          <a:prstGeom prst="rect">
            <a:avLst/>
          </a:prstGeom>
        </p:spPr>
      </p:pic>
      <p:sp>
        <p:nvSpPr>
          <p:cNvPr id="2" name="Title 1">
            <a:extLst>
              <a:ext uri="{FF2B5EF4-FFF2-40B4-BE49-F238E27FC236}">
                <a16:creationId xmlns:a16="http://schemas.microsoft.com/office/drawing/2014/main" id="{97DFE2EB-D232-4E1D-A4CA-DCD30790AAF8}"/>
              </a:ext>
            </a:extLst>
          </p:cNvPr>
          <p:cNvSpPr>
            <a:spLocks noGrp="1"/>
          </p:cNvSpPr>
          <p:nvPr>
            <p:ph type="title"/>
          </p:nvPr>
        </p:nvSpPr>
        <p:spPr>
          <a:xfrm>
            <a:off x="731520" y="182880"/>
            <a:ext cx="11044718" cy="1325563"/>
          </a:xfrm>
        </p:spPr>
        <p:txBody>
          <a:bodyPr>
            <a:normAutofit/>
          </a:bodyPr>
          <a:lstStyle/>
          <a:p>
            <a:r>
              <a:rPr lang="en-US" sz="3200">
                <a:latin typeface="+mn-lt"/>
              </a:rPr>
              <a:t>Examples of Engagement Opportunities with Tribal Nations</a:t>
            </a:r>
          </a:p>
        </p:txBody>
      </p:sp>
      <p:sp>
        <p:nvSpPr>
          <p:cNvPr id="15" name="TextBox 14">
            <a:extLst>
              <a:ext uri="{FF2B5EF4-FFF2-40B4-BE49-F238E27FC236}">
                <a16:creationId xmlns:a16="http://schemas.microsoft.com/office/drawing/2014/main" id="{A204712A-C1DF-4C5D-A311-7D57ED1C7BE4}"/>
              </a:ext>
            </a:extLst>
          </p:cNvPr>
          <p:cNvSpPr txBox="1"/>
          <p:nvPr/>
        </p:nvSpPr>
        <p:spPr>
          <a:xfrm>
            <a:off x="6625118" y="5420055"/>
            <a:ext cx="5257800" cy="877163"/>
          </a:xfrm>
          <a:prstGeom prst="rect">
            <a:avLst/>
          </a:prstGeom>
          <a:noFill/>
        </p:spPr>
        <p:txBody>
          <a:bodyPr wrap="square">
            <a:spAutoFit/>
          </a:bodyPr>
          <a:lstStyle/>
          <a:p>
            <a:pPr algn="ctr"/>
            <a:r>
              <a:rPr lang="en-US" sz="1700" b="1"/>
              <a:t>Development of hydrogen ecosystem: Potential for clean hydrogen production and use, through demonstrations and H2 Hubs</a:t>
            </a:r>
          </a:p>
        </p:txBody>
      </p:sp>
    </p:spTree>
    <p:extLst>
      <p:ext uri="{BB962C8B-B14F-4D97-AF65-F5344CB8AC3E}">
        <p14:creationId xmlns:p14="http://schemas.microsoft.com/office/powerpoint/2010/main" val="25010630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7CBFA-3367-4851-9781-6C8E64E05DD0}"/>
              </a:ext>
            </a:extLst>
          </p:cNvPr>
          <p:cNvSpPr>
            <a:spLocks noGrp="1"/>
          </p:cNvSpPr>
          <p:nvPr>
            <p:ph type="title"/>
          </p:nvPr>
        </p:nvSpPr>
        <p:spPr>
          <a:xfrm>
            <a:off x="838200" y="98466"/>
            <a:ext cx="10515600" cy="1465522"/>
          </a:xfrm>
        </p:spPr>
        <p:txBody>
          <a:bodyPr>
            <a:normAutofit/>
          </a:bodyPr>
          <a:lstStyle/>
          <a:p>
            <a:r>
              <a:rPr lang="en-US" sz="3600" dirty="0">
                <a:latin typeface="Arial"/>
                <a:cs typeface="Arial"/>
              </a:rPr>
              <a:t>BIL Programs Especially Relevant</a:t>
            </a:r>
            <a:endParaRPr lang="en-US" sz="3600" dirty="0"/>
          </a:p>
        </p:txBody>
      </p:sp>
      <p:sp>
        <p:nvSpPr>
          <p:cNvPr id="4" name="Slide Number Placeholder 3">
            <a:extLst>
              <a:ext uri="{FF2B5EF4-FFF2-40B4-BE49-F238E27FC236}">
                <a16:creationId xmlns:a16="http://schemas.microsoft.com/office/drawing/2014/main" id="{1FFFF482-B74B-44D4-A0CD-58272389A1E1}"/>
              </a:ext>
            </a:extLst>
          </p:cNvPr>
          <p:cNvSpPr>
            <a:spLocks noGrp="1"/>
          </p:cNvSpPr>
          <p:nvPr>
            <p:ph type="sldNum" sz="quarter" idx="12"/>
          </p:nvPr>
        </p:nvSpPr>
        <p:spPr/>
        <p:txBody>
          <a:bodyPr/>
          <a:lstStyle/>
          <a:p>
            <a:fld id="{B617542F-3D05-4156-9308-A42F80506B15}" type="slidenum">
              <a:rPr lang="en-US" dirty="0" smtClean="0"/>
              <a:pPr/>
              <a:t>13</a:t>
            </a:fld>
            <a:endParaRPr lang="en-US"/>
          </a:p>
        </p:txBody>
      </p:sp>
      <p:sp>
        <p:nvSpPr>
          <p:cNvPr id="5" name="Content Placeholder 4">
            <a:extLst>
              <a:ext uri="{FF2B5EF4-FFF2-40B4-BE49-F238E27FC236}">
                <a16:creationId xmlns:a16="http://schemas.microsoft.com/office/drawing/2014/main" id="{9E4FA384-E51F-41FB-B561-33FE92B68478}"/>
              </a:ext>
            </a:extLst>
          </p:cNvPr>
          <p:cNvSpPr>
            <a:spLocks noGrp="1"/>
          </p:cNvSpPr>
          <p:nvPr>
            <p:ph idx="1"/>
          </p:nvPr>
        </p:nvSpPr>
        <p:spPr>
          <a:xfrm>
            <a:off x="433138" y="1207190"/>
            <a:ext cx="11136428" cy="4958364"/>
          </a:xfrm>
        </p:spPr>
        <p:txBody>
          <a:bodyPr vert="horz" lIns="91440" tIns="45720" rIns="91440" bIns="45720" rtlCol="0" anchor="t">
            <a:noAutofit/>
          </a:bodyPr>
          <a:lstStyle/>
          <a:p>
            <a:r>
              <a:rPr lang="en-US" b="1" dirty="0">
                <a:latin typeface="Franklin Gothic Book"/>
                <a:cs typeface="Arial"/>
              </a:rPr>
              <a:t>For specific geographies--</a:t>
            </a:r>
          </a:p>
          <a:p>
            <a:pPr lvl="1"/>
            <a:r>
              <a:rPr lang="en-US" dirty="0">
                <a:latin typeface="Franklin Gothic Book"/>
                <a:cs typeface="Arial"/>
              </a:rPr>
              <a:t>$1 billion: Energy Improvement in Rural and Remote Areas</a:t>
            </a:r>
          </a:p>
          <a:p>
            <a:pPr lvl="2"/>
            <a:r>
              <a:rPr lang="en-US" dirty="0">
                <a:latin typeface="Franklin Gothic Book"/>
                <a:cs typeface="Arial"/>
              </a:rPr>
              <a:t>Funding available for communities of less than 10,000 people.</a:t>
            </a:r>
          </a:p>
          <a:p>
            <a:pPr lvl="1"/>
            <a:endParaRPr lang="en-US" dirty="0">
              <a:solidFill>
                <a:schemeClr val="tx1">
                  <a:lumMod val="75000"/>
                  <a:lumOff val="25000"/>
                </a:schemeClr>
              </a:solidFill>
              <a:latin typeface="Franklin Gothic Book"/>
              <a:cs typeface="Arial"/>
            </a:endParaRPr>
          </a:p>
          <a:p>
            <a:r>
              <a:rPr lang="en-US" b="1" dirty="0">
                <a:latin typeface="Franklin Gothic Book"/>
                <a:cs typeface="Arial"/>
              </a:rPr>
              <a:t>For communities in energy-producing or mining areas--</a:t>
            </a:r>
          </a:p>
          <a:p>
            <a:pPr lvl="1"/>
            <a:r>
              <a:rPr lang="en-US" dirty="0">
                <a:solidFill>
                  <a:schemeClr val="tx1">
                    <a:lumMod val="75000"/>
                    <a:lumOff val="25000"/>
                  </a:schemeClr>
                </a:solidFill>
                <a:latin typeface="Franklin Gothic Book"/>
                <a:cs typeface="Arial"/>
              </a:rPr>
              <a:t>$500 million: clean energy demonstration activities on current or former mine land</a:t>
            </a:r>
          </a:p>
          <a:p>
            <a:pPr lvl="1"/>
            <a:r>
              <a:rPr lang="en-US" dirty="0">
                <a:solidFill>
                  <a:schemeClr val="tx1">
                    <a:lumMod val="75000"/>
                    <a:lumOff val="25000"/>
                  </a:schemeClr>
                </a:solidFill>
                <a:latin typeface="Franklin Gothic Book"/>
                <a:cs typeface="Arial"/>
              </a:rPr>
              <a:t>$750 million: advanced energy manufacturing or recycling, or reducing emissions from industrial facilities in communities with retired coal mines or power plants</a:t>
            </a:r>
          </a:p>
          <a:p>
            <a:pPr lvl="1"/>
            <a:r>
              <a:rPr lang="en-US" dirty="0">
                <a:solidFill>
                  <a:schemeClr val="tx1">
                    <a:lumMod val="75000"/>
                    <a:lumOff val="25000"/>
                  </a:schemeClr>
                </a:solidFill>
                <a:latin typeface="Franklin Gothic Book"/>
                <a:cs typeface="Arial"/>
              </a:rPr>
              <a:t>$140 million: demonstration facility producing rare earth elements from waste material</a:t>
            </a:r>
          </a:p>
          <a:p>
            <a:pPr lvl="1"/>
            <a:r>
              <a:rPr lang="en-US" dirty="0">
                <a:solidFill>
                  <a:schemeClr val="tx1">
                    <a:lumMod val="75000"/>
                    <a:lumOff val="25000"/>
                  </a:schemeClr>
                </a:solidFill>
                <a:latin typeface="Franklin Gothic Book"/>
                <a:cs typeface="Arial"/>
              </a:rPr>
              <a:t>$6 billion: battery materials processing and battery manufacturing and recycling</a:t>
            </a:r>
          </a:p>
          <a:p>
            <a:pPr marL="457200" lvl="1" indent="0">
              <a:buNone/>
            </a:pPr>
            <a:endParaRPr lang="en-US" sz="1800" dirty="0">
              <a:solidFill>
                <a:srgbClr val="404040"/>
              </a:solidFill>
              <a:latin typeface="Franklin Gothic Book"/>
              <a:cs typeface="Arial"/>
            </a:endParaRPr>
          </a:p>
        </p:txBody>
      </p:sp>
    </p:spTree>
    <p:extLst>
      <p:ext uri="{BB962C8B-B14F-4D97-AF65-F5344CB8AC3E}">
        <p14:creationId xmlns:p14="http://schemas.microsoft.com/office/powerpoint/2010/main" val="31070279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7CBFA-3367-4851-9781-6C8E64E05DD0}"/>
              </a:ext>
            </a:extLst>
          </p:cNvPr>
          <p:cNvSpPr>
            <a:spLocks noGrp="1"/>
          </p:cNvSpPr>
          <p:nvPr>
            <p:ph type="title"/>
          </p:nvPr>
        </p:nvSpPr>
        <p:spPr>
          <a:xfrm>
            <a:off x="838200" y="98466"/>
            <a:ext cx="10515600" cy="1465522"/>
          </a:xfrm>
        </p:spPr>
        <p:txBody>
          <a:bodyPr>
            <a:normAutofit/>
          </a:bodyPr>
          <a:lstStyle/>
          <a:p>
            <a:r>
              <a:rPr lang="en-US" sz="3600" dirty="0">
                <a:latin typeface="Arial"/>
                <a:cs typeface="Arial"/>
              </a:rPr>
              <a:t>BIL Programs Especially Relevant</a:t>
            </a:r>
            <a:endParaRPr lang="en-US" sz="3600" dirty="0"/>
          </a:p>
        </p:txBody>
      </p:sp>
      <p:sp>
        <p:nvSpPr>
          <p:cNvPr id="4" name="Slide Number Placeholder 3">
            <a:extLst>
              <a:ext uri="{FF2B5EF4-FFF2-40B4-BE49-F238E27FC236}">
                <a16:creationId xmlns:a16="http://schemas.microsoft.com/office/drawing/2014/main" id="{1FFFF482-B74B-44D4-A0CD-58272389A1E1}"/>
              </a:ext>
            </a:extLst>
          </p:cNvPr>
          <p:cNvSpPr>
            <a:spLocks noGrp="1"/>
          </p:cNvSpPr>
          <p:nvPr>
            <p:ph type="sldNum" sz="quarter" idx="12"/>
          </p:nvPr>
        </p:nvSpPr>
        <p:spPr/>
        <p:txBody>
          <a:bodyPr/>
          <a:lstStyle/>
          <a:p>
            <a:fld id="{B617542F-3D05-4156-9308-A42F80506B15}" type="slidenum">
              <a:rPr lang="en-US" smtClean="0"/>
              <a:pPr/>
              <a:t>14</a:t>
            </a:fld>
            <a:endParaRPr lang="en-US"/>
          </a:p>
        </p:txBody>
      </p:sp>
      <p:pic>
        <p:nvPicPr>
          <p:cNvPr id="14" name="Picture 14">
            <a:extLst>
              <a:ext uri="{FF2B5EF4-FFF2-40B4-BE49-F238E27FC236}">
                <a16:creationId xmlns:a16="http://schemas.microsoft.com/office/drawing/2014/main" id="{3F7A1548-C27F-4777-8DE9-FBD99E0FD3B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68391" y="1166173"/>
            <a:ext cx="10631058" cy="5113648"/>
          </a:xfrm>
        </p:spPr>
      </p:pic>
    </p:spTree>
    <p:extLst>
      <p:ext uri="{BB962C8B-B14F-4D97-AF65-F5344CB8AC3E}">
        <p14:creationId xmlns:p14="http://schemas.microsoft.com/office/powerpoint/2010/main" val="5143829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69E964-5107-456E-B942-37BEC9214C0F}"/>
              </a:ext>
            </a:extLst>
          </p:cNvPr>
          <p:cNvSpPr>
            <a:spLocks noGrp="1"/>
          </p:cNvSpPr>
          <p:nvPr>
            <p:ph type="title"/>
          </p:nvPr>
        </p:nvSpPr>
        <p:spPr/>
        <p:txBody>
          <a:bodyPr>
            <a:normAutofit/>
          </a:bodyPr>
          <a:lstStyle/>
          <a:p>
            <a:r>
              <a:rPr lang="en-US" sz="3600">
                <a:latin typeface="Arial"/>
                <a:cs typeface="Arial"/>
              </a:rPr>
              <a:t>Funding Distribution and Implementation</a:t>
            </a:r>
          </a:p>
        </p:txBody>
      </p:sp>
      <p:sp>
        <p:nvSpPr>
          <p:cNvPr id="3" name="Content Placeholder 2">
            <a:extLst>
              <a:ext uri="{FF2B5EF4-FFF2-40B4-BE49-F238E27FC236}">
                <a16:creationId xmlns:a16="http://schemas.microsoft.com/office/drawing/2014/main" id="{808E6D4F-D9E9-45A2-9449-080E24CCFDF9}"/>
              </a:ext>
            </a:extLst>
          </p:cNvPr>
          <p:cNvSpPr>
            <a:spLocks noGrp="1"/>
          </p:cNvSpPr>
          <p:nvPr>
            <p:ph idx="1"/>
          </p:nvPr>
        </p:nvSpPr>
        <p:spPr>
          <a:xfrm>
            <a:off x="838200" y="1508520"/>
            <a:ext cx="10799575" cy="4425122"/>
          </a:xfrm>
        </p:spPr>
        <p:txBody>
          <a:bodyPr vert="horz" lIns="91440" tIns="45720" rIns="91440" bIns="45720" rtlCol="0" anchor="t">
            <a:normAutofit lnSpcReduction="10000"/>
          </a:bodyPr>
          <a:lstStyle/>
          <a:p>
            <a:pPr marL="0" indent="0">
              <a:buNone/>
            </a:pPr>
            <a:r>
              <a:rPr lang="en-US" b="1">
                <a:latin typeface="Arial"/>
                <a:cs typeface="Arial"/>
              </a:rPr>
              <a:t>Distribution and Timelines</a:t>
            </a:r>
            <a:endParaRPr lang="en-US" b="1">
              <a:latin typeface="Arial"/>
            </a:endParaRPr>
          </a:p>
          <a:p>
            <a:pPr lvl="1"/>
            <a:r>
              <a:rPr lang="en-US">
                <a:latin typeface="Arial"/>
                <a:cs typeface="Arial"/>
              </a:rPr>
              <a:t>Most programs will operate over a five-to-ten-year timeline to provide states, cities and territories ongoing support they need to deliver these transformative projects for communities.</a:t>
            </a:r>
          </a:p>
          <a:p>
            <a:pPr lvl="1"/>
            <a:r>
              <a:rPr lang="en-US">
                <a:latin typeface="Arial"/>
                <a:cs typeface="Arial"/>
              </a:rPr>
              <a:t>Funding announcements are coming out over next several months.</a:t>
            </a:r>
            <a:endParaRPr lang="en-US">
              <a:latin typeface="Arial"/>
            </a:endParaRPr>
          </a:p>
          <a:p>
            <a:pPr lvl="1"/>
            <a:endParaRPr lang="en-US">
              <a:latin typeface="Arial"/>
            </a:endParaRPr>
          </a:p>
          <a:p>
            <a:pPr marL="0" indent="0">
              <a:buNone/>
            </a:pPr>
            <a:r>
              <a:rPr lang="en-US" b="1">
                <a:latin typeface="Arial"/>
                <a:cs typeface="Arial"/>
              </a:rPr>
              <a:t>States, Cities, and Tribes</a:t>
            </a:r>
            <a:endParaRPr lang="en-US" b="1">
              <a:latin typeface="Arial"/>
            </a:endParaRPr>
          </a:p>
          <a:p>
            <a:pPr lvl="1"/>
            <a:r>
              <a:rPr lang="en-US">
                <a:latin typeface="Arial"/>
                <a:cs typeface="Arial"/>
              </a:rPr>
              <a:t>Funding will be delivered through a combination of formula funds to states and competitively awarded grants to states, cities, Tribes, territories and other non-federal entities</a:t>
            </a:r>
          </a:p>
          <a:p>
            <a:pPr lvl="1"/>
            <a:r>
              <a:rPr lang="en-US">
                <a:latin typeface="Arial"/>
                <a:cs typeface="Arial"/>
              </a:rPr>
              <a:t>Some programs implemented through competitive solicitation will begin with a request for information. </a:t>
            </a:r>
            <a:endParaRPr lang="en-US">
              <a:latin typeface="Arial"/>
            </a:endParaRPr>
          </a:p>
        </p:txBody>
      </p:sp>
      <p:sp>
        <p:nvSpPr>
          <p:cNvPr id="4" name="Slide Number Placeholder 3">
            <a:extLst>
              <a:ext uri="{FF2B5EF4-FFF2-40B4-BE49-F238E27FC236}">
                <a16:creationId xmlns:a16="http://schemas.microsoft.com/office/drawing/2014/main" id="{61F5786A-A35F-4141-820A-10C3D0BBC4D0}"/>
              </a:ext>
            </a:extLst>
          </p:cNvPr>
          <p:cNvSpPr>
            <a:spLocks noGrp="1"/>
          </p:cNvSpPr>
          <p:nvPr>
            <p:ph type="sldNum" sz="quarter" idx="12"/>
          </p:nvPr>
        </p:nvSpPr>
        <p:spPr/>
        <p:txBody>
          <a:bodyPr/>
          <a:lstStyle/>
          <a:p>
            <a:fld id="{B617542F-3D05-4156-9308-A42F80506B15}" type="slidenum">
              <a:rPr lang="en-US" dirty="0" smtClean="0"/>
              <a:pPr/>
              <a:t>15</a:t>
            </a:fld>
            <a:endParaRPr lang="en-US"/>
          </a:p>
        </p:txBody>
      </p:sp>
    </p:spTree>
    <p:extLst>
      <p:ext uri="{BB962C8B-B14F-4D97-AF65-F5344CB8AC3E}">
        <p14:creationId xmlns:p14="http://schemas.microsoft.com/office/powerpoint/2010/main" val="36366326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CB38DF-2B67-44EC-84A8-D5E89C1619C2}"/>
              </a:ext>
            </a:extLst>
          </p:cNvPr>
          <p:cNvSpPr>
            <a:spLocks noGrp="1"/>
          </p:cNvSpPr>
          <p:nvPr>
            <p:ph type="title"/>
          </p:nvPr>
        </p:nvSpPr>
        <p:spPr/>
        <p:txBody>
          <a:bodyPr>
            <a:normAutofit/>
          </a:bodyPr>
          <a:lstStyle/>
          <a:p>
            <a:r>
              <a:rPr lang="en-US" sz="3600" dirty="0"/>
              <a:t>Find updates at energy.gov/</a:t>
            </a:r>
            <a:r>
              <a:rPr lang="en-US" sz="3600" dirty="0" err="1"/>
              <a:t>bil</a:t>
            </a:r>
            <a:endParaRPr lang="en-US" sz="3600" dirty="0"/>
          </a:p>
        </p:txBody>
      </p:sp>
      <p:pic>
        <p:nvPicPr>
          <p:cNvPr id="4" name="Content Placeholder 3">
            <a:extLst>
              <a:ext uri="{FF2B5EF4-FFF2-40B4-BE49-F238E27FC236}">
                <a16:creationId xmlns:a16="http://schemas.microsoft.com/office/drawing/2014/main" id="{996309CD-8D6A-4AF4-A512-A32C26CED73C}"/>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608463" y="1357942"/>
            <a:ext cx="8808396" cy="4954723"/>
          </a:xfrm>
        </p:spPr>
      </p:pic>
    </p:spTree>
    <p:extLst>
      <p:ext uri="{BB962C8B-B14F-4D97-AF65-F5344CB8AC3E}">
        <p14:creationId xmlns:p14="http://schemas.microsoft.com/office/powerpoint/2010/main" val="2244342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4DFD331-95F8-4EEC-8544-1552B646716F}"/>
              </a:ext>
            </a:extLst>
          </p:cNvPr>
          <p:cNvSpPr/>
          <p:nvPr/>
        </p:nvSpPr>
        <p:spPr>
          <a:xfrm>
            <a:off x="-23046" y="0"/>
            <a:ext cx="1855698" cy="6325361"/>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Slide Number Placeholder 2">
            <a:extLst>
              <a:ext uri="{FF2B5EF4-FFF2-40B4-BE49-F238E27FC236}">
                <a16:creationId xmlns:a16="http://schemas.microsoft.com/office/drawing/2014/main" id="{02415972-E7C5-45A8-BDA4-31A3A851E11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09D59-FFD1-44E7-AB5B-BD7AB6B6805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Arial" panose="020B0604020202020204" pitchFamily="34" charset="0"/>
            </a:endParaRPr>
          </a:p>
        </p:txBody>
      </p:sp>
      <p:grpSp>
        <p:nvGrpSpPr>
          <p:cNvPr id="9" name="Google Shape;385;p54">
            <a:extLst>
              <a:ext uri="{FF2B5EF4-FFF2-40B4-BE49-F238E27FC236}">
                <a16:creationId xmlns:a16="http://schemas.microsoft.com/office/drawing/2014/main" id="{6CA3799A-F8A3-4100-A1A2-48D9514A144E}"/>
              </a:ext>
            </a:extLst>
          </p:cNvPr>
          <p:cNvGrpSpPr/>
          <p:nvPr/>
        </p:nvGrpSpPr>
        <p:grpSpPr>
          <a:xfrm>
            <a:off x="2624841" y="1502468"/>
            <a:ext cx="8784779" cy="5270862"/>
            <a:chOff x="3363178" y="1462025"/>
            <a:chExt cx="5070835" cy="3073145"/>
          </a:xfrm>
        </p:grpSpPr>
        <p:grpSp>
          <p:nvGrpSpPr>
            <p:cNvPr id="13" name="Google Shape;386;p54">
              <a:extLst>
                <a:ext uri="{FF2B5EF4-FFF2-40B4-BE49-F238E27FC236}">
                  <a16:creationId xmlns:a16="http://schemas.microsoft.com/office/drawing/2014/main" id="{D1D0DCAD-5A7C-4393-865F-534769C033B6}"/>
                </a:ext>
              </a:extLst>
            </p:cNvPr>
            <p:cNvGrpSpPr/>
            <p:nvPr/>
          </p:nvGrpSpPr>
          <p:grpSpPr>
            <a:xfrm>
              <a:off x="3363178" y="1462025"/>
              <a:ext cx="5070835" cy="3054454"/>
              <a:chOff x="636116" y="1449822"/>
              <a:chExt cx="7880087" cy="4746626"/>
            </a:xfrm>
          </p:grpSpPr>
          <p:grpSp>
            <p:nvGrpSpPr>
              <p:cNvPr id="17" name="Google Shape;387;p54">
                <a:extLst>
                  <a:ext uri="{FF2B5EF4-FFF2-40B4-BE49-F238E27FC236}">
                    <a16:creationId xmlns:a16="http://schemas.microsoft.com/office/drawing/2014/main" id="{C92D850B-53E9-4D9D-BA0E-150CFE96E9F1}"/>
                  </a:ext>
                </a:extLst>
              </p:cNvPr>
              <p:cNvGrpSpPr/>
              <p:nvPr/>
            </p:nvGrpSpPr>
            <p:grpSpPr>
              <a:xfrm>
                <a:off x="3548967" y="1735777"/>
                <a:ext cx="3357522" cy="3570165"/>
                <a:chOff x="3710933" y="1840501"/>
                <a:chExt cx="2827861" cy="3006958"/>
              </a:xfrm>
            </p:grpSpPr>
            <p:sp>
              <p:nvSpPr>
                <p:cNvPr id="72" name="Google Shape;388;p54">
                  <a:extLst>
                    <a:ext uri="{FF2B5EF4-FFF2-40B4-BE49-F238E27FC236}">
                      <a16:creationId xmlns:a16="http://schemas.microsoft.com/office/drawing/2014/main" id="{FDFD7BA2-6B2E-405E-BA62-8BA0601A2928}"/>
                    </a:ext>
                  </a:extLst>
                </p:cNvPr>
                <p:cNvSpPr/>
                <p:nvPr/>
              </p:nvSpPr>
              <p:spPr>
                <a:xfrm>
                  <a:off x="5760144" y="2293614"/>
                  <a:ext cx="481194" cy="656208"/>
                </a:xfrm>
                <a:custGeom>
                  <a:avLst/>
                  <a:gdLst/>
                  <a:ahLst/>
                  <a:cxnLst/>
                  <a:rect l="l" t="t" r="r" b="b"/>
                  <a:pathLst>
                    <a:path w="21600" h="21600" extrusionOk="0">
                      <a:moveTo>
                        <a:pt x="13001" y="1502"/>
                      </a:moveTo>
                      <a:lnTo>
                        <a:pt x="12874" y="1456"/>
                      </a:lnTo>
                      <a:cubicBezTo>
                        <a:pt x="12801" y="1459"/>
                        <a:pt x="12721" y="1454"/>
                        <a:pt x="12631" y="1432"/>
                      </a:cubicBezTo>
                      <a:cubicBezTo>
                        <a:pt x="12528" y="1407"/>
                        <a:pt x="12452" y="1371"/>
                        <a:pt x="12397" y="1344"/>
                      </a:cubicBezTo>
                      <a:lnTo>
                        <a:pt x="12330" y="1315"/>
                      </a:lnTo>
                      <a:cubicBezTo>
                        <a:pt x="12290" y="1311"/>
                        <a:pt x="12221" y="1304"/>
                        <a:pt x="12147" y="1275"/>
                      </a:cubicBezTo>
                      <a:cubicBezTo>
                        <a:pt x="12128" y="1277"/>
                        <a:pt x="12109" y="1278"/>
                        <a:pt x="12089" y="1278"/>
                      </a:cubicBezTo>
                      <a:lnTo>
                        <a:pt x="11920" y="1258"/>
                      </a:lnTo>
                      <a:cubicBezTo>
                        <a:pt x="11789" y="1253"/>
                        <a:pt x="11593" y="1244"/>
                        <a:pt x="11379" y="1129"/>
                      </a:cubicBezTo>
                      <a:cubicBezTo>
                        <a:pt x="11283" y="1078"/>
                        <a:pt x="11202" y="1018"/>
                        <a:pt x="11132" y="964"/>
                      </a:cubicBezTo>
                      <a:cubicBezTo>
                        <a:pt x="11122" y="957"/>
                        <a:pt x="11113" y="949"/>
                        <a:pt x="11105" y="943"/>
                      </a:cubicBezTo>
                      <a:cubicBezTo>
                        <a:pt x="11040" y="943"/>
                        <a:pt x="10991" y="944"/>
                        <a:pt x="10953" y="946"/>
                      </a:cubicBezTo>
                      <a:cubicBezTo>
                        <a:pt x="10887" y="975"/>
                        <a:pt x="10794" y="1005"/>
                        <a:pt x="10682" y="1005"/>
                      </a:cubicBezTo>
                      <a:lnTo>
                        <a:pt x="10675" y="1004"/>
                      </a:lnTo>
                      <a:cubicBezTo>
                        <a:pt x="10568" y="1044"/>
                        <a:pt x="10447" y="1068"/>
                        <a:pt x="10359" y="1068"/>
                      </a:cubicBezTo>
                      <a:lnTo>
                        <a:pt x="10267" y="1068"/>
                      </a:lnTo>
                      <a:lnTo>
                        <a:pt x="10166" y="1035"/>
                      </a:lnTo>
                      <a:cubicBezTo>
                        <a:pt x="9958" y="961"/>
                        <a:pt x="9727" y="857"/>
                        <a:pt x="9665" y="678"/>
                      </a:cubicBezTo>
                      <a:cubicBezTo>
                        <a:pt x="9653" y="644"/>
                        <a:pt x="9646" y="612"/>
                        <a:pt x="9643" y="586"/>
                      </a:cubicBezTo>
                      <a:cubicBezTo>
                        <a:pt x="9585" y="565"/>
                        <a:pt x="9509" y="526"/>
                        <a:pt x="9441" y="463"/>
                      </a:cubicBezTo>
                      <a:cubicBezTo>
                        <a:pt x="9376" y="403"/>
                        <a:pt x="9348" y="378"/>
                        <a:pt x="9305" y="357"/>
                      </a:cubicBezTo>
                      <a:lnTo>
                        <a:pt x="8973" y="347"/>
                      </a:lnTo>
                      <a:cubicBezTo>
                        <a:pt x="8948" y="347"/>
                        <a:pt x="8923" y="345"/>
                        <a:pt x="8900" y="342"/>
                      </a:cubicBezTo>
                      <a:cubicBezTo>
                        <a:pt x="8824" y="373"/>
                        <a:pt x="8741" y="396"/>
                        <a:pt x="8644" y="396"/>
                      </a:cubicBezTo>
                      <a:lnTo>
                        <a:pt x="8517" y="382"/>
                      </a:lnTo>
                      <a:cubicBezTo>
                        <a:pt x="8457" y="417"/>
                        <a:pt x="8382" y="447"/>
                        <a:pt x="8281" y="453"/>
                      </a:cubicBezTo>
                      <a:cubicBezTo>
                        <a:pt x="8280" y="453"/>
                        <a:pt x="8279" y="453"/>
                        <a:pt x="8278" y="453"/>
                      </a:cubicBezTo>
                      <a:cubicBezTo>
                        <a:pt x="8093" y="453"/>
                        <a:pt x="7952" y="386"/>
                        <a:pt x="7898" y="358"/>
                      </a:cubicBezTo>
                      <a:cubicBezTo>
                        <a:pt x="7847" y="335"/>
                        <a:pt x="7789" y="312"/>
                        <a:pt x="7714" y="280"/>
                      </a:cubicBezTo>
                      <a:cubicBezTo>
                        <a:pt x="7622" y="241"/>
                        <a:pt x="7486" y="181"/>
                        <a:pt x="7416" y="161"/>
                      </a:cubicBezTo>
                      <a:cubicBezTo>
                        <a:pt x="7381" y="151"/>
                        <a:pt x="7315" y="135"/>
                        <a:pt x="7238" y="117"/>
                      </a:cubicBezTo>
                      <a:cubicBezTo>
                        <a:pt x="7032" y="68"/>
                        <a:pt x="6892" y="33"/>
                        <a:pt x="6789" y="0"/>
                      </a:cubicBezTo>
                      <a:cubicBezTo>
                        <a:pt x="6714" y="79"/>
                        <a:pt x="6604" y="126"/>
                        <a:pt x="6492" y="143"/>
                      </a:cubicBezTo>
                      <a:cubicBezTo>
                        <a:pt x="6437" y="151"/>
                        <a:pt x="6345" y="156"/>
                        <a:pt x="6249" y="160"/>
                      </a:cubicBezTo>
                      <a:cubicBezTo>
                        <a:pt x="6244" y="161"/>
                        <a:pt x="6238" y="161"/>
                        <a:pt x="6233" y="161"/>
                      </a:cubicBezTo>
                      <a:lnTo>
                        <a:pt x="6217" y="213"/>
                      </a:lnTo>
                      <a:lnTo>
                        <a:pt x="6101" y="215"/>
                      </a:lnTo>
                      <a:cubicBezTo>
                        <a:pt x="6095" y="228"/>
                        <a:pt x="6087" y="240"/>
                        <a:pt x="6080" y="250"/>
                      </a:cubicBezTo>
                      <a:cubicBezTo>
                        <a:pt x="6040" y="307"/>
                        <a:pt x="5978" y="365"/>
                        <a:pt x="5893" y="442"/>
                      </a:cubicBezTo>
                      <a:lnTo>
                        <a:pt x="5832" y="499"/>
                      </a:lnTo>
                      <a:cubicBezTo>
                        <a:pt x="5807" y="547"/>
                        <a:pt x="5695" y="651"/>
                        <a:pt x="5553" y="707"/>
                      </a:cubicBezTo>
                      <a:cubicBezTo>
                        <a:pt x="5559" y="782"/>
                        <a:pt x="5532" y="869"/>
                        <a:pt x="5437" y="939"/>
                      </a:cubicBezTo>
                      <a:cubicBezTo>
                        <a:pt x="5458" y="925"/>
                        <a:pt x="5445" y="949"/>
                        <a:pt x="5433" y="972"/>
                      </a:cubicBezTo>
                      <a:cubicBezTo>
                        <a:pt x="5479" y="1103"/>
                        <a:pt x="5600" y="1306"/>
                        <a:pt x="5684" y="1340"/>
                      </a:cubicBezTo>
                      <a:cubicBezTo>
                        <a:pt x="5807" y="1351"/>
                        <a:pt x="5927" y="1344"/>
                        <a:pt x="5978" y="1337"/>
                      </a:cubicBezTo>
                      <a:lnTo>
                        <a:pt x="6109" y="1326"/>
                      </a:lnTo>
                      <a:cubicBezTo>
                        <a:pt x="6201" y="1326"/>
                        <a:pt x="6289" y="1346"/>
                        <a:pt x="6361" y="1384"/>
                      </a:cubicBezTo>
                      <a:cubicBezTo>
                        <a:pt x="6448" y="1415"/>
                        <a:pt x="6611" y="1482"/>
                        <a:pt x="6658" y="1633"/>
                      </a:cubicBezTo>
                      <a:cubicBezTo>
                        <a:pt x="6677" y="1693"/>
                        <a:pt x="6688" y="1812"/>
                        <a:pt x="6553" y="1936"/>
                      </a:cubicBezTo>
                      <a:cubicBezTo>
                        <a:pt x="6369" y="2102"/>
                        <a:pt x="5822" y="2275"/>
                        <a:pt x="5714" y="2292"/>
                      </a:cubicBezTo>
                      <a:lnTo>
                        <a:pt x="5604" y="2300"/>
                      </a:lnTo>
                      <a:cubicBezTo>
                        <a:pt x="5569" y="2300"/>
                        <a:pt x="5521" y="2298"/>
                        <a:pt x="5464" y="2294"/>
                      </a:cubicBezTo>
                      <a:cubicBezTo>
                        <a:pt x="5417" y="2291"/>
                        <a:pt x="5363" y="2287"/>
                        <a:pt x="5308" y="2287"/>
                      </a:cubicBezTo>
                      <a:lnTo>
                        <a:pt x="5203" y="2369"/>
                      </a:lnTo>
                      <a:lnTo>
                        <a:pt x="5022" y="2385"/>
                      </a:lnTo>
                      <a:cubicBezTo>
                        <a:pt x="5013" y="2390"/>
                        <a:pt x="5002" y="2396"/>
                        <a:pt x="4991" y="2402"/>
                      </a:cubicBezTo>
                      <a:lnTo>
                        <a:pt x="4997" y="2441"/>
                      </a:lnTo>
                      <a:lnTo>
                        <a:pt x="4782" y="2650"/>
                      </a:lnTo>
                      <a:lnTo>
                        <a:pt x="4586" y="2665"/>
                      </a:lnTo>
                      <a:cubicBezTo>
                        <a:pt x="4583" y="2665"/>
                        <a:pt x="4581" y="2665"/>
                        <a:pt x="4578" y="2665"/>
                      </a:cubicBezTo>
                      <a:cubicBezTo>
                        <a:pt x="4536" y="2696"/>
                        <a:pt x="4489" y="2731"/>
                        <a:pt x="4452" y="2761"/>
                      </a:cubicBezTo>
                      <a:cubicBezTo>
                        <a:pt x="4453" y="2842"/>
                        <a:pt x="4460" y="2961"/>
                        <a:pt x="4473" y="3000"/>
                      </a:cubicBezTo>
                      <a:cubicBezTo>
                        <a:pt x="4502" y="3034"/>
                        <a:pt x="4538" y="3127"/>
                        <a:pt x="4584" y="3252"/>
                      </a:cubicBezTo>
                      <a:lnTo>
                        <a:pt x="4607" y="3315"/>
                      </a:lnTo>
                      <a:cubicBezTo>
                        <a:pt x="4650" y="3392"/>
                        <a:pt x="4677" y="3454"/>
                        <a:pt x="4692" y="3508"/>
                      </a:cubicBezTo>
                      <a:cubicBezTo>
                        <a:pt x="4852" y="3684"/>
                        <a:pt x="4766" y="3828"/>
                        <a:pt x="4709" y="3892"/>
                      </a:cubicBezTo>
                      <a:cubicBezTo>
                        <a:pt x="4745" y="3939"/>
                        <a:pt x="4778" y="4008"/>
                        <a:pt x="4778" y="4084"/>
                      </a:cubicBezTo>
                      <a:cubicBezTo>
                        <a:pt x="4778" y="4125"/>
                        <a:pt x="4753" y="4275"/>
                        <a:pt x="4727" y="4411"/>
                      </a:cubicBezTo>
                      <a:cubicBezTo>
                        <a:pt x="4712" y="4490"/>
                        <a:pt x="4697" y="4563"/>
                        <a:pt x="4693" y="4594"/>
                      </a:cubicBezTo>
                      <a:cubicBezTo>
                        <a:pt x="4683" y="4671"/>
                        <a:pt x="4650" y="4745"/>
                        <a:pt x="4607" y="4834"/>
                      </a:cubicBezTo>
                      <a:cubicBezTo>
                        <a:pt x="4591" y="4897"/>
                        <a:pt x="4563" y="4952"/>
                        <a:pt x="4539" y="5000"/>
                      </a:cubicBezTo>
                      <a:lnTo>
                        <a:pt x="4530" y="4999"/>
                      </a:lnTo>
                      <a:cubicBezTo>
                        <a:pt x="4543" y="5123"/>
                        <a:pt x="4462" y="5257"/>
                        <a:pt x="4350" y="5341"/>
                      </a:cubicBezTo>
                      <a:cubicBezTo>
                        <a:pt x="4364" y="5427"/>
                        <a:pt x="4338" y="5506"/>
                        <a:pt x="4270" y="5579"/>
                      </a:cubicBezTo>
                      <a:cubicBezTo>
                        <a:pt x="4177" y="5685"/>
                        <a:pt x="4043" y="5840"/>
                        <a:pt x="3780" y="5840"/>
                      </a:cubicBezTo>
                      <a:cubicBezTo>
                        <a:pt x="3652" y="5834"/>
                        <a:pt x="3553" y="5800"/>
                        <a:pt x="3481" y="5762"/>
                      </a:cubicBezTo>
                      <a:cubicBezTo>
                        <a:pt x="3458" y="5764"/>
                        <a:pt x="3438" y="5764"/>
                        <a:pt x="3419" y="5764"/>
                      </a:cubicBezTo>
                      <a:cubicBezTo>
                        <a:pt x="3026" y="5751"/>
                        <a:pt x="2919" y="5558"/>
                        <a:pt x="2895" y="5500"/>
                      </a:cubicBezTo>
                      <a:cubicBezTo>
                        <a:pt x="2884" y="5470"/>
                        <a:pt x="2873" y="5432"/>
                        <a:pt x="2865" y="5391"/>
                      </a:cubicBezTo>
                      <a:lnTo>
                        <a:pt x="2801" y="5320"/>
                      </a:lnTo>
                      <a:lnTo>
                        <a:pt x="2754" y="5115"/>
                      </a:lnTo>
                      <a:cubicBezTo>
                        <a:pt x="2738" y="5019"/>
                        <a:pt x="2719" y="4879"/>
                        <a:pt x="2723" y="4839"/>
                      </a:cubicBezTo>
                      <a:cubicBezTo>
                        <a:pt x="2728" y="4783"/>
                        <a:pt x="2747" y="4739"/>
                        <a:pt x="2763" y="4710"/>
                      </a:cubicBezTo>
                      <a:cubicBezTo>
                        <a:pt x="2767" y="4663"/>
                        <a:pt x="2780" y="4596"/>
                        <a:pt x="2827" y="4532"/>
                      </a:cubicBezTo>
                      <a:cubicBezTo>
                        <a:pt x="2820" y="4505"/>
                        <a:pt x="2815" y="4479"/>
                        <a:pt x="2815" y="4451"/>
                      </a:cubicBezTo>
                      <a:cubicBezTo>
                        <a:pt x="2772" y="4411"/>
                        <a:pt x="2747" y="4361"/>
                        <a:pt x="2735" y="4317"/>
                      </a:cubicBezTo>
                      <a:cubicBezTo>
                        <a:pt x="2731" y="4323"/>
                        <a:pt x="2727" y="4329"/>
                        <a:pt x="2722" y="4335"/>
                      </a:cubicBezTo>
                      <a:cubicBezTo>
                        <a:pt x="2718" y="4412"/>
                        <a:pt x="2702" y="4547"/>
                        <a:pt x="2674" y="4611"/>
                      </a:cubicBezTo>
                      <a:cubicBezTo>
                        <a:pt x="2625" y="4740"/>
                        <a:pt x="2376" y="4918"/>
                        <a:pt x="2174" y="4962"/>
                      </a:cubicBezTo>
                      <a:cubicBezTo>
                        <a:pt x="2123" y="4979"/>
                        <a:pt x="2050" y="5003"/>
                        <a:pt x="1951" y="5003"/>
                      </a:cubicBezTo>
                      <a:lnTo>
                        <a:pt x="1782" y="4984"/>
                      </a:lnTo>
                      <a:cubicBezTo>
                        <a:pt x="1757" y="5033"/>
                        <a:pt x="1727" y="5074"/>
                        <a:pt x="1683" y="5109"/>
                      </a:cubicBezTo>
                      <a:cubicBezTo>
                        <a:pt x="1618" y="5210"/>
                        <a:pt x="1504" y="5252"/>
                        <a:pt x="1406" y="5268"/>
                      </a:cubicBezTo>
                      <a:cubicBezTo>
                        <a:pt x="1408" y="5290"/>
                        <a:pt x="1414" y="5319"/>
                        <a:pt x="1419" y="5351"/>
                      </a:cubicBezTo>
                      <a:cubicBezTo>
                        <a:pt x="1443" y="5497"/>
                        <a:pt x="1473" y="5678"/>
                        <a:pt x="1413" y="5824"/>
                      </a:cubicBezTo>
                      <a:lnTo>
                        <a:pt x="1388" y="5892"/>
                      </a:lnTo>
                      <a:cubicBezTo>
                        <a:pt x="1360" y="5970"/>
                        <a:pt x="1290" y="6177"/>
                        <a:pt x="954" y="6211"/>
                      </a:cubicBezTo>
                      <a:cubicBezTo>
                        <a:pt x="911" y="6221"/>
                        <a:pt x="745" y="6279"/>
                        <a:pt x="634" y="6322"/>
                      </a:cubicBezTo>
                      <a:cubicBezTo>
                        <a:pt x="661" y="6369"/>
                        <a:pt x="691" y="6421"/>
                        <a:pt x="713" y="6455"/>
                      </a:cubicBezTo>
                      <a:lnTo>
                        <a:pt x="760" y="6524"/>
                      </a:lnTo>
                      <a:cubicBezTo>
                        <a:pt x="826" y="6616"/>
                        <a:pt x="900" y="6720"/>
                        <a:pt x="900" y="6838"/>
                      </a:cubicBezTo>
                      <a:lnTo>
                        <a:pt x="904" y="6912"/>
                      </a:lnTo>
                      <a:cubicBezTo>
                        <a:pt x="913" y="7081"/>
                        <a:pt x="913" y="7163"/>
                        <a:pt x="883" y="7236"/>
                      </a:cubicBezTo>
                      <a:cubicBezTo>
                        <a:pt x="876" y="7253"/>
                        <a:pt x="865" y="7300"/>
                        <a:pt x="858" y="7336"/>
                      </a:cubicBezTo>
                      <a:cubicBezTo>
                        <a:pt x="893" y="7405"/>
                        <a:pt x="925" y="7479"/>
                        <a:pt x="925" y="7561"/>
                      </a:cubicBezTo>
                      <a:lnTo>
                        <a:pt x="931" y="7624"/>
                      </a:lnTo>
                      <a:cubicBezTo>
                        <a:pt x="947" y="7776"/>
                        <a:pt x="957" y="7922"/>
                        <a:pt x="910" y="8043"/>
                      </a:cubicBezTo>
                      <a:cubicBezTo>
                        <a:pt x="883" y="8109"/>
                        <a:pt x="829" y="8218"/>
                        <a:pt x="773" y="8330"/>
                      </a:cubicBezTo>
                      <a:cubicBezTo>
                        <a:pt x="732" y="8411"/>
                        <a:pt x="690" y="8494"/>
                        <a:pt x="660" y="8561"/>
                      </a:cubicBezTo>
                      <a:cubicBezTo>
                        <a:pt x="642" y="8601"/>
                        <a:pt x="624" y="8663"/>
                        <a:pt x="603" y="8734"/>
                      </a:cubicBezTo>
                      <a:cubicBezTo>
                        <a:pt x="543" y="8932"/>
                        <a:pt x="468" y="9177"/>
                        <a:pt x="326" y="9360"/>
                      </a:cubicBezTo>
                      <a:cubicBezTo>
                        <a:pt x="227" y="9486"/>
                        <a:pt x="100" y="9603"/>
                        <a:pt x="0" y="9690"/>
                      </a:cubicBezTo>
                      <a:cubicBezTo>
                        <a:pt x="11" y="9705"/>
                        <a:pt x="24" y="9720"/>
                        <a:pt x="36" y="9736"/>
                      </a:cubicBezTo>
                      <a:cubicBezTo>
                        <a:pt x="119" y="9843"/>
                        <a:pt x="212" y="9964"/>
                        <a:pt x="266" y="10046"/>
                      </a:cubicBezTo>
                      <a:cubicBezTo>
                        <a:pt x="307" y="10108"/>
                        <a:pt x="659" y="10660"/>
                        <a:pt x="616" y="11046"/>
                      </a:cubicBezTo>
                      <a:cubicBezTo>
                        <a:pt x="593" y="11247"/>
                        <a:pt x="484" y="11422"/>
                        <a:pt x="388" y="11576"/>
                      </a:cubicBezTo>
                      <a:cubicBezTo>
                        <a:pt x="338" y="11656"/>
                        <a:pt x="288" y="11732"/>
                        <a:pt x="266" y="11804"/>
                      </a:cubicBezTo>
                      <a:cubicBezTo>
                        <a:pt x="230" y="11916"/>
                        <a:pt x="254" y="11995"/>
                        <a:pt x="364" y="12128"/>
                      </a:cubicBezTo>
                      <a:lnTo>
                        <a:pt x="478" y="12259"/>
                      </a:lnTo>
                      <a:cubicBezTo>
                        <a:pt x="581" y="12376"/>
                        <a:pt x="688" y="12498"/>
                        <a:pt x="764" y="12636"/>
                      </a:cubicBezTo>
                      <a:lnTo>
                        <a:pt x="819" y="12739"/>
                      </a:lnTo>
                      <a:cubicBezTo>
                        <a:pt x="892" y="12879"/>
                        <a:pt x="974" y="13037"/>
                        <a:pt x="1173" y="13273"/>
                      </a:cubicBezTo>
                      <a:cubicBezTo>
                        <a:pt x="1239" y="13350"/>
                        <a:pt x="1331" y="13449"/>
                        <a:pt x="1435" y="13563"/>
                      </a:cubicBezTo>
                      <a:cubicBezTo>
                        <a:pt x="1774" y="13931"/>
                        <a:pt x="2238" y="14436"/>
                        <a:pt x="2402" y="14810"/>
                      </a:cubicBezTo>
                      <a:cubicBezTo>
                        <a:pt x="2592" y="15238"/>
                        <a:pt x="2949" y="16301"/>
                        <a:pt x="2949" y="17251"/>
                      </a:cubicBezTo>
                      <a:cubicBezTo>
                        <a:pt x="2949" y="18051"/>
                        <a:pt x="2859" y="18621"/>
                        <a:pt x="2658" y="19100"/>
                      </a:cubicBezTo>
                      <a:cubicBezTo>
                        <a:pt x="2550" y="19357"/>
                        <a:pt x="2371" y="19599"/>
                        <a:pt x="2240" y="19775"/>
                      </a:cubicBezTo>
                      <a:cubicBezTo>
                        <a:pt x="2179" y="19858"/>
                        <a:pt x="2125" y="19925"/>
                        <a:pt x="2105" y="19970"/>
                      </a:cubicBezTo>
                      <a:cubicBezTo>
                        <a:pt x="2084" y="20022"/>
                        <a:pt x="2030" y="20130"/>
                        <a:pt x="1971" y="20249"/>
                      </a:cubicBezTo>
                      <a:cubicBezTo>
                        <a:pt x="1909" y="20375"/>
                        <a:pt x="1792" y="20610"/>
                        <a:pt x="1776" y="20668"/>
                      </a:cubicBezTo>
                      <a:cubicBezTo>
                        <a:pt x="1786" y="20846"/>
                        <a:pt x="1742" y="21096"/>
                        <a:pt x="1369" y="21495"/>
                      </a:cubicBezTo>
                      <a:cubicBezTo>
                        <a:pt x="1335" y="21531"/>
                        <a:pt x="1301" y="21566"/>
                        <a:pt x="1268" y="21600"/>
                      </a:cubicBezTo>
                      <a:cubicBezTo>
                        <a:pt x="1598" y="21567"/>
                        <a:pt x="1929" y="21534"/>
                        <a:pt x="2258" y="21500"/>
                      </a:cubicBezTo>
                      <a:cubicBezTo>
                        <a:pt x="2632" y="21462"/>
                        <a:pt x="3007" y="21424"/>
                        <a:pt x="3378" y="21385"/>
                      </a:cubicBezTo>
                      <a:cubicBezTo>
                        <a:pt x="3895" y="21331"/>
                        <a:pt x="4409" y="21275"/>
                        <a:pt x="4921" y="21219"/>
                      </a:cubicBezTo>
                      <a:cubicBezTo>
                        <a:pt x="5274" y="21181"/>
                        <a:pt x="5630" y="21143"/>
                        <a:pt x="5981" y="21104"/>
                      </a:cubicBezTo>
                      <a:cubicBezTo>
                        <a:pt x="6524" y="21044"/>
                        <a:pt x="7060" y="20983"/>
                        <a:pt x="7596" y="20922"/>
                      </a:cubicBezTo>
                      <a:cubicBezTo>
                        <a:pt x="7903" y="20887"/>
                        <a:pt x="8214" y="20853"/>
                        <a:pt x="8519" y="20818"/>
                      </a:cubicBezTo>
                      <a:cubicBezTo>
                        <a:pt x="9336" y="20724"/>
                        <a:pt x="10144" y="20630"/>
                        <a:pt x="10935" y="20537"/>
                      </a:cubicBezTo>
                      <a:lnTo>
                        <a:pt x="11320" y="20492"/>
                      </a:lnTo>
                      <a:lnTo>
                        <a:pt x="11321" y="20492"/>
                      </a:lnTo>
                      <a:lnTo>
                        <a:pt x="11386" y="20794"/>
                      </a:lnTo>
                      <a:cubicBezTo>
                        <a:pt x="11655" y="20756"/>
                        <a:pt x="11929" y="20719"/>
                        <a:pt x="12204" y="20680"/>
                      </a:cubicBezTo>
                      <a:cubicBezTo>
                        <a:pt x="12399" y="20653"/>
                        <a:pt x="12592" y="20627"/>
                        <a:pt x="12791" y="20599"/>
                      </a:cubicBezTo>
                      <a:cubicBezTo>
                        <a:pt x="13271" y="20531"/>
                        <a:pt x="13759" y="20460"/>
                        <a:pt x="14254" y="20387"/>
                      </a:cubicBezTo>
                      <a:cubicBezTo>
                        <a:pt x="14319" y="20378"/>
                        <a:pt x="14381" y="20369"/>
                        <a:pt x="14446" y="20359"/>
                      </a:cubicBezTo>
                      <a:cubicBezTo>
                        <a:pt x="15017" y="20275"/>
                        <a:pt x="15600" y="20187"/>
                        <a:pt x="16197" y="20096"/>
                      </a:cubicBezTo>
                      <a:cubicBezTo>
                        <a:pt x="16347" y="20073"/>
                        <a:pt x="16504" y="20048"/>
                        <a:pt x="16656" y="20025"/>
                      </a:cubicBezTo>
                      <a:cubicBezTo>
                        <a:pt x="17028" y="19967"/>
                        <a:pt x="17407" y="19908"/>
                        <a:pt x="17791" y="19848"/>
                      </a:cubicBezTo>
                      <a:cubicBezTo>
                        <a:pt x="17788" y="19838"/>
                        <a:pt x="17786" y="19827"/>
                        <a:pt x="17785" y="19816"/>
                      </a:cubicBezTo>
                      <a:cubicBezTo>
                        <a:pt x="17767" y="19676"/>
                        <a:pt x="17749" y="19534"/>
                        <a:pt x="17867" y="19420"/>
                      </a:cubicBezTo>
                      <a:lnTo>
                        <a:pt x="17940" y="19355"/>
                      </a:lnTo>
                      <a:cubicBezTo>
                        <a:pt x="17962" y="19262"/>
                        <a:pt x="18011" y="19168"/>
                        <a:pt x="18105" y="19102"/>
                      </a:cubicBezTo>
                      <a:cubicBezTo>
                        <a:pt x="18133" y="19082"/>
                        <a:pt x="18165" y="19065"/>
                        <a:pt x="18197" y="19050"/>
                      </a:cubicBezTo>
                      <a:cubicBezTo>
                        <a:pt x="18199" y="19007"/>
                        <a:pt x="18211" y="18962"/>
                        <a:pt x="18241" y="18916"/>
                      </a:cubicBezTo>
                      <a:cubicBezTo>
                        <a:pt x="18274" y="18818"/>
                        <a:pt x="18344" y="18629"/>
                        <a:pt x="18594" y="18561"/>
                      </a:cubicBezTo>
                      <a:cubicBezTo>
                        <a:pt x="18598" y="18560"/>
                        <a:pt x="18601" y="18559"/>
                        <a:pt x="18605" y="18558"/>
                      </a:cubicBezTo>
                      <a:cubicBezTo>
                        <a:pt x="18612" y="18545"/>
                        <a:pt x="18619" y="18533"/>
                        <a:pt x="18628" y="18522"/>
                      </a:cubicBezTo>
                      <a:cubicBezTo>
                        <a:pt x="18638" y="18510"/>
                        <a:pt x="18714" y="18422"/>
                        <a:pt x="18816" y="18352"/>
                      </a:cubicBezTo>
                      <a:cubicBezTo>
                        <a:pt x="18646" y="18058"/>
                        <a:pt x="18849" y="17919"/>
                        <a:pt x="18952" y="17869"/>
                      </a:cubicBezTo>
                      <a:cubicBezTo>
                        <a:pt x="18972" y="17859"/>
                        <a:pt x="18989" y="17851"/>
                        <a:pt x="19003" y="17844"/>
                      </a:cubicBezTo>
                      <a:cubicBezTo>
                        <a:pt x="18998" y="17829"/>
                        <a:pt x="18992" y="17812"/>
                        <a:pt x="18987" y="17795"/>
                      </a:cubicBezTo>
                      <a:cubicBezTo>
                        <a:pt x="18932" y="17627"/>
                        <a:pt x="18862" y="17417"/>
                        <a:pt x="18862" y="17250"/>
                      </a:cubicBezTo>
                      <a:cubicBezTo>
                        <a:pt x="18862" y="17049"/>
                        <a:pt x="18912" y="16565"/>
                        <a:pt x="19367" y="16416"/>
                      </a:cubicBezTo>
                      <a:cubicBezTo>
                        <a:pt x="19428" y="16395"/>
                        <a:pt x="19507" y="16377"/>
                        <a:pt x="19591" y="16358"/>
                      </a:cubicBezTo>
                      <a:cubicBezTo>
                        <a:pt x="19662" y="16341"/>
                        <a:pt x="19780" y="16314"/>
                        <a:pt x="19814" y="16295"/>
                      </a:cubicBezTo>
                      <a:cubicBezTo>
                        <a:pt x="19833" y="16194"/>
                        <a:pt x="19887" y="16126"/>
                        <a:pt x="19949" y="16074"/>
                      </a:cubicBezTo>
                      <a:cubicBezTo>
                        <a:pt x="19952" y="16066"/>
                        <a:pt x="19955" y="16058"/>
                        <a:pt x="19958" y="16050"/>
                      </a:cubicBezTo>
                      <a:cubicBezTo>
                        <a:pt x="19963" y="16040"/>
                        <a:pt x="19967" y="16029"/>
                        <a:pt x="19973" y="16018"/>
                      </a:cubicBezTo>
                      <a:cubicBezTo>
                        <a:pt x="19906" y="15958"/>
                        <a:pt x="19826" y="15866"/>
                        <a:pt x="19835" y="15740"/>
                      </a:cubicBezTo>
                      <a:lnTo>
                        <a:pt x="19831" y="15675"/>
                      </a:lnTo>
                      <a:cubicBezTo>
                        <a:pt x="19819" y="15508"/>
                        <a:pt x="19818" y="15399"/>
                        <a:pt x="19892" y="15301"/>
                      </a:cubicBezTo>
                      <a:cubicBezTo>
                        <a:pt x="19938" y="15241"/>
                        <a:pt x="19980" y="15187"/>
                        <a:pt x="20022" y="15139"/>
                      </a:cubicBezTo>
                      <a:cubicBezTo>
                        <a:pt x="20017" y="15134"/>
                        <a:pt x="20012" y="15128"/>
                        <a:pt x="20008" y="15122"/>
                      </a:cubicBezTo>
                      <a:lnTo>
                        <a:pt x="19917" y="15004"/>
                      </a:lnTo>
                      <a:lnTo>
                        <a:pt x="19990" y="14841"/>
                      </a:lnTo>
                      <a:cubicBezTo>
                        <a:pt x="20034" y="14720"/>
                        <a:pt x="20097" y="14544"/>
                        <a:pt x="20346" y="14492"/>
                      </a:cubicBezTo>
                      <a:cubicBezTo>
                        <a:pt x="20469" y="14372"/>
                        <a:pt x="20660" y="14211"/>
                        <a:pt x="20948" y="14211"/>
                      </a:cubicBezTo>
                      <a:cubicBezTo>
                        <a:pt x="21077" y="14211"/>
                        <a:pt x="21176" y="14229"/>
                        <a:pt x="21266" y="14270"/>
                      </a:cubicBezTo>
                      <a:cubicBezTo>
                        <a:pt x="21382" y="14272"/>
                        <a:pt x="21477" y="14292"/>
                        <a:pt x="21552" y="14327"/>
                      </a:cubicBezTo>
                      <a:cubicBezTo>
                        <a:pt x="21559" y="14306"/>
                        <a:pt x="21567" y="14284"/>
                        <a:pt x="21572" y="14263"/>
                      </a:cubicBezTo>
                      <a:cubicBezTo>
                        <a:pt x="21549" y="14225"/>
                        <a:pt x="21519" y="14134"/>
                        <a:pt x="21576" y="14029"/>
                      </a:cubicBezTo>
                      <a:cubicBezTo>
                        <a:pt x="21585" y="14029"/>
                        <a:pt x="21592" y="14032"/>
                        <a:pt x="21600" y="14036"/>
                      </a:cubicBezTo>
                      <a:cubicBezTo>
                        <a:pt x="21582" y="14019"/>
                        <a:pt x="21564" y="14001"/>
                        <a:pt x="21547" y="13978"/>
                      </a:cubicBezTo>
                      <a:cubicBezTo>
                        <a:pt x="21507" y="13929"/>
                        <a:pt x="21481" y="13870"/>
                        <a:pt x="21471" y="13802"/>
                      </a:cubicBezTo>
                      <a:cubicBezTo>
                        <a:pt x="21408" y="13691"/>
                        <a:pt x="21440" y="13592"/>
                        <a:pt x="21483" y="13525"/>
                      </a:cubicBezTo>
                      <a:cubicBezTo>
                        <a:pt x="21459" y="13465"/>
                        <a:pt x="21440" y="13397"/>
                        <a:pt x="21440" y="13321"/>
                      </a:cubicBezTo>
                      <a:lnTo>
                        <a:pt x="21436" y="13263"/>
                      </a:lnTo>
                      <a:cubicBezTo>
                        <a:pt x="21423" y="13127"/>
                        <a:pt x="21408" y="12975"/>
                        <a:pt x="21521" y="12853"/>
                      </a:cubicBezTo>
                      <a:cubicBezTo>
                        <a:pt x="21507" y="12803"/>
                        <a:pt x="21510" y="12757"/>
                        <a:pt x="21519" y="12718"/>
                      </a:cubicBezTo>
                      <a:cubicBezTo>
                        <a:pt x="21513" y="12710"/>
                        <a:pt x="21474" y="12678"/>
                        <a:pt x="21430" y="12640"/>
                      </a:cubicBezTo>
                      <a:cubicBezTo>
                        <a:pt x="21242" y="12478"/>
                        <a:pt x="21104" y="12352"/>
                        <a:pt x="21061" y="12221"/>
                      </a:cubicBezTo>
                      <a:cubicBezTo>
                        <a:pt x="21045" y="12178"/>
                        <a:pt x="20993" y="12100"/>
                        <a:pt x="20939" y="12015"/>
                      </a:cubicBezTo>
                      <a:cubicBezTo>
                        <a:pt x="20802" y="11797"/>
                        <a:pt x="20717" y="11655"/>
                        <a:pt x="20701" y="11538"/>
                      </a:cubicBezTo>
                      <a:cubicBezTo>
                        <a:pt x="20686" y="11431"/>
                        <a:pt x="20615" y="11151"/>
                        <a:pt x="20509" y="10871"/>
                      </a:cubicBezTo>
                      <a:cubicBezTo>
                        <a:pt x="20467" y="10763"/>
                        <a:pt x="20347" y="10567"/>
                        <a:pt x="20231" y="10377"/>
                      </a:cubicBezTo>
                      <a:cubicBezTo>
                        <a:pt x="20071" y="10117"/>
                        <a:pt x="19906" y="9848"/>
                        <a:pt x="19824" y="9629"/>
                      </a:cubicBezTo>
                      <a:cubicBezTo>
                        <a:pt x="19776" y="9502"/>
                        <a:pt x="19738" y="9381"/>
                        <a:pt x="19703" y="9266"/>
                      </a:cubicBezTo>
                      <a:cubicBezTo>
                        <a:pt x="19640" y="9060"/>
                        <a:pt x="19584" y="8882"/>
                        <a:pt x="19486" y="8730"/>
                      </a:cubicBezTo>
                      <a:cubicBezTo>
                        <a:pt x="19409" y="8613"/>
                        <a:pt x="19357" y="8569"/>
                        <a:pt x="19290" y="8514"/>
                      </a:cubicBezTo>
                      <a:cubicBezTo>
                        <a:pt x="19225" y="8461"/>
                        <a:pt x="19145" y="8395"/>
                        <a:pt x="19065" y="8284"/>
                      </a:cubicBezTo>
                      <a:cubicBezTo>
                        <a:pt x="18953" y="8131"/>
                        <a:pt x="18782" y="7972"/>
                        <a:pt x="18702" y="7914"/>
                      </a:cubicBezTo>
                      <a:cubicBezTo>
                        <a:pt x="18662" y="7888"/>
                        <a:pt x="18511" y="7839"/>
                        <a:pt x="18449" y="7833"/>
                      </a:cubicBezTo>
                      <a:cubicBezTo>
                        <a:pt x="18341" y="7839"/>
                        <a:pt x="18301" y="7841"/>
                        <a:pt x="18265" y="7841"/>
                      </a:cubicBezTo>
                      <a:cubicBezTo>
                        <a:pt x="18122" y="7841"/>
                        <a:pt x="18018" y="7809"/>
                        <a:pt x="17946" y="7769"/>
                      </a:cubicBezTo>
                      <a:cubicBezTo>
                        <a:pt x="17887" y="7815"/>
                        <a:pt x="17819" y="7841"/>
                        <a:pt x="17756" y="7857"/>
                      </a:cubicBezTo>
                      <a:cubicBezTo>
                        <a:pt x="17700" y="7984"/>
                        <a:pt x="17648" y="8078"/>
                        <a:pt x="17517" y="8138"/>
                      </a:cubicBezTo>
                      <a:cubicBezTo>
                        <a:pt x="17428" y="8179"/>
                        <a:pt x="17336" y="8187"/>
                        <a:pt x="17246" y="8194"/>
                      </a:cubicBezTo>
                      <a:cubicBezTo>
                        <a:pt x="17173" y="8245"/>
                        <a:pt x="17074" y="8301"/>
                        <a:pt x="16962" y="8335"/>
                      </a:cubicBezTo>
                      <a:cubicBezTo>
                        <a:pt x="16867" y="8364"/>
                        <a:pt x="16781" y="8371"/>
                        <a:pt x="16714" y="8373"/>
                      </a:cubicBezTo>
                      <a:cubicBezTo>
                        <a:pt x="16678" y="8443"/>
                        <a:pt x="16626" y="8525"/>
                        <a:pt x="16581" y="8572"/>
                      </a:cubicBezTo>
                      <a:cubicBezTo>
                        <a:pt x="16557" y="8597"/>
                        <a:pt x="16528" y="8619"/>
                        <a:pt x="16497" y="8638"/>
                      </a:cubicBezTo>
                      <a:cubicBezTo>
                        <a:pt x="16504" y="8683"/>
                        <a:pt x="16499" y="8734"/>
                        <a:pt x="16470" y="8788"/>
                      </a:cubicBezTo>
                      <a:cubicBezTo>
                        <a:pt x="16434" y="8864"/>
                        <a:pt x="16366" y="9010"/>
                        <a:pt x="16166" y="9116"/>
                      </a:cubicBezTo>
                      <a:cubicBezTo>
                        <a:pt x="16167" y="9179"/>
                        <a:pt x="16159" y="9268"/>
                        <a:pt x="16089" y="9345"/>
                      </a:cubicBezTo>
                      <a:cubicBezTo>
                        <a:pt x="16111" y="9460"/>
                        <a:pt x="16067" y="9539"/>
                        <a:pt x="16013" y="9592"/>
                      </a:cubicBezTo>
                      <a:cubicBezTo>
                        <a:pt x="16019" y="9881"/>
                        <a:pt x="15803" y="9949"/>
                        <a:pt x="15664" y="9964"/>
                      </a:cubicBezTo>
                      <a:lnTo>
                        <a:pt x="15554" y="9968"/>
                      </a:lnTo>
                      <a:cubicBezTo>
                        <a:pt x="15476" y="10116"/>
                        <a:pt x="15367" y="10302"/>
                        <a:pt x="15293" y="10375"/>
                      </a:cubicBezTo>
                      <a:cubicBezTo>
                        <a:pt x="15054" y="10613"/>
                        <a:pt x="14912" y="10755"/>
                        <a:pt x="14664" y="10755"/>
                      </a:cubicBezTo>
                      <a:cubicBezTo>
                        <a:pt x="14637" y="10755"/>
                        <a:pt x="14343" y="10719"/>
                        <a:pt x="14160" y="10597"/>
                      </a:cubicBezTo>
                      <a:cubicBezTo>
                        <a:pt x="14058" y="10600"/>
                        <a:pt x="13976" y="10595"/>
                        <a:pt x="13900" y="10576"/>
                      </a:cubicBezTo>
                      <a:lnTo>
                        <a:pt x="13791" y="10577"/>
                      </a:lnTo>
                      <a:cubicBezTo>
                        <a:pt x="13699" y="10577"/>
                        <a:pt x="13622" y="10557"/>
                        <a:pt x="13467" y="10512"/>
                      </a:cubicBezTo>
                      <a:cubicBezTo>
                        <a:pt x="13078" y="10399"/>
                        <a:pt x="12904" y="10228"/>
                        <a:pt x="12864" y="10086"/>
                      </a:cubicBezTo>
                      <a:cubicBezTo>
                        <a:pt x="12849" y="10069"/>
                        <a:pt x="12831" y="10050"/>
                        <a:pt x="12817" y="10035"/>
                      </a:cubicBezTo>
                      <a:lnTo>
                        <a:pt x="12662" y="9941"/>
                      </a:lnTo>
                      <a:lnTo>
                        <a:pt x="12659" y="9766"/>
                      </a:lnTo>
                      <a:cubicBezTo>
                        <a:pt x="12662" y="9714"/>
                        <a:pt x="12689" y="9634"/>
                        <a:pt x="12792" y="9563"/>
                      </a:cubicBezTo>
                      <a:cubicBezTo>
                        <a:pt x="12799" y="9554"/>
                        <a:pt x="12807" y="9545"/>
                        <a:pt x="12815" y="9536"/>
                      </a:cubicBezTo>
                      <a:cubicBezTo>
                        <a:pt x="12789" y="9511"/>
                        <a:pt x="12763" y="9477"/>
                        <a:pt x="12745" y="9434"/>
                      </a:cubicBezTo>
                      <a:cubicBezTo>
                        <a:pt x="12722" y="9380"/>
                        <a:pt x="12722" y="9330"/>
                        <a:pt x="12723" y="9241"/>
                      </a:cubicBezTo>
                      <a:cubicBezTo>
                        <a:pt x="12723" y="9199"/>
                        <a:pt x="12725" y="9152"/>
                        <a:pt x="12721" y="9123"/>
                      </a:cubicBezTo>
                      <a:cubicBezTo>
                        <a:pt x="12701" y="9119"/>
                        <a:pt x="12612" y="9005"/>
                        <a:pt x="12679" y="8862"/>
                      </a:cubicBezTo>
                      <a:cubicBezTo>
                        <a:pt x="12703" y="8807"/>
                        <a:pt x="12748" y="8764"/>
                        <a:pt x="12795" y="8730"/>
                      </a:cubicBezTo>
                      <a:cubicBezTo>
                        <a:pt x="12795" y="8716"/>
                        <a:pt x="12796" y="8702"/>
                        <a:pt x="12798" y="8688"/>
                      </a:cubicBezTo>
                      <a:cubicBezTo>
                        <a:pt x="12811" y="8583"/>
                        <a:pt x="12881" y="8507"/>
                        <a:pt x="12934" y="8460"/>
                      </a:cubicBezTo>
                      <a:cubicBezTo>
                        <a:pt x="13033" y="8286"/>
                        <a:pt x="13184" y="8196"/>
                        <a:pt x="13385" y="8182"/>
                      </a:cubicBezTo>
                      <a:lnTo>
                        <a:pt x="13529" y="8176"/>
                      </a:lnTo>
                      <a:cubicBezTo>
                        <a:pt x="13556" y="8175"/>
                        <a:pt x="13583" y="8175"/>
                        <a:pt x="13607" y="8174"/>
                      </a:cubicBezTo>
                      <a:cubicBezTo>
                        <a:pt x="13631" y="8164"/>
                        <a:pt x="13658" y="8155"/>
                        <a:pt x="13689" y="8146"/>
                      </a:cubicBezTo>
                      <a:cubicBezTo>
                        <a:pt x="13691" y="8118"/>
                        <a:pt x="13698" y="8090"/>
                        <a:pt x="13711" y="8061"/>
                      </a:cubicBezTo>
                      <a:cubicBezTo>
                        <a:pt x="13753" y="7963"/>
                        <a:pt x="13870" y="7861"/>
                        <a:pt x="14029" y="7791"/>
                      </a:cubicBezTo>
                      <a:cubicBezTo>
                        <a:pt x="14064" y="7750"/>
                        <a:pt x="14116" y="7718"/>
                        <a:pt x="14179" y="7696"/>
                      </a:cubicBezTo>
                      <a:cubicBezTo>
                        <a:pt x="14184" y="7684"/>
                        <a:pt x="14191" y="7673"/>
                        <a:pt x="14200" y="7662"/>
                      </a:cubicBezTo>
                      <a:cubicBezTo>
                        <a:pt x="14206" y="7653"/>
                        <a:pt x="14210" y="7649"/>
                        <a:pt x="14212" y="7648"/>
                      </a:cubicBezTo>
                      <a:lnTo>
                        <a:pt x="14213" y="7629"/>
                      </a:lnTo>
                      <a:cubicBezTo>
                        <a:pt x="14214" y="7606"/>
                        <a:pt x="14218" y="7576"/>
                        <a:pt x="14215" y="7554"/>
                      </a:cubicBezTo>
                      <a:cubicBezTo>
                        <a:pt x="14179" y="7507"/>
                        <a:pt x="14127" y="7422"/>
                        <a:pt x="14155" y="7316"/>
                      </a:cubicBezTo>
                      <a:lnTo>
                        <a:pt x="14566" y="7279"/>
                      </a:lnTo>
                      <a:lnTo>
                        <a:pt x="14191" y="7297"/>
                      </a:lnTo>
                      <a:cubicBezTo>
                        <a:pt x="14157" y="7205"/>
                        <a:pt x="14160" y="6920"/>
                        <a:pt x="14207" y="6824"/>
                      </a:cubicBezTo>
                      <a:cubicBezTo>
                        <a:pt x="14210" y="6820"/>
                        <a:pt x="14432" y="6400"/>
                        <a:pt x="14848" y="6387"/>
                      </a:cubicBezTo>
                      <a:lnTo>
                        <a:pt x="14866" y="6387"/>
                      </a:lnTo>
                      <a:cubicBezTo>
                        <a:pt x="14868" y="6385"/>
                        <a:pt x="14870" y="6384"/>
                        <a:pt x="14871" y="6382"/>
                      </a:cubicBezTo>
                      <a:lnTo>
                        <a:pt x="14937" y="6335"/>
                      </a:lnTo>
                      <a:cubicBezTo>
                        <a:pt x="14956" y="6284"/>
                        <a:pt x="14988" y="6226"/>
                        <a:pt x="15057" y="6176"/>
                      </a:cubicBezTo>
                      <a:cubicBezTo>
                        <a:pt x="15064" y="6171"/>
                        <a:pt x="15070" y="6167"/>
                        <a:pt x="15076" y="6163"/>
                      </a:cubicBezTo>
                      <a:cubicBezTo>
                        <a:pt x="15075" y="6143"/>
                        <a:pt x="15075" y="6122"/>
                        <a:pt x="15076" y="6100"/>
                      </a:cubicBezTo>
                      <a:cubicBezTo>
                        <a:pt x="15084" y="5984"/>
                        <a:pt x="15079" y="5907"/>
                        <a:pt x="15060" y="5862"/>
                      </a:cubicBezTo>
                      <a:cubicBezTo>
                        <a:pt x="15015" y="5761"/>
                        <a:pt x="15001" y="5707"/>
                        <a:pt x="15008" y="5595"/>
                      </a:cubicBezTo>
                      <a:lnTo>
                        <a:pt x="15019" y="5513"/>
                      </a:lnTo>
                      <a:cubicBezTo>
                        <a:pt x="15026" y="5470"/>
                        <a:pt x="15048" y="5337"/>
                        <a:pt x="15033" y="5293"/>
                      </a:cubicBezTo>
                      <a:cubicBezTo>
                        <a:pt x="14926" y="5127"/>
                        <a:pt x="14879" y="4994"/>
                        <a:pt x="14886" y="4874"/>
                      </a:cubicBezTo>
                      <a:cubicBezTo>
                        <a:pt x="14891" y="4793"/>
                        <a:pt x="14919" y="4699"/>
                        <a:pt x="14939" y="4635"/>
                      </a:cubicBezTo>
                      <a:cubicBezTo>
                        <a:pt x="14950" y="4591"/>
                        <a:pt x="14961" y="4512"/>
                        <a:pt x="14965" y="4452"/>
                      </a:cubicBezTo>
                      <a:cubicBezTo>
                        <a:pt x="14904" y="4411"/>
                        <a:pt x="14817" y="4325"/>
                        <a:pt x="14817" y="4199"/>
                      </a:cubicBezTo>
                      <a:cubicBezTo>
                        <a:pt x="14816" y="4153"/>
                        <a:pt x="14784" y="3964"/>
                        <a:pt x="14765" y="3918"/>
                      </a:cubicBezTo>
                      <a:cubicBezTo>
                        <a:pt x="14765" y="3918"/>
                        <a:pt x="14765" y="3919"/>
                        <a:pt x="14765" y="3919"/>
                      </a:cubicBezTo>
                      <a:cubicBezTo>
                        <a:pt x="14760" y="3919"/>
                        <a:pt x="14736" y="3897"/>
                        <a:pt x="14713" y="3875"/>
                      </a:cubicBezTo>
                      <a:cubicBezTo>
                        <a:pt x="14664" y="3828"/>
                        <a:pt x="14613" y="3780"/>
                        <a:pt x="14576" y="3728"/>
                      </a:cubicBezTo>
                      <a:cubicBezTo>
                        <a:pt x="14485" y="3716"/>
                        <a:pt x="14397" y="3693"/>
                        <a:pt x="14317" y="3648"/>
                      </a:cubicBezTo>
                      <a:cubicBezTo>
                        <a:pt x="14296" y="3636"/>
                        <a:pt x="14264" y="3622"/>
                        <a:pt x="14230" y="3605"/>
                      </a:cubicBezTo>
                      <a:cubicBezTo>
                        <a:pt x="14060" y="3525"/>
                        <a:pt x="13899" y="3448"/>
                        <a:pt x="13829" y="3325"/>
                      </a:cubicBezTo>
                      <a:cubicBezTo>
                        <a:pt x="13801" y="3274"/>
                        <a:pt x="13782" y="3221"/>
                        <a:pt x="13766" y="3174"/>
                      </a:cubicBezTo>
                      <a:cubicBezTo>
                        <a:pt x="13739" y="3118"/>
                        <a:pt x="13717" y="3055"/>
                        <a:pt x="13721" y="2985"/>
                      </a:cubicBezTo>
                      <a:cubicBezTo>
                        <a:pt x="13670" y="2943"/>
                        <a:pt x="13628" y="2889"/>
                        <a:pt x="13612" y="2819"/>
                      </a:cubicBezTo>
                      <a:cubicBezTo>
                        <a:pt x="13598" y="2758"/>
                        <a:pt x="13596" y="2639"/>
                        <a:pt x="13740" y="2525"/>
                      </a:cubicBezTo>
                      <a:cubicBezTo>
                        <a:pt x="13817" y="2368"/>
                        <a:pt x="13942" y="2277"/>
                        <a:pt x="14112" y="2245"/>
                      </a:cubicBezTo>
                      <a:cubicBezTo>
                        <a:pt x="14055" y="2206"/>
                        <a:pt x="14004" y="2164"/>
                        <a:pt x="13963" y="2116"/>
                      </a:cubicBezTo>
                      <a:cubicBezTo>
                        <a:pt x="13932" y="2081"/>
                        <a:pt x="13911" y="2050"/>
                        <a:pt x="13898" y="2022"/>
                      </a:cubicBezTo>
                      <a:cubicBezTo>
                        <a:pt x="13804" y="1973"/>
                        <a:pt x="13714" y="1921"/>
                        <a:pt x="13666" y="1824"/>
                      </a:cubicBezTo>
                      <a:cubicBezTo>
                        <a:pt x="13629" y="1800"/>
                        <a:pt x="13531" y="1702"/>
                        <a:pt x="13563" y="1566"/>
                      </a:cubicBezTo>
                      <a:lnTo>
                        <a:pt x="13563" y="1565"/>
                      </a:lnTo>
                      <a:cubicBezTo>
                        <a:pt x="13547" y="1556"/>
                        <a:pt x="13530" y="1546"/>
                        <a:pt x="13513" y="1535"/>
                      </a:cubicBezTo>
                      <a:cubicBezTo>
                        <a:pt x="13476" y="1512"/>
                        <a:pt x="13428" y="1477"/>
                        <a:pt x="13379" y="1441"/>
                      </a:cubicBezTo>
                      <a:lnTo>
                        <a:pt x="13360" y="1441"/>
                      </a:lnTo>
                      <a:cubicBezTo>
                        <a:pt x="13269" y="1491"/>
                        <a:pt x="13172" y="1502"/>
                        <a:pt x="13105" y="1502"/>
                      </a:cubicBezTo>
                      <a:cubicBezTo>
                        <a:pt x="13105" y="1502"/>
                        <a:pt x="13001" y="1502"/>
                        <a:pt x="13001" y="1502"/>
                      </a:cubicBezTo>
                      <a:close/>
                      <a:moveTo>
                        <a:pt x="13001" y="1502"/>
                      </a:moveTo>
                    </a:path>
                  </a:pathLst>
                </a:custGeom>
                <a:solidFill>
                  <a:schemeClr val="accent2">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513F3A"/>
                    </a:solidFill>
                    <a:effectLst/>
                    <a:uLnTx/>
                    <a:uFillTx/>
                    <a:latin typeface="Arial"/>
                    <a:ea typeface="Arial"/>
                    <a:cs typeface="Arial"/>
                    <a:sym typeface="Arial"/>
                  </a:endParaRPr>
                </a:p>
              </p:txBody>
            </p:sp>
            <p:sp>
              <p:nvSpPr>
                <p:cNvPr id="73" name="Google Shape;389;p54">
                  <a:extLst>
                    <a:ext uri="{FF2B5EF4-FFF2-40B4-BE49-F238E27FC236}">
                      <a16:creationId xmlns:a16="http://schemas.microsoft.com/office/drawing/2014/main" id="{36F25A09-1686-40EF-B185-52B841980AC4}"/>
                    </a:ext>
                  </a:extLst>
                </p:cNvPr>
                <p:cNvSpPr/>
                <p:nvPr/>
              </p:nvSpPr>
              <p:spPr>
                <a:xfrm>
                  <a:off x="6017316" y="2812040"/>
                  <a:ext cx="521478" cy="592920"/>
                </a:xfrm>
                <a:custGeom>
                  <a:avLst/>
                  <a:gdLst/>
                  <a:ahLst/>
                  <a:cxnLst/>
                  <a:rect l="l" t="t" r="r" b="b"/>
                  <a:pathLst>
                    <a:path w="21600" h="21600" extrusionOk="0">
                      <a:moveTo>
                        <a:pt x="10033" y="4442"/>
                      </a:moveTo>
                      <a:cubicBezTo>
                        <a:pt x="9883" y="4354"/>
                        <a:pt x="9767" y="4285"/>
                        <a:pt x="9703" y="4195"/>
                      </a:cubicBezTo>
                      <a:cubicBezTo>
                        <a:pt x="9700" y="4195"/>
                        <a:pt x="9696" y="4195"/>
                        <a:pt x="9692" y="4195"/>
                      </a:cubicBezTo>
                      <a:lnTo>
                        <a:pt x="9564" y="4177"/>
                      </a:lnTo>
                      <a:cubicBezTo>
                        <a:pt x="9532" y="4223"/>
                        <a:pt x="9494" y="4265"/>
                        <a:pt x="9447" y="4300"/>
                      </a:cubicBezTo>
                      <a:cubicBezTo>
                        <a:pt x="9385" y="4345"/>
                        <a:pt x="9211" y="4470"/>
                        <a:pt x="8950" y="4470"/>
                      </a:cubicBezTo>
                      <a:lnTo>
                        <a:pt x="8845" y="4463"/>
                      </a:lnTo>
                      <a:cubicBezTo>
                        <a:pt x="8637" y="4436"/>
                        <a:pt x="8249" y="4295"/>
                        <a:pt x="8091" y="4109"/>
                      </a:cubicBezTo>
                      <a:cubicBezTo>
                        <a:pt x="8064" y="4078"/>
                        <a:pt x="8037" y="4047"/>
                        <a:pt x="8020" y="4028"/>
                      </a:cubicBezTo>
                      <a:cubicBezTo>
                        <a:pt x="8014" y="4033"/>
                        <a:pt x="7985" y="4032"/>
                        <a:pt x="7953" y="4031"/>
                      </a:cubicBezTo>
                      <a:cubicBezTo>
                        <a:pt x="7690" y="4023"/>
                        <a:pt x="7439" y="4009"/>
                        <a:pt x="7245" y="3936"/>
                      </a:cubicBezTo>
                      <a:cubicBezTo>
                        <a:pt x="7068" y="3870"/>
                        <a:pt x="6945" y="3820"/>
                        <a:pt x="6852" y="3770"/>
                      </a:cubicBezTo>
                      <a:cubicBezTo>
                        <a:pt x="6816" y="3784"/>
                        <a:pt x="6778" y="3795"/>
                        <a:pt x="6736" y="3802"/>
                      </a:cubicBezTo>
                      <a:cubicBezTo>
                        <a:pt x="6682" y="3811"/>
                        <a:pt x="6445" y="3836"/>
                        <a:pt x="6207" y="3761"/>
                      </a:cubicBezTo>
                      <a:cubicBezTo>
                        <a:pt x="6120" y="3733"/>
                        <a:pt x="6052" y="3698"/>
                        <a:pt x="6001" y="3658"/>
                      </a:cubicBezTo>
                      <a:cubicBezTo>
                        <a:pt x="5652" y="3724"/>
                        <a:pt x="5317" y="3786"/>
                        <a:pt x="4978" y="3849"/>
                      </a:cubicBezTo>
                      <a:cubicBezTo>
                        <a:pt x="4808" y="3880"/>
                        <a:pt x="4633" y="3914"/>
                        <a:pt x="4466" y="3944"/>
                      </a:cubicBezTo>
                      <a:cubicBezTo>
                        <a:pt x="3920" y="4044"/>
                        <a:pt x="3387" y="4140"/>
                        <a:pt x="2865" y="4233"/>
                      </a:cubicBezTo>
                      <a:cubicBezTo>
                        <a:pt x="2769" y="4250"/>
                        <a:pt x="2677" y="4266"/>
                        <a:pt x="2581" y="4282"/>
                      </a:cubicBezTo>
                      <a:cubicBezTo>
                        <a:pt x="2148" y="4359"/>
                        <a:pt x="1720" y="4433"/>
                        <a:pt x="1300" y="4504"/>
                      </a:cubicBezTo>
                      <a:cubicBezTo>
                        <a:pt x="1146" y="4531"/>
                        <a:pt x="995" y="4555"/>
                        <a:pt x="842" y="4581"/>
                      </a:cubicBezTo>
                      <a:cubicBezTo>
                        <a:pt x="561" y="4628"/>
                        <a:pt x="276" y="4676"/>
                        <a:pt x="0" y="4722"/>
                      </a:cubicBezTo>
                      <a:lnTo>
                        <a:pt x="2338" y="17786"/>
                      </a:lnTo>
                      <a:lnTo>
                        <a:pt x="2562" y="19040"/>
                      </a:lnTo>
                      <a:cubicBezTo>
                        <a:pt x="2564" y="19040"/>
                        <a:pt x="2565" y="19040"/>
                        <a:pt x="2567" y="19040"/>
                      </a:cubicBezTo>
                      <a:cubicBezTo>
                        <a:pt x="2614" y="19035"/>
                        <a:pt x="2644" y="19032"/>
                        <a:pt x="2676" y="19032"/>
                      </a:cubicBezTo>
                      <a:cubicBezTo>
                        <a:pt x="2852" y="19032"/>
                        <a:pt x="2983" y="19111"/>
                        <a:pt x="3067" y="19170"/>
                      </a:cubicBezTo>
                      <a:cubicBezTo>
                        <a:pt x="3114" y="19203"/>
                        <a:pt x="3151" y="19232"/>
                        <a:pt x="3181" y="19257"/>
                      </a:cubicBezTo>
                      <a:cubicBezTo>
                        <a:pt x="3224" y="19266"/>
                        <a:pt x="3269" y="19281"/>
                        <a:pt x="3313" y="19302"/>
                      </a:cubicBezTo>
                      <a:cubicBezTo>
                        <a:pt x="3319" y="19298"/>
                        <a:pt x="3326" y="19294"/>
                        <a:pt x="3331" y="19291"/>
                      </a:cubicBezTo>
                      <a:cubicBezTo>
                        <a:pt x="3439" y="19224"/>
                        <a:pt x="3510" y="19180"/>
                        <a:pt x="3612" y="19165"/>
                      </a:cubicBezTo>
                      <a:lnTo>
                        <a:pt x="3679" y="19167"/>
                      </a:lnTo>
                      <a:cubicBezTo>
                        <a:pt x="3759" y="19063"/>
                        <a:pt x="3880" y="18944"/>
                        <a:pt x="4080" y="18944"/>
                      </a:cubicBezTo>
                      <a:lnTo>
                        <a:pt x="4163" y="18944"/>
                      </a:lnTo>
                      <a:lnTo>
                        <a:pt x="4260" y="18980"/>
                      </a:lnTo>
                      <a:cubicBezTo>
                        <a:pt x="4412" y="19044"/>
                        <a:pt x="4498" y="19175"/>
                        <a:pt x="4600" y="19351"/>
                      </a:cubicBezTo>
                      <a:cubicBezTo>
                        <a:pt x="4617" y="19354"/>
                        <a:pt x="4636" y="19357"/>
                        <a:pt x="4659" y="19359"/>
                      </a:cubicBezTo>
                      <a:cubicBezTo>
                        <a:pt x="4808" y="19375"/>
                        <a:pt x="5034" y="19399"/>
                        <a:pt x="5212" y="19553"/>
                      </a:cubicBezTo>
                      <a:cubicBezTo>
                        <a:pt x="5336" y="19661"/>
                        <a:pt x="5394" y="19796"/>
                        <a:pt x="5434" y="19885"/>
                      </a:cubicBezTo>
                      <a:cubicBezTo>
                        <a:pt x="5447" y="19912"/>
                        <a:pt x="5487" y="19949"/>
                        <a:pt x="5531" y="19993"/>
                      </a:cubicBezTo>
                      <a:cubicBezTo>
                        <a:pt x="5752" y="20203"/>
                        <a:pt x="5846" y="20299"/>
                        <a:pt x="5885" y="20403"/>
                      </a:cubicBezTo>
                      <a:cubicBezTo>
                        <a:pt x="5907" y="20460"/>
                        <a:pt x="5913" y="20517"/>
                        <a:pt x="5919" y="20582"/>
                      </a:cubicBezTo>
                      <a:cubicBezTo>
                        <a:pt x="5920" y="20595"/>
                        <a:pt x="5922" y="20612"/>
                        <a:pt x="5924" y="20630"/>
                      </a:cubicBezTo>
                      <a:cubicBezTo>
                        <a:pt x="6171" y="20634"/>
                        <a:pt x="6273" y="20623"/>
                        <a:pt x="6395" y="20679"/>
                      </a:cubicBezTo>
                      <a:lnTo>
                        <a:pt x="6458" y="20714"/>
                      </a:lnTo>
                      <a:cubicBezTo>
                        <a:pt x="6510" y="20695"/>
                        <a:pt x="6610" y="20658"/>
                        <a:pt x="6717" y="20614"/>
                      </a:cubicBezTo>
                      <a:cubicBezTo>
                        <a:pt x="6844" y="20560"/>
                        <a:pt x="7011" y="20541"/>
                        <a:pt x="7115" y="20541"/>
                      </a:cubicBezTo>
                      <a:lnTo>
                        <a:pt x="7264" y="20559"/>
                      </a:lnTo>
                      <a:cubicBezTo>
                        <a:pt x="7282" y="20564"/>
                        <a:pt x="7310" y="20573"/>
                        <a:pt x="7342" y="20585"/>
                      </a:cubicBezTo>
                      <a:cubicBezTo>
                        <a:pt x="7561" y="20611"/>
                        <a:pt x="7766" y="20635"/>
                        <a:pt x="7891" y="20775"/>
                      </a:cubicBezTo>
                      <a:cubicBezTo>
                        <a:pt x="7926" y="20815"/>
                        <a:pt x="7948" y="20857"/>
                        <a:pt x="7962" y="20893"/>
                      </a:cubicBezTo>
                      <a:cubicBezTo>
                        <a:pt x="8070" y="20908"/>
                        <a:pt x="8240" y="20938"/>
                        <a:pt x="8363" y="21114"/>
                      </a:cubicBezTo>
                      <a:cubicBezTo>
                        <a:pt x="8378" y="21134"/>
                        <a:pt x="8389" y="21154"/>
                        <a:pt x="8399" y="21174"/>
                      </a:cubicBezTo>
                      <a:cubicBezTo>
                        <a:pt x="8420" y="21176"/>
                        <a:pt x="8441" y="21178"/>
                        <a:pt x="8462" y="21181"/>
                      </a:cubicBezTo>
                      <a:cubicBezTo>
                        <a:pt x="8490" y="21080"/>
                        <a:pt x="8548" y="20985"/>
                        <a:pt x="8678" y="20925"/>
                      </a:cubicBezTo>
                      <a:cubicBezTo>
                        <a:pt x="9192" y="20685"/>
                        <a:pt x="9322" y="20685"/>
                        <a:pt x="9390" y="20685"/>
                      </a:cubicBezTo>
                      <a:lnTo>
                        <a:pt x="9479" y="20694"/>
                      </a:lnTo>
                      <a:cubicBezTo>
                        <a:pt x="9568" y="20710"/>
                        <a:pt x="9640" y="20747"/>
                        <a:pt x="9704" y="20781"/>
                      </a:cubicBezTo>
                      <a:cubicBezTo>
                        <a:pt x="9754" y="20807"/>
                        <a:pt x="9798" y="20830"/>
                        <a:pt x="9841" y="20838"/>
                      </a:cubicBezTo>
                      <a:lnTo>
                        <a:pt x="9972" y="20834"/>
                      </a:lnTo>
                      <a:cubicBezTo>
                        <a:pt x="10026" y="20831"/>
                        <a:pt x="10080" y="20828"/>
                        <a:pt x="10134" y="20828"/>
                      </a:cubicBezTo>
                      <a:cubicBezTo>
                        <a:pt x="10217" y="20828"/>
                        <a:pt x="10462" y="20828"/>
                        <a:pt x="10641" y="20980"/>
                      </a:cubicBezTo>
                      <a:cubicBezTo>
                        <a:pt x="10705" y="20947"/>
                        <a:pt x="10784" y="20924"/>
                        <a:pt x="10881" y="20924"/>
                      </a:cubicBezTo>
                      <a:cubicBezTo>
                        <a:pt x="10943" y="20928"/>
                        <a:pt x="10987" y="20932"/>
                        <a:pt x="11021" y="20936"/>
                      </a:cubicBezTo>
                      <a:cubicBezTo>
                        <a:pt x="11040" y="20927"/>
                        <a:pt x="11062" y="20917"/>
                        <a:pt x="11087" y="20907"/>
                      </a:cubicBezTo>
                      <a:cubicBezTo>
                        <a:pt x="11105" y="20825"/>
                        <a:pt x="11141" y="20746"/>
                        <a:pt x="11191" y="20677"/>
                      </a:cubicBezTo>
                      <a:cubicBezTo>
                        <a:pt x="11253" y="20588"/>
                        <a:pt x="11348" y="20536"/>
                        <a:pt x="11417" y="20498"/>
                      </a:cubicBezTo>
                      <a:cubicBezTo>
                        <a:pt x="11446" y="20427"/>
                        <a:pt x="11484" y="20241"/>
                        <a:pt x="11696" y="20154"/>
                      </a:cubicBezTo>
                      <a:lnTo>
                        <a:pt x="11768" y="20125"/>
                      </a:lnTo>
                      <a:lnTo>
                        <a:pt x="11893" y="20117"/>
                      </a:lnTo>
                      <a:cubicBezTo>
                        <a:pt x="11916" y="20117"/>
                        <a:pt x="11939" y="20119"/>
                        <a:pt x="11964" y="20121"/>
                      </a:cubicBezTo>
                      <a:cubicBezTo>
                        <a:pt x="12151" y="19964"/>
                        <a:pt x="12321" y="19850"/>
                        <a:pt x="12523" y="19850"/>
                      </a:cubicBezTo>
                      <a:cubicBezTo>
                        <a:pt x="12701" y="19850"/>
                        <a:pt x="12855" y="19943"/>
                        <a:pt x="12925" y="20091"/>
                      </a:cubicBezTo>
                      <a:cubicBezTo>
                        <a:pt x="12988" y="20225"/>
                        <a:pt x="12997" y="20353"/>
                        <a:pt x="13003" y="20438"/>
                      </a:cubicBezTo>
                      <a:cubicBezTo>
                        <a:pt x="13039" y="20485"/>
                        <a:pt x="13100" y="20549"/>
                        <a:pt x="13153" y="20672"/>
                      </a:cubicBezTo>
                      <a:cubicBezTo>
                        <a:pt x="13169" y="20708"/>
                        <a:pt x="13182" y="20751"/>
                        <a:pt x="13195" y="20796"/>
                      </a:cubicBezTo>
                      <a:cubicBezTo>
                        <a:pt x="13220" y="20885"/>
                        <a:pt x="13227" y="20891"/>
                        <a:pt x="13240" y="20897"/>
                      </a:cubicBezTo>
                      <a:cubicBezTo>
                        <a:pt x="13258" y="20906"/>
                        <a:pt x="13274" y="20914"/>
                        <a:pt x="13289" y="20921"/>
                      </a:cubicBezTo>
                      <a:cubicBezTo>
                        <a:pt x="13430" y="20862"/>
                        <a:pt x="13623" y="20903"/>
                        <a:pt x="13703" y="20922"/>
                      </a:cubicBezTo>
                      <a:cubicBezTo>
                        <a:pt x="13820" y="20940"/>
                        <a:pt x="14043" y="20967"/>
                        <a:pt x="14177" y="21203"/>
                      </a:cubicBezTo>
                      <a:lnTo>
                        <a:pt x="14198" y="21240"/>
                      </a:lnTo>
                      <a:cubicBezTo>
                        <a:pt x="14340" y="21278"/>
                        <a:pt x="14471" y="21348"/>
                        <a:pt x="14564" y="21438"/>
                      </a:cubicBezTo>
                      <a:cubicBezTo>
                        <a:pt x="14611" y="21483"/>
                        <a:pt x="14641" y="21536"/>
                        <a:pt x="14666" y="21591"/>
                      </a:cubicBezTo>
                      <a:cubicBezTo>
                        <a:pt x="14667" y="21594"/>
                        <a:pt x="14671" y="21597"/>
                        <a:pt x="14672" y="21600"/>
                      </a:cubicBezTo>
                      <a:cubicBezTo>
                        <a:pt x="14686" y="21594"/>
                        <a:pt x="14696" y="21590"/>
                        <a:pt x="14713" y="21581"/>
                      </a:cubicBezTo>
                      <a:cubicBezTo>
                        <a:pt x="14958" y="21450"/>
                        <a:pt x="15201" y="21372"/>
                        <a:pt x="15347" y="21325"/>
                      </a:cubicBezTo>
                      <a:lnTo>
                        <a:pt x="15424" y="21299"/>
                      </a:lnTo>
                      <a:cubicBezTo>
                        <a:pt x="15435" y="21296"/>
                        <a:pt x="15445" y="21292"/>
                        <a:pt x="15454" y="21289"/>
                      </a:cubicBezTo>
                      <a:cubicBezTo>
                        <a:pt x="15454" y="21125"/>
                        <a:pt x="15447" y="20823"/>
                        <a:pt x="15443" y="20766"/>
                      </a:cubicBezTo>
                      <a:cubicBezTo>
                        <a:pt x="15432" y="20650"/>
                        <a:pt x="15489" y="20422"/>
                        <a:pt x="15690" y="20317"/>
                      </a:cubicBezTo>
                      <a:cubicBezTo>
                        <a:pt x="15740" y="20291"/>
                        <a:pt x="15789" y="20277"/>
                        <a:pt x="15842" y="20269"/>
                      </a:cubicBezTo>
                      <a:cubicBezTo>
                        <a:pt x="15805" y="20169"/>
                        <a:pt x="15799" y="20070"/>
                        <a:pt x="15799" y="20023"/>
                      </a:cubicBezTo>
                      <a:cubicBezTo>
                        <a:pt x="15799" y="19983"/>
                        <a:pt x="15791" y="19906"/>
                        <a:pt x="15784" y="19881"/>
                      </a:cubicBezTo>
                      <a:cubicBezTo>
                        <a:pt x="15774" y="19867"/>
                        <a:pt x="15713" y="19791"/>
                        <a:pt x="15689" y="19767"/>
                      </a:cubicBezTo>
                      <a:cubicBezTo>
                        <a:pt x="15523" y="19646"/>
                        <a:pt x="15465" y="19515"/>
                        <a:pt x="15507" y="19370"/>
                      </a:cubicBezTo>
                      <a:cubicBezTo>
                        <a:pt x="15530" y="19276"/>
                        <a:pt x="15645" y="19076"/>
                        <a:pt x="15820" y="18960"/>
                      </a:cubicBezTo>
                      <a:lnTo>
                        <a:pt x="15821" y="18960"/>
                      </a:lnTo>
                      <a:cubicBezTo>
                        <a:pt x="15786" y="18891"/>
                        <a:pt x="15764" y="18810"/>
                        <a:pt x="15770" y="18728"/>
                      </a:cubicBezTo>
                      <a:cubicBezTo>
                        <a:pt x="15773" y="18660"/>
                        <a:pt x="15804" y="18599"/>
                        <a:pt x="15851" y="18507"/>
                      </a:cubicBezTo>
                      <a:cubicBezTo>
                        <a:pt x="15872" y="18466"/>
                        <a:pt x="15899" y="18419"/>
                        <a:pt x="15910" y="18384"/>
                      </a:cubicBezTo>
                      <a:cubicBezTo>
                        <a:pt x="15913" y="18369"/>
                        <a:pt x="15913" y="18346"/>
                        <a:pt x="15915" y="18323"/>
                      </a:cubicBezTo>
                      <a:cubicBezTo>
                        <a:pt x="15920" y="18224"/>
                        <a:pt x="15929" y="18089"/>
                        <a:pt x="16050" y="17983"/>
                      </a:cubicBezTo>
                      <a:lnTo>
                        <a:pt x="16119" y="17923"/>
                      </a:lnTo>
                      <a:cubicBezTo>
                        <a:pt x="16120" y="17915"/>
                        <a:pt x="16122" y="17908"/>
                        <a:pt x="16123" y="17900"/>
                      </a:cubicBezTo>
                      <a:cubicBezTo>
                        <a:pt x="16133" y="17837"/>
                        <a:pt x="16154" y="17706"/>
                        <a:pt x="16292" y="17616"/>
                      </a:cubicBezTo>
                      <a:cubicBezTo>
                        <a:pt x="16474" y="17496"/>
                        <a:pt x="16800" y="17505"/>
                        <a:pt x="16982" y="17656"/>
                      </a:cubicBezTo>
                      <a:cubicBezTo>
                        <a:pt x="16995" y="17666"/>
                        <a:pt x="17007" y="17677"/>
                        <a:pt x="17019" y="17688"/>
                      </a:cubicBezTo>
                      <a:cubicBezTo>
                        <a:pt x="17169" y="17688"/>
                        <a:pt x="17301" y="17758"/>
                        <a:pt x="17371" y="17874"/>
                      </a:cubicBezTo>
                      <a:cubicBezTo>
                        <a:pt x="17393" y="17899"/>
                        <a:pt x="17418" y="17926"/>
                        <a:pt x="17441" y="17954"/>
                      </a:cubicBezTo>
                      <a:cubicBezTo>
                        <a:pt x="17464" y="17941"/>
                        <a:pt x="17487" y="17930"/>
                        <a:pt x="17510" y="17920"/>
                      </a:cubicBezTo>
                      <a:cubicBezTo>
                        <a:pt x="17511" y="17903"/>
                        <a:pt x="17512" y="17886"/>
                        <a:pt x="17514" y="17869"/>
                      </a:cubicBezTo>
                      <a:cubicBezTo>
                        <a:pt x="17343" y="17755"/>
                        <a:pt x="17260" y="17671"/>
                        <a:pt x="17233" y="17556"/>
                      </a:cubicBezTo>
                      <a:cubicBezTo>
                        <a:pt x="17212" y="17497"/>
                        <a:pt x="17161" y="17357"/>
                        <a:pt x="17262" y="17219"/>
                      </a:cubicBezTo>
                      <a:lnTo>
                        <a:pt x="17353" y="17094"/>
                      </a:lnTo>
                      <a:lnTo>
                        <a:pt x="17491" y="17073"/>
                      </a:lnTo>
                      <a:cubicBezTo>
                        <a:pt x="17475" y="17044"/>
                        <a:pt x="17460" y="17025"/>
                        <a:pt x="17449" y="17009"/>
                      </a:cubicBezTo>
                      <a:cubicBezTo>
                        <a:pt x="17336" y="16853"/>
                        <a:pt x="17329" y="16710"/>
                        <a:pt x="17429" y="16585"/>
                      </a:cubicBezTo>
                      <a:lnTo>
                        <a:pt x="17451" y="16556"/>
                      </a:lnTo>
                      <a:cubicBezTo>
                        <a:pt x="17459" y="16494"/>
                        <a:pt x="17487" y="16407"/>
                        <a:pt x="17572" y="16331"/>
                      </a:cubicBezTo>
                      <a:cubicBezTo>
                        <a:pt x="17572" y="16323"/>
                        <a:pt x="17571" y="16314"/>
                        <a:pt x="17571" y="16305"/>
                      </a:cubicBezTo>
                      <a:cubicBezTo>
                        <a:pt x="17561" y="16099"/>
                        <a:pt x="17734" y="15850"/>
                        <a:pt x="18137" y="15781"/>
                      </a:cubicBezTo>
                      <a:cubicBezTo>
                        <a:pt x="18121" y="15653"/>
                        <a:pt x="18168" y="15489"/>
                        <a:pt x="18324" y="15382"/>
                      </a:cubicBezTo>
                      <a:cubicBezTo>
                        <a:pt x="18377" y="15347"/>
                        <a:pt x="18423" y="15317"/>
                        <a:pt x="18468" y="15249"/>
                      </a:cubicBezTo>
                      <a:cubicBezTo>
                        <a:pt x="18590" y="15057"/>
                        <a:pt x="18737" y="14823"/>
                        <a:pt x="19043" y="14823"/>
                      </a:cubicBezTo>
                      <a:lnTo>
                        <a:pt x="19217" y="14852"/>
                      </a:lnTo>
                      <a:cubicBezTo>
                        <a:pt x="19346" y="14896"/>
                        <a:pt x="19428" y="14977"/>
                        <a:pt x="19483" y="15053"/>
                      </a:cubicBezTo>
                      <a:cubicBezTo>
                        <a:pt x="19622" y="14939"/>
                        <a:pt x="19740" y="14857"/>
                        <a:pt x="19866" y="14814"/>
                      </a:cubicBezTo>
                      <a:cubicBezTo>
                        <a:pt x="19922" y="14681"/>
                        <a:pt x="19992" y="14550"/>
                        <a:pt x="20166" y="14480"/>
                      </a:cubicBezTo>
                      <a:cubicBezTo>
                        <a:pt x="20190" y="14471"/>
                        <a:pt x="20207" y="14464"/>
                        <a:pt x="20222" y="14458"/>
                      </a:cubicBezTo>
                      <a:cubicBezTo>
                        <a:pt x="20297" y="14274"/>
                        <a:pt x="20398" y="14043"/>
                        <a:pt x="20596" y="13795"/>
                      </a:cubicBezTo>
                      <a:cubicBezTo>
                        <a:pt x="20784" y="13562"/>
                        <a:pt x="20949" y="13382"/>
                        <a:pt x="21087" y="13260"/>
                      </a:cubicBezTo>
                      <a:cubicBezTo>
                        <a:pt x="21113" y="13238"/>
                        <a:pt x="21140" y="13220"/>
                        <a:pt x="21168" y="13206"/>
                      </a:cubicBezTo>
                      <a:cubicBezTo>
                        <a:pt x="21155" y="13078"/>
                        <a:pt x="21152" y="12971"/>
                        <a:pt x="21190" y="12882"/>
                      </a:cubicBezTo>
                      <a:cubicBezTo>
                        <a:pt x="21005" y="12694"/>
                        <a:pt x="20985" y="12528"/>
                        <a:pt x="21103" y="12368"/>
                      </a:cubicBezTo>
                      <a:cubicBezTo>
                        <a:pt x="21133" y="12328"/>
                        <a:pt x="21164" y="12295"/>
                        <a:pt x="21193" y="12269"/>
                      </a:cubicBezTo>
                      <a:cubicBezTo>
                        <a:pt x="21154" y="12185"/>
                        <a:pt x="21098" y="12040"/>
                        <a:pt x="21201" y="11903"/>
                      </a:cubicBezTo>
                      <a:cubicBezTo>
                        <a:pt x="21150" y="11816"/>
                        <a:pt x="21122" y="11724"/>
                        <a:pt x="21146" y="11620"/>
                      </a:cubicBezTo>
                      <a:lnTo>
                        <a:pt x="21178" y="11489"/>
                      </a:lnTo>
                      <a:lnTo>
                        <a:pt x="21324" y="11392"/>
                      </a:lnTo>
                      <a:cubicBezTo>
                        <a:pt x="21327" y="11380"/>
                        <a:pt x="21330" y="11368"/>
                        <a:pt x="21334" y="11355"/>
                      </a:cubicBezTo>
                      <a:cubicBezTo>
                        <a:pt x="21343" y="11324"/>
                        <a:pt x="21359" y="11295"/>
                        <a:pt x="21375" y="11269"/>
                      </a:cubicBezTo>
                      <a:cubicBezTo>
                        <a:pt x="21350" y="11223"/>
                        <a:pt x="21333" y="11168"/>
                        <a:pt x="21336" y="11103"/>
                      </a:cubicBezTo>
                      <a:cubicBezTo>
                        <a:pt x="21346" y="11022"/>
                        <a:pt x="21357" y="10951"/>
                        <a:pt x="21361" y="10899"/>
                      </a:cubicBezTo>
                      <a:cubicBezTo>
                        <a:pt x="21312" y="10847"/>
                        <a:pt x="21291" y="10788"/>
                        <a:pt x="21285" y="10731"/>
                      </a:cubicBezTo>
                      <a:cubicBezTo>
                        <a:pt x="21279" y="10673"/>
                        <a:pt x="21289" y="10617"/>
                        <a:pt x="21305" y="10572"/>
                      </a:cubicBezTo>
                      <a:cubicBezTo>
                        <a:pt x="21322" y="10525"/>
                        <a:pt x="21347" y="10485"/>
                        <a:pt x="21371" y="10451"/>
                      </a:cubicBezTo>
                      <a:cubicBezTo>
                        <a:pt x="21339" y="10333"/>
                        <a:pt x="21331" y="10193"/>
                        <a:pt x="21356" y="10089"/>
                      </a:cubicBezTo>
                      <a:cubicBezTo>
                        <a:pt x="21378" y="10002"/>
                        <a:pt x="21424" y="9934"/>
                        <a:pt x="21464" y="9881"/>
                      </a:cubicBezTo>
                      <a:cubicBezTo>
                        <a:pt x="21431" y="9737"/>
                        <a:pt x="21413" y="9509"/>
                        <a:pt x="21580" y="9364"/>
                      </a:cubicBezTo>
                      <a:cubicBezTo>
                        <a:pt x="21581" y="9364"/>
                        <a:pt x="21581" y="9363"/>
                        <a:pt x="21582" y="9363"/>
                      </a:cubicBezTo>
                      <a:cubicBezTo>
                        <a:pt x="21576" y="9319"/>
                        <a:pt x="21578" y="9272"/>
                        <a:pt x="21594" y="9223"/>
                      </a:cubicBezTo>
                      <a:lnTo>
                        <a:pt x="21600" y="9201"/>
                      </a:lnTo>
                      <a:cubicBezTo>
                        <a:pt x="21566" y="9142"/>
                        <a:pt x="21545" y="9100"/>
                        <a:pt x="21535" y="9041"/>
                      </a:cubicBezTo>
                      <a:cubicBezTo>
                        <a:pt x="21499" y="9020"/>
                        <a:pt x="21464" y="8991"/>
                        <a:pt x="21434" y="8952"/>
                      </a:cubicBezTo>
                      <a:lnTo>
                        <a:pt x="21343" y="8832"/>
                      </a:lnTo>
                      <a:lnTo>
                        <a:pt x="21385" y="8681"/>
                      </a:lnTo>
                      <a:cubicBezTo>
                        <a:pt x="21392" y="8652"/>
                        <a:pt x="21404" y="8626"/>
                        <a:pt x="21419" y="8603"/>
                      </a:cubicBezTo>
                      <a:cubicBezTo>
                        <a:pt x="21404" y="8533"/>
                        <a:pt x="21399" y="8451"/>
                        <a:pt x="21421" y="8362"/>
                      </a:cubicBezTo>
                      <a:cubicBezTo>
                        <a:pt x="21423" y="8355"/>
                        <a:pt x="21425" y="8349"/>
                        <a:pt x="21426" y="8343"/>
                      </a:cubicBezTo>
                      <a:cubicBezTo>
                        <a:pt x="21385" y="8305"/>
                        <a:pt x="21345" y="8260"/>
                        <a:pt x="21312" y="8200"/>
                      </a:cubicBezTo>
                      <a:cubicBezTo>
                        <a:pt x="21275" y="8132"/>
                        <a:pt x="21264" y="8112"/>
                        <a:pt x="21247" y="8093"/>
                      </a:cubicBezTo>
                      <a:cubicBezTo>
                        <a:pt x="21235" y="8083"/>
                        <a:pt x="21211" y="8065"/>
                        <a:pt x="21187" y="8047"/>
                      </a:cubicBezTo>
                      <a:cubicBezTo>
                        <a:pt x="21063" y="7954"/>
                        <a:pt x="20925" y="7848"/>
                        <a:pt x="20925" y="7675"/>
                      </a:cubicBezTo>
                      <a:cubicBezTo>
                        <a:pt x="20925" y="7546"/>
                        <a:pt x="21003" y="7453"/>
                        <a:pt x="21062" y="7389"/>
                      </a:cubicBezTo>
                      <a:cubicBezTo>
                        <a:pt x="21081" y="7309"/>
                        <a:pt x="21128" y="7201"/>
                        <a:pt x="21262" y="7129"/>
                      </a:cubicBezTo>
                      <a:cubicBezTo>
                        <a:pt x="21350" y="7081"/>
                        <a:pt x="21468" y="7064"/>
                        <a:pt x="21552" y="7058"/>
                      </a:cubicBezTo>
                      <a:cubicBezTo>
                        <a:pt x="21557" y="7054"/>
                        <a:pt x="21561" y="7051"/>
                        <a:pt x="21566" y="7048"/>
                      </a:cubicBezTo>
                      <a:lnTo>
                        <a:pt x="19884" y="0"/>
                      </a:lnTo>
                      <a:cubicBezTo>
                        <a:pt x="19650" y="134"/>
                        <a:pt x="19457" y="241"/>
                        <a:pt x="19381" y="284"/>
                      </a:cubicBezTo>
                      <a:cubicBezTo>
                        <a:pt x="19251" y="358"/>
                        <a:pt x="19157" y="399"/>
                        <a:pt x="19043" y="409"/>
                      </a:cubicBezTo>
                      <a:cubicBezTo>
                        <a:pt x="18997" y="461"/>
                        <a:pt x="18946" y="515"/>
                        <a:pt x="18907" y="545"/>
                      </a:cubicBezTo>
                      <a:cubicBezTo>
                        <a:pt x="18852" y="588"/>
                        <a:pt x="18796" y="606"/>
                        <a:pt x="18674" y="648"/>
                      </a:cubicBezTo>
                      <a:cubicBezTo>
                        <a:pt x="18488" y="711"/>
                        <a:pt x="18099" y="842"/>
                        <a:pt x="17847" y="1021"/>
                      </a:cubicBezTo>
                      <a:cubicBezTo>
                        <a:pt x="17599" y="1198"/>
                        <a:pt x="17371" y="1389"/>
                        <a:pt x="17235" y="1502"/>
                      </a:cubicBezTo>
                      <a:cubicBezTo>
                        <a:pt x="17087" y="1626"/>
                        <a:pt x="17052" y="1656"/>
                        <a:pt x="16966" y="1681"/>
                      </a:cubicBezTo>
                      <a:lnTo>
                        <a:pt x="16854" y="1698"/>
                      </a:lnTo>
                      <a:cubicBezTo>
                        <a:pt x="16832" y="1716"/>
                        <a:pt x="16807" y="1736"/>
                        <a:pt x="16777" y="1760"/>
                      </a:cubicBezTo>
                      <a:cubicBezTo>
                        <a:pt x="16712" y="1813"/>
                        <a:pt x="16559" y="1936"/>
                        <a:pt x="16525" y="1979"/>
                      </a:cubicBezTo>
                      <a:cubicBezTo>
                        <a:pt x="16485" y="2043"/>
                        <a:pt x="16377" y="2168"/>
                        <a:pt x="16280" y="2278"/>
                      </a:cubicBezTo>
                      <a:cubicBezTo>
                        <a:pt x="16227" y="2339"/>
                        <a:pt x="16177" y="2394"/>
                        <a:pt x="16156" y="2424"/>
                      </a:cubicBezTo>
                      <a:cubicBezTo>
                        <a:pt x="16113" y="2486"/>
                        <a:pt x="16010" y="2621"/>
                        <a:pt x="15881" y="2701"/>
                      </a:cubicBezTo>
                      <a:cubicBezTo>
                        <a:pt x="15865" y="2719"/>
                        <a:pt x="15849" y="2742"/>
                        <a:pt x="15833" y="2765"/>
                      </a:cubicBezTo>
                      <a:cubicBezTo>
                        <a:pt x="15805" y="2802"/>
                        <a:pt x="15778" y="2837"/>
                        <a:pt x="15757" y="2863"/>
                      </a:cubicBezTo>
                      <a:lnTo>
                        <a:pt x="15703" y="2930"/>
                      </a:lnTo>
                      <a:cubicBezTo>
                        <a:pt x="15523" y="3162"/>
                        <a:pt x="15434" y="3268"/>
                        <a:pt x="15343" y="3324"/>
                      </a:cubicBezTo>
                      <a:lnTo>
                        <a:pt x="15311" y="3358"/>
                      </a:lnTo>
                      <a:cubicBezTo>
                        <a:pt x="15189" y="3493"/>
                        <a:pt x="15022" y="3678"/>
                        <a:pt x="14768" y="3678"/>
                      </a:cubicBezTo>
                      <a:cubicBezTo>
                        <a:pt x="14708" y="3678"/>
                        <a:pt x="14647" y="3670"/>
                        <a:pt x="14587" y="3659"/>
                      </a:cubicBezTo>
                      <a:cubicBezTo>
                        <a:pt x="14475" y="3743"/>
                        <a:pt x="14338" y="3818"/>
                        <a:pt x="14151" y="3818"/>
                      </a:cubicBezTo>
                      <a:lnTo>
                        <a:pt x="14053" y="3817"/>
                      </a:lnTo>
                      <a:cubicBezTo>
                        <a:pt x="13831" y="3816"/>
                        <a:pt x="13668" y="3810"/>
                        <a:pt x="13540" y="3743"/>
                      </a:cubicBezTo>
                      <a:cubicBezTo>
                        <a:pt x="13532" y="3747"/>
                        <a:pt x="13524" y="3752"/>
                        <a:pt x="13518" y="3756"/>
                      </a:cubicBezTo>
                      <a:cubicBezTo>
                        <a:pt x="13489" y="3775"/>
                        <a:pt x="13395" y="3822"/>
                        <a:pt x="13280" y="3878"/>
                      </a:cubicBezTo>
                      <a:cubicBezTo>
                        <a:pt x="13145" y="3943"/>
                        <a:pt x="12969" y="4024"/>
                        <a:pt x="12902" y="4072"/>
                      </a:cubicBezTo>
                      <a:cubicBezTo>
                        <a:pt x="12874" y="4102"/>
                        <a:pt x="12620" y="4350"/>
                        <a:pt x="12446" y="4402"/>
                      </a:cubicBezTo>
                      <a:cubicBezTo>
                        <a:pt x="12419" y="4410"/>
                        <a:pt x="12361" y="4422"/>
                        <a:pt x="12286" y="4434"/>
                      </a:cubicBezTo>
                      <a:cubicBezTo>
                        <a:pt x="12221" y="4445"/>
                        <a:pt x="12135" y="4457"/>
                        <a:pt x="12074" y="4473"/>
                      </a:cubicBezTo>
                      <a:cubicBezTo>
                        <a:pt x="11605" y="4881"/>
                        <a:pt x="11349" y="4881"/>
                        <a:pt x="11264" y="4881"/>
                      </a:cubicBezTo>
                      <a:cubicBezTo>
                        <a:pt x="10968" y="4875"/>
                        <a:pt x="10521" y="4763"/>
                        <a:pt x="10266" y="4586"/>
                      </a:cubicBezTo>
                      <a:cubicBezTo>
                        <a:pt x="10196" y="4538"/>
                        <a:pt x="10110" y="4488"/>
                        <a:pt x="10033" y="4442"/>
                      </a:cubicBezTo>
                      <a:close/>
                      <a:moveTo>
                        <a:pt x="10033" y="4442"/>
                      </a:moveTo>
                    </a:path>
                  </a:pathLst>
                </a:custGeom>
                <a:solidFill>
                  <a:schemeClr val="accent2">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513F3A"/>
                    </a:solidFill>
                    <a:effectLst/>
                    <a:uLnTx/>
                    <a:uFillTx/>
                    <a:latin typeface="Arial"/>
                    <a:ea typeface="Arial"/>
                    <a:cs typeface="Arial"/>
                    <a:sym typeface="Arial"/>
                  </a:endParaRPr>
                </a:p>
              </p:txBody>
            </p:sp>
            <p:sp>
              <p:nvSpPr>
                <p:cNvPr id="74" name="Google Shape;390;p54">
                  <a:extLst>
                    <a:ext uri="{FF2B5EF4-FFF2-40B4-BE49-F238E27FC236}">
                      <a16:creationId xmlns:a16="http://schemas.microsoft.com/office/drawing/2014/main" id="{2FF557FC-BC73-4C66-8FE0-4FC457566AA1}"/>
                    </a:ext>
                  </a:extLst>
                </p:cNvPr>
                <p:cNvSpPr/>
                <p:nvPr/>
              </p:nvSpPr>
              <p:spPr>
                <a:xfrm>
                  <a:off x="3747671" y="1901733"/>
                  <a:ext cx="826092" cy="481194"/>
                </a:xfrm>
                <a:custGeom>
                  <a:avLst/>
                  <a:gdLst/>
                  <a:ahLst/>
                  <a:cxnLst/>
                  <a:rect l="l" t="t" r="r" b="b"/>
                  <a:pathLst>
                    <a:path w="21600" h="21600" extrusionOk="0">
                      <a:moveTo>
                        <a:pt x="727" y="21200"/>
                      </a:moveTo>
                      <a:cubicBezTo>
                        <a:pt x="1030" y="21219"/>
                        <a:pt x="1334" y="21238"/>
                        <a:pt x="1633" y="21256"/>
                      </a:cubicBezTo>
                      <a:cubicBezTo>
                        <a:pt x="1885" y="21270"/>
                        <a:pt x="2132" y="21283"/>
                        <a:pt x="2382" y="21296"/>
                      </a:cubicBezTo>
                      <a:cubicBezTo>
                        <a:pt x="2700" y="21314"/>
                        <a:pt x="3021" y="21332"/>
                        <a:pt x="3337" y="21348"/>
                      </a:cubicBezTo>
                      <a:cubicBezTo>
                        <a:pt x="3576" y="21360"/>
                        <a:pt x="3813" y="21370"/>
                        <a:pt x="4051" y="21381"/>
                      </a:cubicBezTo>
                      <a:cubicBezTo>
                        <a:pt x="4372" y="21396"/>
                        <a:pt x="4695" y="21412"/>
                        <a:pt x="5014" y="21425"/>
                      </a:cubicBezTo>
                      <a:cubicBezTo>
                        <a:pt x="5249" y="21435"/>
                        <a:pt x="5480" y="21443"/>
                        <a:pt x="5714" y="21452"/>
                      </a:cubicBezTo>
                      <a:cubicBezTo>
                        <a:pt x="6030" y="21465"/>
                        <a:pt x="6348" y="21478"/>
                        <a:pt x="6662" y="21488"/>
                      </a:cubicBezTo>
                      <a:cubicBezTo>
                        <a:pt x="6915" y="21497"/>
                        <a:pt x="7166" y="21504"/>
                        <a:pt x="7418" y="21511"/>
                      </a:cubicBezTo>
                      <a:cubicBezTo>
                        <a:pt x="7708" y="21520"/>
                        <a:pt x="8001" y="21530"/>
                        <a:pt x="8290" y="21537"/>
                      </a:cubicBezTo>
                      <a:cubicBezTo>
                        <a:pt x="8559" y="21544"/>
                        <a:pt x="8826" y="21549"/>
                        <a:pt x="9093" y="21555"/>
                      </a:cubicBezTo>
                      <a:cubicBezTo>
                        <a:pt x="9364" y="21561"/>
                        <a:pt x="9635" y="21567"/>
                        <a:pt x="9905" y="21572"/>
                      </a:cubicBezTo>
                      <a:cubicBezTo>
                        <a:pt x="10191" y="21577"/>
                        <a:pt x="10474" y="21580"/>
                        <a:pt x="10758" y="21583"/>
                      </a:cubicBezTo>
                      <a:cubicBezTo>
                        <a:pt x="11006" y="21587"/>
                        <a:pt x="11256" y="21591"/>
                        <a:pt x="11504" y="21593"/>
                      </a:cubicBezTo>
                      <a:cubicBezTo>
                        <a:pt x="12034" y="21598"/>
                        <a:pt x="12562" y="21600"/>
                        <a:pt x="13089" y="21600"/>
                      </a:cubicBezTo>
                      <a:cubicBezTo>
                        <a:pt x="13821" y="21600"/>
                        <a:pt x="14551" y="21595"/>
                        <a:pt x="15277" y="21586"/>
                      </a:cubicBezTo>
                      <a:cubicBezTo>
                        <a:pt x="15519" y="21583"/>
                        <a:pt x="15758" y="21576"/>
                        <a:pt x="16000" y="21572"/>
                      </a:cubicBezTo>
                      <a:cubicBezTo>
                        <a:pt x="16485" y="21564"/>
                        <a:pt x="16970" y="21556"/>
                        <a:pt x="17451" y="21544"/>
                      </a:cubicBezTo>
                      <a:cubicBezTo>
                        <a:pt x="17710" y="21537"/>
                        <a:pt x="17966" y="21527"/>
                        <a:pt x="18225" y="21519"/>
                      </a:cubicBezTo>
                      <a:cubicBezTo>
                        <a:pt x="18685" y="21505"/>
                        <a:pt x="19145" y="21492"/>
                        <a:pt x="19601" y="21474"/>
                      </a:cubicBezTo>
                      <a:cubicBezTo>
                        <a:pt x="19855" y="21464"/>
                        <a:pt x="20105" y="21451"/>
                        <a:pt x="20357" y="21440"/>
                      </a:cubicBezTo>
                      <a:cubicBezTo>
                        <a:pt x="20767" y="21422"/>
                        <a:pt x="21175" y="21404"/>
                        <a:pt x="21580" y="21383"/>
                      </a:cubicBezTo>
                      <a:cubicBezTo>
                        <a:pt x="21579" y="21378"/>
                        <a:pt x="21579" y="21370"/>
                        <a:pt x="21578" y="21367"/>
                      </a:cubicBezTo>
                      <a:cubicBezTo>
                        <a:pt x="21557" y="21232"/>
                        <a:pt x="21519" y="20989"/>
                        <a:pt x="21569" y="20763"/>
                      </a:cubicBezTo>
                      <a:cubicBezTo>
                        <a:pt x="21578" y="20718"/>
                        <a:pt x="21589" y="20678"/>
                        <a:pt x="21600" y="20642"/>
                      </a:cubicBezTo>
                      <a:cubicBezTo>
                        <a:pt x="21589" y="20579"/>
                        <a:pt x="21576" y="20510"/>
                        <a:pt x="21563" y="20437"/>
                      </a:cubicBezTo>
                      <a:cubicBezTo>
                        <a:pt x="21526" y="20219"/>
                        <a:pt x="21488" y="19973"/>
                        <a:pt x="21476" y="19794"/>
                      </a:cubicBezTo>
                      <a:cubicBezTo>
                        <a:pt x="21466" y="19653"/>
                        <a:pt x="21460" y="19451"/>
                        <a:pt x="21455" y="19273"/>
                      </a:cubicBezTo>
                      <a:cubicBezTo>
                        <a:pt x="21454" y="19228"/>
                        <a:pt x="21453" y="19185"/>
                        <a:pt x="21452" y="19147"/>
                      </a:cubicBezTo>
                      <a:cubicBezTo>
                        <a:pt x="21366" y="19073"/>
                        <a:pt x="21287" y="18970"/>
                        <a:pt x="21271" y="18779"/>
                      </a:cubicBezTo>
                      <a:cubicBezTo>
                        <a:pt x="21263" y="18694"/>
                        <a:pt x="21248" y="18601"/>
                        <a:pt x="21240" y="18573"/>
                      </a:cubicBezTo>
                      <a:cubicBezTo>
                        <a:pt x="21181" y="18506"/>
                        <a:pt x="21085" y="18368"/>
                        <a:pt x="21066" y="18149"/>
                      </a:cubicBezTo>
                      <a:cubicBezTo>
                        <a:pt x="21064" y="18125"/>
                        <a:pt x="21062" y="18103"/>
                        <a:pt x="21062" y="18082"/>
                      </a:cubicBezTo>
                      <a:cubicBezTo>
                        <a:pt x="21026" y="18009"/>
                        <a:pt x="21000" y="17912"/>
                        <a:pt x="21000" y="17768"/>
                      </a:cubicBezTo>
                      <a:lnTo>
                        <a:pt x="21003" y="17674"/>
                      </a:lnTo>
                      <a:cubicBezTo>
                        <a:pt x="21004" y="17633"/>
                        <a:pt x="21007" y="17583"/>
                        <a:pt x="21004" y="17544"/>
                      </a:cubicBezTo>
                      <a:cubicBezTo>
                        <a:pt x="20998" y="17516"/>
                        <a:pt x="20977" y="17431"/>
                        <a:pt x="20953" y="17334"/>
                      </a:cubicBezTo>
                      <a:cubicBezTo>
                        <a:pt x="20923" y="17218"/>
                        <a:pt x="20889" y="17085"/>
                        <a:pt x="20869" y="17005"/>
                      </a:cubicBezTo>
                      <a:cubicBezTo>
                        <a:pt x="20836" y="16880"/>
                        <a:pt x="20785" y="16681"/>
                        <a:pt x="20801" y="16492"/>
                      </a:cubicBezTo>
                      <a:cubicBezTo>
                        <a:pt x="20806" y="16430"/>
                        <a:pt x="20818" y="16368"/>
                        <a:pt x="20842" y="16311"/>
                      </a:cubicBezTo>
                      <a:lnTo>
                        <a:pt x="20838" y="16283"/>
                      </a:lnTo>
                      <a:lnTo>
                        <a:pt x="20840" y="16184"/>
                      </a:lnTo>
                      <a:cubicBezTo>
                        <a:pt x="20843" y="16135"/>
                        <a:pt x="20851" y="16094"/>
                        <a:pt x="20857" y="16061"/>
                      </a:cubicBezTo>
                      <a:cubicBezTo>
                        <a:pt x="20846" y="15953"/>
                        <a:pt x="20837" y="15862"/>
                        <a:pt x="20827" y="15811"/>
                      </a:cubicBezTo>
                      <a:cubicBezTo>
                        <a:pt x="20809" y="15739"/>
                        <a:pt x="20719" y="15347"/>
                        <a:pt x="20832" y="15089"/>
                      </a:cubicBezTo>
                      <a:cubicBezTo>
                        <a:pt x="20816" y="15125"/>
                        <a:pt x="20820" y="15041"/>
                        <a:pt x="20820" y="14988"/>
                      </a:cubicBezTo>
                      <a:cubicBezTo>
                        <a:pt x="20820" y="14940"/>
                        <a:pt x="20825" y="14893"/>
                        <a:pt x="20832" y="14848"/>
                      </a:cubicBezTo>
                      <a:cubicBezTo>
                        <a:pt x="20782" y="14764"/>
                        <a:pt x="20770" y="14664"/>
                        <a:pt x="20767" y="14605"/>
                      </a:cubicBezTo>
                      <a:cubicBezTo>
                        <a:pt x="20713" y="14511"/>
                        <a:pt x="20697" y="14398"/>
                        <a:pt x="20693" y="14325"/>
                      </a:cubicBezTo>
                      <a:cubicBezTo>
                        <a:pt x="20666" y="14222"/>
                        <a:pt x="20619" y="14016"/>
                        <a:pt x="20697" y="13807"/>
                      </a:cubicBezTo>
                      <a:lnTo>
                        <a:pt x="20716" y="13816"/>
                      </a:lnTo>
                      <a:cubicBezTo>
                        <a:pt x="20713" y="13775"/>
                        <a:pt x="20706" y="13716"/>
                        <a:pt x="20699" y="13652"/>
                      </a:cubicBezTo>
                      <a:cubicBezTo>
                        <a:pt x="20682" y="13495"/>
                        <a:pt x="20665" y="13316"/>
                        <a:pt x="20664" y="13223"/>
                      </a:cubicBezTo>
                      <a:lnTo>
                        <a:pt x="20665" y="13062"/>
                      </a:lnTo>
                      <a:cubicBezTo>
                        <a:pt x="20665" y="13032"/>
                        <a:pt x="20666" y="13003"/>
                        <a:pt x="20666" y="12979"/>
                      </a:cubicBezTo>
                      <a:cubicBezTo>
                        <a:pt x="20609" y="12804"/>
                        <a:pt x="20611" y="12666"/>
                        <a:pt x="20630" y="12565"/>
                      </a:cubicBezTo>
                      <a:lnTo>
                        <a:pt x="20619" y="12460"/>
                      </a:lnTo>
                      <a:cubicBezTo>
                        <a:pt x="20590" y="12146"/>
                        <a:pt x="20582" y="12019"/>
                        <a:pt x="20612" y="11893"/>
                      </a:cubicBezTo>
                      <a:cubicBezTo>
                        <a:pt x="20604" y="11919"/>
                        <a:pt x="20602" y="11849"/>
                        <a:pt x="20596" y="11806"/>
                      </a:cubicBezTo>
                      <a:cubicBezTo>
                        <a:pt x="20569" y="11616"/>
                        <a:pt x="20559" y="11501"/>
                        <a:pt x="20565" y="11407"/>
                      </a:cubicBezTo>
                      <a:cubicBezTo>
                        <a:pt x="20514" y="11297"/>
                        <a:pt x="20511" y="11171"/>
                        <a:pt x="20511" y="11149"/>
                      </a:cubicBezTo>
                      <a:cubicBezTo>
                        <a:pt x="20503" y="10794"/>
                        <a:pt x="20504" y="10666"/>
                        <a:pt x="20516" y="10575"/>
                      </a:cubicBezTo>
                      <a:lnTo>
                        <a:pt x="20521" y="10534"/>
                      </a:lnTo>
                      <a:cubicBezTo>
                        <a:pt x="20480" y="10384"/>
                        <a:pt x="20491" y="10262"/>
                        <a:pt x="20511" y="10179"/>
                      </a:cubicBezTo>
                      <a:cubicBezTo>
                        <a:pt x="20516" y="10130"/>
                        <a:pt x="20522" y="10038"/>
                        <a:pt x="20523" y="9972"/>
                      </a:cubicBezTo>
                      <a:cubicBezTo>
                        <a:pt x="20473" y="9873"/>
                        <a:pt x="20434" y="9780"/>
                        <a:pt x="20426" y="9656"/>
                      </a:cubicBezTo>
                      <a:cubicBezTo>
                        <a:pt x="20418" y="9536"/>
                        <a:pt x="20400" y="9418"/>
                        <a:pt x="20377" y="9332"/>
                      </a:cubicBezTo>
                      <a:cubicBezTo>
                        <a:pt x="20349" y="9227"/>
                        <a:pt x="20325" y="9087"/>
                        <a:pt x="20303" y="8960"/>
                      </a:cubicBezTo>
                      <a:cubicBezTo>
                        <a:pt x="20292" y="8893"/>
                        <a:pt x="20283" y="8831"/>
                        <a:pt x="20273" y="8792"/>
                      </a:cubicBezTo>
                      <a:cubicBezTo>
                        <a:pt x="20224" y="8730"/>
                        <a:pt x="20134" y="8582"/>
                        <a:pt x="20128" y="8355"/>
                      </a:cubicBezTo>
                      <a:cubicBezTo>
                        <a:pt x="20124" y="8325"/>
                        <a:pt x="20092" y="8191"/>
                        <a:pt x="20077" y="8151"/>
                      </a:cubicBezTo>
                      <a:cubicBezTo>
                        <a:pt x="19980" y="8015"/>
                        <a:pt x="19980" y="7817"/>
                        <a:pt x="19980" y="7743"/>
                      </a:cubicBezTo>
                      <a:lnTo>
                        <a:pt x="19983" y="7671"/>
                      </a:lnTo>
                      <a:cubicBezTo>
                        <a:pt x="19934" y="7583"/>
                        <a:pt x="19883" y="7468"/>
                        <a:pt x="19883" y="7292"/>
                      </a:cubicBezTo>
                      <a:cubicBezTo>
                        <a:pt x="19882" y="7225"/>
                        <a:pt x="19863" y="6971"/>
                        <a:pt x="19846" y="6830"/>
                      </a:cubicBezTo>
                      <a:cubicBezTo>
                        <a:pt x="19811" y="6779"/>
                        <a:pt x="19769" y="6694"/>
                        <a:pt x="19751" y="6558"/>
                      </a:cubicBezTo>
                      <a:lnTo>
                        <a:pt x="19742" y="6472"/>
                      </a:lnTo>
                      <a:cubicBezTo>
                        <a:pt x="19700" y="6334"/>
                        <a:pt x="19609" y="5904"/>
                        <a:pt x="19609" y="5723"/>
                      </a:cubicBezTo>
                      <a:cubicBezTo>
                        <a:pt x="19609" y="5665"/>
                        <a:pt x="19614" y="5585"/>
                        <a:pt x="19620" y="5506"/>
                      </a:cubicBezTo>
                      <a:cubicBezTo>
                        <a:pt x="19623" y="5466"/>
                        <a:pt x="19626" y="5427"/>
                        <a:pt x="19626" y="5399"/>
                      </a:cubicBezTo>
                      <a:cubicBezTo>
                        <a:pt x="19623" y="5376"/>
                        <a:pt x="19617" y="5337"/>
                        <a:pt x="19616" y="5285"/>
                      </a:cubicBezTo>
                      <a:cubicBezTo>
                        <a:pt x="19614" y="5233"/>
                        <a:pt x="19617" y="5169"/>
                        <a:pt x="19628" y="5095"/>
                      </a:cubicBezTo>
                      <a:cubicBezTo>
                        <a:pt x="19654" y="4941"/>
                        <a:pt x="19664" y="4862"/>
                        <a:pt x="19662" y="4827"/>
                      </a:cubicBezTo>
                      <a:cubicBezTo>
                        <a:pt x="19658" y="4816"/>
                        <a:pt x="19646" y="4765"/>
                        <a:pt x="19633" y="4716"/>
                      </a:cubicBezTo>
                      <a:cubicBezTo>
                        <a:pt x="19590" y="4543"/>
                        <a:pt x="19552" y="4392"/>
                        <a:pt x="19581" y="4230"/>
                      </a:cubicBezTo>
                      <a:cubicBezTo>
                        <a:pt x="19568" y="4116"/>
                        <a:pt x="19584" y="4018"/>
                        <a:pt x="19608" y="3943"/>
                      </a:cubicBezTo>
                      <a:cubicBezTo>
                        <a:pt x="19604" y="3901"/>
                        <a:pt x="19594" y="3792"/>
                        <a:pt x="19588" y="3756"/>
                      </a:cubicBezTo>
                      <a:cubicBezTo>
                        <a:pt x="19564" y="3652"/>
                        <a:pt x="19558" y="3557"/>
                        <a:pt x="19569" y="3470"/>
                      </a:cubicBezTo>
                      <a:cubicBezTo>
                        <a:pt x="19558" y="3422"/>
                        <a:pt x="19550" y="3364"/>
                        <a:pt x="19550" y="3298"/>
                      </a:cubicBezTo>
                      <a:cubicBezTo>
                        <a:pt x="19550" y="3292"/>
                        <a:pt x="19549" y="3283"/>
                        <a:pt x="19549" y="3275"/>
                      </a:cubicBezTo>
                      <a:lnTo>
                        <a:pt x="19459" y="3105"/>
                      </a:lnTo>
                      <a:lnTo>
                        <a:pt x="19550" y="2788"/>
                      </a:lnTo>
                      <a:cubicBezTo>
                        <a:pt x="19551" y="2785"/>
                        <a:pt x="19567" y="2721"/>
                        <a:pt x="19571" y="2698"/>
                      </a:cubicBezTo>
                      <a:cubicBezTo>
                        <a:pt x="19563" y="2652"/>
                        <a:pt x="19557" y="2465"/>
                        <a:pt x="19639" y="2310"/>
                      </a:cubicBezTo>
                      <a:cubicBezTo>
                        <a:pt x="19664" y="2227"/>
                        <a:pt x="19670" y="2161"/>
                        <a:pt x="19668" y="2137"/>
                      </a:cubicBezTo>
                      <a:cubicBezTo>
                        <a:pt x="19657" y="2091"/>
                        <a:pt x="19634" y="2019"/>
                        <a:pt x="19613" y="1949"/>
                      </a:cubicBezTo>
                      <a:cubicBezTo>
                        <a:pt x="19578" y="1833"/>
                        <a:pt x="19547" y="1734"/>
                        <a:pt x="19532" y="1642"/>
                      </a:cubicBezTo>
                      <a:cubicBezTo>
                        <a:pt x="19519" y="1560"/>
                        <a:pt x="19480" y="1358"/>
                        <a:pt x="19464" y="1296"/>
                      </a:cubicBezTo>
                      <a:cubicBezTo>
                        <a:pt x="19427" y="1188"/>
                        <a:pt x="19408" y="1033"/>
                        <a:pt x="19432" y="893"/>
                      </a:cubicBezTo>
                      <a:cubicBezTo>
                        <a:pt x="19426" y="871"/>
                        <a:pt x="19420" y="847"/>
                        <a:pt x="19413" y="820"/>
                      </a:cubicBezTo>
                      <a:lnTo>
                        <a:pt x="19394" y="746"/>
                      </a:lnTo>
                      <a:cubicBezTo>
                        <a:pt x="19394" y="746"/>
                        <a:pt x="19388" y="723"/>
                        <a:pt x="19377" y="688"/>
                      </a:cubicBezTo>
                      <a:cubicBezTo>
                        <a:pt x="19374" y="674"/>
                        <a:pt x="19371" y="664"/>
                        <a:pt x="19366" y="646"/>
                      </a:cubicBezTo>
                      <a:cubicBezTo>
                        <a:pt x="19357" y="614"/>
                        <a:pt x="19348" y="579"/>
                        <a:pt x="19337" y="536"/>
                      </a:cubicBezTo>
                      <a:cubicBezTo>
                        <a:pt x="19331" y="511"/>
                        <a:pt x="19326" y="490"/>
                        <a:pt x="19319" y="463"/>
                      </a:cubicBezTo>
                      <a:cubicBezTo>
                        <a:pt x="19309" y="421"/>
                        <a:pt x="19301" y="380"/>
                        <a:pt x="19292" y="336"/>
                      </a:cubicBezTo>
                      <a:cubicBezTo>
                        <a:pt x="19286" y="310"/>
                        <a:pt x="19282" y="286"/>
                        <a:pt x="19277" y="261"/>
                      </a:cubicBezTo>
                      <a:cubicBezTo>
                        <a:pt x="19275" y="248"/>
                        <a:pt x="19272" y="235"/>
                        <a:pt x="19270" y="222"/>
                      </a:cubicBezTo>
                      <a:cubicBezTo>
                        <a:pt x="16816" y="342"/>
                        <a:pt x="14315" y="403"/>
                        <a:pt x="11834" y="403"/>
                      </a:cubicBezTo>
                      <a:cubicBezTo>
                        <a:pt x="8124" y="403"/>
                        <a:pt x="4327" y="267"/>
                        <a:pt x="543" y="0"/>
                      </a:cubicBezTo>
                      <a:lnTo>
                        <a:pt x="0" y="21155"/>
                      </a:lnTo>
                      <a:cubicBezTo>
                        <a:pt x="244" y="21171"/>
                        <a:pt x="485" y="21185"/>
                        <a:pt x="727" y="21200"/>
                      </a:cubicBezTo>
                      <a:close/>
                      <a:moveTo>
                        <a:pt x="727" y="21200"/>
                      </a:moveTo>
                    </a:path>
                  </a:pathLst>
                </a:custGeom>
                <a:solidFill>
                  <a:schemeClr val="accent1">
                    <a:lumMod val="40000"/>
                    <a:lumOff val="6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2400"/>
                    <a:buFontTx/>
                    <a:buNone/>
                    <a:tabLst/>
                    <a:defRPr/>
                  </a:pPr>
                  <a:endParaRPr kumimoji="0" sz="1800" b="1"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75" name="Google Shape;391;p54">
                  <a:extLst>
                    <a:ext uri="{FF2B5EF4-FFF2-40B4-BE49-F238E27FC236}">
                      <a16:creationId xmlns:a16="http://schemas.microsoft.com/office/drawing/2014/main" id="{80526765-40A9-41D1-813B-364045A3E0DD}"/>
                    </a:ext>
                  </a:extLst>
                </p:cNvPr>
                <p:cNvSpPr/>
                <p:nvPr/>
              </p:nvSpPr>
              <p:spPr>
                <a:xfrm>
                  <a:off x="4502858" y="1840501"/>
                  <a:ext cx="800064" cy="930204"/>
                </a:xfrm>
                <a:custGeom>
                  <a:avLst/>
                  <a:gdLst/>
                  <a:ahLst/>
                  <a:cxnLst/>
                  <a:rect l="l" t="t" r="r" b="b"/>
                  <a:pathLst>
                    <a:path w="21600" h="21600" extrusionOk="0">
                      <a:moveTo>
                        <a:pt x="0" y="1558"/>
                      </a:moveTo>
                      <a:cubicBezTo>
                        <a:pt x="18" y="1593"/>
                        <a:pt x="37" y="1630"/>
                        <a:pt x="46" y="1644"/>
                      </a:cubicBezTo>
                      <a:cubicBezTo>
                        <a:pt x="54" y="1656"/>
                        <a:pt x="70" y="1686"/>
                        <a:pt x="87" y="1719"/>
                      </a:cubicBezTo>
                      <a:cubicBezTo>
                        <a:pt x="96" y="1738"/>
                        <a:pt x="106" y="1758"/>
                        <a:pt x="114" y="1770"/>
                      </a:cubicBezTo>
                      <a:cubicBezTo>
                        <a:pt x="167" y="1830"/>
                        <a:pt x="174" y="1914"/>
                        <a:pt x="150" y="1989"/>
                      </a:cubicBezTo>
                      <a:cubicBezTo>
                        <a:pt x="188" y="2071"/>
                        <a:pt x="231" y="2194"/>
                        <a:pt x="231" y="2196"/>
                      </a:cubicBezTo>
                      <a:cubicBezTo>
                        <a:pt x="239" y="2214"/>
                        <a:pt x="258" y="2244"/>
                        <a:pt x="278" y="2276"/>
                      </a:cubicBezTo>
                      <a:cubicBezTo>
                        <a:pt x="312" y="2331"/>
                        <a:pt x="345" y="2388"/>
                        <a:pt x="363" y="2430"/>
                      </a:cubicBezTo>
                      <a:cubicBezTo>
                        <a:pt x="430" y="2589"/>
                        <a:pt x="347" y="2769"/>
                        <a:pt x="346" y="2771"/>
                      </a:cubicBezTo>
                      <a:cubicBezTo>
                        <a:pt x="331" y="2803"/>
                        <a:pt x="308" y="2838"/>
                        <a:pt x="283" y="2871"/>
                      </a:cubicBezTo>
                      <a:cubicBezTo>
                        <a:pt x="284" y="2894"/>
                        <a:pt x="283" y="2917"/>
                        <a:pt x="276" y="2941"/>
                      </a:cubicBezTo>
                      <a:cubicBezTo>
                        <a:pt x="272" y="2963"/>
                        <a:pt x="260" y="2992"/>
                        <a:pt x="246" y="3021"/>
                      </a:cubicBezTo>
                      <a:cubicBezTo>
                        <a:pt x="248" y="3026"/>
                        <a:pt x="248" y="3031"/>
                        <a:pt x="249" y="3036"/>
                      </a:cubicBezTo>
                      <a:cubicBezTo>
                        <a:pt x="255" y="3063"/>
                        <a:pt x="260" y="3089"/>
                        <a:pt x="263" y="3112"/>
                      </a:cubicBezTo>
                      <a:lnTo>
                        <a:pt x="280" y="3133"/>
                      </a:lnTo>
                      <a:cubicBezTo>
                        <a:pt x="303" y="3169"/>
                        <a:pt x="336" y="3242"/>
                        <a:pt x="297" y="3327"/>
                      </a:cubicBezTo>
                      <a:cubicBezTo>
                        <a:pt x="316" y="3401"/>
                        <a:pt x="333" y="3494"/>
                        <a:pt x="326" y="3545"/>
                      </a:cubicBezTo>
                      <a:cubicBezTo>
                        <a:pt x="322" y="3578"/>
                        <a:pt x="314" y="3610"/>
                        <a:pt x="301" y="3639"/>
                      </a:cubicBezTo>
                      <a:cubicBezTo>
                        <a:pt x="301" y="3661"/>
                        <a:pt x="300" y="3681"/>
                        <a:pt x="296" y="3701"/>
                      </a:cubicBezTo>
                      <a:cubicBezTo>
                        <a:pt x="302" y="3712"/>
                        <a:pt x="308" y="3724"/>
                        <a:pt x="314" y="3736"/>
                      </a:cubicBezTo>
                      <a:cubicBezTo>
                        <a:pt x="332" y="3773"/>
                        <a:pt x="351" y="3811"/>
                        <a:pt x="363" y="3841"/>
                      </a:cubicBezTo>
                      <a:cubicBezTo>
                        <a:pt x="406" y="3953"/>
                        <a:pt x="371" y="4077"/>
                        <a:pt x="335" y="4186"/>
                      </a:cubicBezTo>
                      <a:cubicBezTo>
                        <a:pt x="336" y="4186"/>
                        <a:pt x="336" y="4186"/>
                        <a:pt x="336" y="4186"/>
                      </a:cubicBezTo>
                      <a:cubicBezTo>
                        <a:pt x="339" y="4186"/>
                        <a:pt x="346" y="4213"/>
                        <a:pt x="346" y="4250"/>
                      </a:cubicBezTo>
                      <a:cubicBezTo>
                        <a:pt x="346" y="4275"/>
                        <a:pt x="341" y="4314"/>
                        <a:pt x="336" y="4353"/>
                      </a:cubicBezTo>
                      <a:cubicBezTo>
                        <a:pt x="332" y="4376"/>
                        <a:pt x="328" y="4400"/>
                        <a:pt x="328" y="4417"/>
                      </a:cubicBezTo>
                      <a:cubicBezTo>
                        <a:pt x="333" y="4435"/>
                        <a:pt x="380" y="4548"/>
                        <a:pt x="397" y="4577"/>
                      </a:cubicBezTo>
                      <a:cubicBezTo>
                        <a:pt x="430" y="4617"/>
                        <a:pt x="445" y="4668"/>
                        <a:pt x="454" y="4710"/>
                      </a:cubicBezTo>
                      <a:cubicBezTo>
                        <a:pt x="566" y="4791"/>
                        <a:pt x="599" y="5047"/>
                        <a:pt x="608" y="5167"/>
                      </a:cubicBezTo>
                      <a:cubicBezTo>
                        <a:pt x="619" y="5177"/>
                        <a:pt x="630" y="5187"/>
                        <a:pt x="640" y="5198"/>
                      </a:cubicBezTo>
                      <a:cubicBezTo>
                        <a:pt x="718" y="5279"/>
                        <a:pt x="721" y="5373"/>
                        <a:pt x="716" y="5431"/>
                      </a:cubicBezTo>
                      <a:cubicBezTo>
                        <a:pt x="783" y="5508"/>
                        <a:pt x="836" y="5630"/>
                        <a:pt x="855" y="5711"/>
                      </a:cubicBezTo>
                      <a:lnTo>
                        <a:pt x="913" y="5762"/>
                      </a:lnTo>
                      <a:cubicBezTo>
                        <a:pt x="972" y="5817"/>
                        <a:pt x="995" y="5886"/>
                        <a:pt x="1026" y="5981"/>
                      </a:cubicBezTo>
                      <a:cubicBezTo>
                        <a:pt x="1042" y="6027"/>
                        <a:pt x="1057" y="6078"/>
                        <a:pt x="1078" y="6116"/>
                      </a:cubicBezTo>
                      <a:cubicBezTo>
                        <a:pt x="1123" y="6201"/>
                        <a:pt x="1147" y="6290"/>
                        <a:pt x="1160" y="6354"/>
                      </a:cubicBezTo>
                      <a:lnTo>
                        <a:pt x="1202" y="6394"/>
                      </a:lnTo>
                      <a:cubicBezTo>
                        <a:pt x="1282" y="6478"/>
                        <a:pt x="1281" y="6650"/>
                        <a:pt x="1253" y="6778"/>
                      </a:cubicBezTo>
                      <a:cubicBezTo>
                        <a:pt x="1260" y="6793"/>
                        <a:pt x="1267" y="6810"/>
                        <a:pt x="1271" y="6829"/>
                      </a:cubicBezTo>
                      <a:cubicBezTo>
                        <a:pt x="1285" y="6895"/>
                        <a:pt x="1271" y="6947"/>
                        <a:pt x="1260" y="6988"/>
                      </a:cubicBezTo>
                      <a:cubicBezTo>
                        <a:pt x="1255" y="7021"/>
                        <a:pt x="1254" y="7063"/>
                        <a:pt x="1255" y="7103"/>
                      </a:cubicBezTo>
                      <a:cubicBezTo>
                        <a:pt x="1355" y="7181"/>
                        <a:pt x="1348" y="7301"/>
                        <a:pt x="1316" y="7402"/>
                      </a:cubicBezTo>
                      <a:cubicBezTo>
                        <a:pt x="1320" y="7423"/>
                        <a:pt x="1328" y="7449"/>
                        <a:pt x="1334" y="7472"/>
                      </a:cubicBezTo>
                      <a:cubicBezTo>
                        <a:pt x="1346" y="7516"/>
                        <a:pt x="1366" y="7628"/>
                        <a:pt x="1345" y="7717"/>
                      </a:cubicBezTo>
                      <a:cubicBezTo>
                        <a:pt x="1347" y="7748"/>
                        <a:pt x="1356" y="7794"/>
                        <a:pt x="1362" y="7823"/>
                      </a:cubicBezTo>
                      <a:lnTo>
                        <a:pt x="1369" y="7869"/>
                      </a:lnTo>
                      <a:cubicBezTo>
                        <a:pt x="1378" y="7903"/>
                        <a:pt x="1391" y="7956"/>
                        <a:pt x="1384" y="8012"/>
                      </a:cubicBezTo>
                      <a:cubicBezTo>
                        <a:pt x="1388" y="8018"/>
                        <a:pt x="1391" y="8024"/>
                        <a:pt x="1393" y="8030"/>
                      </a:cubicBezTo>
                      <a:cubicBezTo>
                        <a:pt x="1423" y="8090"/>
                        <a:pt x="1420" y="8153"/>
                        <a:pt x="1418" y="8227"/>
                      </a:cubicBezTo>
                      <a:lnTo>
                        <a:pt x="1417" y="8293"/>
                      </a:lnTo>
                      <a:cubicBezTo>
                        <a:pt x="1418" y="8325"/>
                        <a:pt x="1433" y="8391"/>
                        <a:pt x="1446" y="8449"/>
                      </a:cubicBezTo>
                      <a:cubicBezTo>
                        <a:pt x="1468" y="8557"/>
                        <a:pt x="1476" y="8596"/>
                        <a:pt x="1470" y="8639"/>
                      </a:cubicBezTo>
                      <a:cubicBezTo>
                        <a:pt x="1464" y="8681"/>
                        <a:pt x="1448" y="8715"/>
                        <a:pt x="1431" y="8744"/>
                      </a:cubicBezTo>
                      <a:lnTo>
                        <a:pt x="1468" y="8771"/>
                      </a:lnTo>
                      <a:cubicBezTo>
                        <a:pt x="1488" y="8790"/>
                        <a:pt x="1502" y="8811"/>
                        <a:pt x="1512" y="8833"/>
                      </a:cubicBezTo>
                      <a:lnTo>
                        <a:pt x="1556" y="8840"/>
                      </a:lnTo>
                      <a:lnTo>
                        <a:pt x="1616" y="8931"/>
                      </a:lnTo>
                      <a:cubicBezTo>
                        <a:pt x="1678" y="9031"/>
                        <a:pt x="1631" y="9130"/>
                        <a:pt x="1592" y="9209"/>
                      </a:cubicBezTo>
                      <a:cubicBezTo>
                        <a:pt x="1585" y="9224"/>
                        <a:pt x="1577" y="9238"/>
                        <a:pt x="1574" y="9250"/>
                      </a:cubicBezTo>
                      <a:cubicBezTo>
                        <a:pt x="1577" y="9291"/>
                        <a:pt x="1570" y="9374"/>
                        <a:pt x="1536" y="9446"/>
                      </a:cubicBezTo>
                      <a:cubicBezTo>
                        <a:pt x="1539" y="9458"/>
                        <a:pt x="1544" y="9473"/>
                        <a:pt x="1547" y="9481"/>
                      </a:cubicBezTo>
                      <a:cubicBezTo>
                        <a:pt x="1572" y="9527"/>
                        <a:pt x="1589" y="9595"/>
                        <a:pt x="1610" y="9704"/>
                      </a:cubicBezTo>
                      <a:cubicBezTo>
                        <a:pt x="1628" y="9786"/>
                        <a:pt x="1614" y="9841"/>
                        <a:pt x="1601" y="9876"/>
                      </a:cubicBezTo>
                      <a:lnTo>
                        <a:pt x="1605" y="9915"/>
                      </a:lnTo>
                      <a:cubicBezTo>
                        <a:pt x="1605" y="9954"/>
                        <a:pt x="1592" y="10005"/>
                        <a:pt x="1568" y="10053"/>
                      </a:cubicBezTo>
                      <a:cubicBezTo>
                        <a:pt x="1570" y="10057"/>
                        <a:pt x="1572" y="10060"/>
                        <a:pt x="1574" y="10064"/>
                      </a:cubicBezTo>
                      <a:cubicBezTo>
                        <a:pt x="1634" y="10183"/>
                        <a:pt x="1739" y="10392"/>
                        <a:pt x="1752" y="10432"/>
                      </a:cubicBezTo>
                      <a:cubicBezTo>
                        <a:pt x="1771" y="10486"/>
                        <a:pt x="1771" y="10543"/>
                        <a:pt x="1767" y="10605"/>
                      </a:cubicBezTo>
                      <a:cubicBezTo>
                        <a:pt x="1815" y="10664"/>
                        <a:pt x="1822" y="10719"/>
                        <a:pt x="1824" y="10754"/>
                      </a:cubicBezTo>
                      <a:cubicBezTo>
                        <a:pt x="1830" y="10758"/>
                        <a:pt x="1836" y="10762"/>
                        <a:pt x="1842" y="10766"/>
                      </a:cubicBezTo>
                      <a:cubicBezTo>
                        <a:pt x="1868" y="10785"/>
                        <a:pt x="1891" y="10803"/>
                        <a:pt x="1908" y="10819"/>
                      </a:cubicBezTo>
                      <a:cubicBezTo>
                        <a:pt x="1930" y="10839"/>
                        <a:pt x="1977" y="10884"/>
                        <a:pt x="2017" y="11021"/>
                      </a:cubicBezTo>
                      <a:cubicBezTo>
                        <a:pt x="2070" y="11041"/>
                        <a:pt x="2125" y="11063"/>
                        <a:pt x="2167" y="11110"/>
                      </a:cubicBezTo>
                      <a:cubicBezTo>
                        <a:pt x="2221" y="11173"/>
                        <a:pt x="2223" y="11223"/>
                        <a:pt x="2233" y="11412"/>
                      </a:cubicBezTo>
                      <a:cubicBezTo>
                        <a:pt x="2238" y="11493"/>
                        <a:pt x="2243" y="11586"/>
                        <a:pt x="2252" y="11652"/>
                      </a:cubicBezTo>
                      <a:cubicBezTo>
                        <a:pt x="2263" y="11730"/>
                        <a:pt x="2312" y="11890"/>
                        <a:pt x="2382" y="12071"/>
                      </a:cubicBezTo>
                      <a:cubicBezTo>
                        <a:pt x="2424" y="12179"/>
                        <a:pt x="2369" y="12265"/>
                        <a:pt x="2342" y="12306"/>
                      </a:cubicBezTo>
                      <a:cubicBezTo>
                        <a:pt x="2336" y="12316"/>
                        <a:pt x="2328" y="12327"/>
                        <a:pt x="2322" y="12342"/>
                      </a:cubicBezTo>
                      <a:cubicBezTo>
                        <a:pt x="2325" y="12344"/>
                        <a:pt x="2337" y="12386"/>
                        <a:pt x="2342" y="12400"/>
                      </a:cubicBezTo>
                      <a:cubicBezTo>
                        <a:pt x="2346" y="12413"/>
                        <a:pt x="2355" y="12459"/>
                        <a:pt x="2364" y="12511"/>
                      </a:cubicBezTo>
                      <a:lnTo>
                        <a:pt x="2389" y="12510"/>
                      </a:lnTo>
                      <a:lnTo>
                        <a:pt x="2368" y="12873"/>
                      </a:lnTo>
                      <a:cubicBezTo>
                        <a:pt x="2368" y="12885"/>
                        <a:pt x="2367" y="12898"/>
                        <a:pt x="2366" y="12910"/>
                      </a:cubicBezTo>
                      <a:cubicBezTo>
                        <a:pt x="2362" y="13016"/>
                        <a:pt x="2355" y="13122"/>
                        <a:pt x="2350" y="13147"/>
                      </a:cubicBezTo>
                      <a:cubicBezTo>
                        <a:pt x="2333" y="13230"/>
                        <a:pt x="2267" y="13296"/>
                        <a:pt x="2196" y="13365"/>
                      </a:cubicBezTo>
                      <a:cubicBezTo>
                        <a:pt x="2181" y="13381"/>
                        <a:pt x="2165" y="13395"/>
                        <a:pt x="2156" y="13406"/>
                      </a:cubicBezTo>
                      <a:cubicBezTo>
                        <a:pt x="2160" y="13413"/>
                        <a:pt x="2151" y="13451"/>
                        <a:pt x="2120" y="13498"/>
                      </a:cubicBezTo>
                      <a:cubicBezTo>
                        <a:pt x="2064" y="13584"/>
                        <a:pt x="1966" y="13654"/>
                        <a:pt x="1847" y="13694"/>
                      </a:cubicBezTo>
                      <a:cubicBezTo>
                        <a:pt x="1847" y="13695"/>
                        <a:pt x="1827" y="13717"/>
                        <a:pt x="1813" y="13731"/>
                      </a:cubicBezTo>
                      <a:cubicBezTo>
                        <a:pt x="1792" y="13752"/>
                        <a:pt x="1772" y="13773"/>
                        <a:pt x="1749" y="13792"/>
                      </a:cubicBezTo>
                      <a:cubicBezTo>
                        <a:pt x="1695" y="13839"/>
                        <a:pt x="1637" y="13866"/>
                        <a:pt x="1590" y="13887"/>
                      </a:cubicBezTo>
                      <a:cubicBezTo>
                        <a:pt x="1577" y="13894"/>
                        <a:pt x="1559" y="13902"/>
                        <a:pt x="1547" y="13908"/>
                      </a:cubicBezTo>
                      <a:cubicBezTo>
                        <a:pt x="1564" y="13926"/>
                        <a:pt x="1585" y="13948"/>
                        <a:pt x="1608" y="13972"/>
                      </a:cubicBezTo>
                      <a:cubicBezTo>
                        <a:pt x="1651" y="14017"/>
                        <a:pt x="1700" y="14068"/>
                        <a:pt x="1744" y="14117"/>
                      </a:cubicBezTo>
                      <a:cubicBezTo>
                        <a:pt x="1844" y="14233"/>
                        <a:pt x="1891" y="14316"/>
                        <a:pt x="1903" y="14407"/>
                      </a:cubicBezTo>
                      <a:cubicBezTo>
                        <a:pt x="1922" y="14430"/>
                        <a:pt x="1955" y="14465"/>
                        <a:pt x="1982" y="14490"/>
                      </a:cubicBezTo>
                      <a:lnTo>
                        <a:pt x="1982" y="14479"/>
                      </a:lnTo>
                      <a:cubicBezTo>
                        <a:pt x="2035" y="14479"/>
                        <a:pt x="2098" y="14481"/>
                        <a:pt x="2163" y="14495"/>
                      </a:cubicBezTo>
                      <a:cubicBezTo>
                        <a:pt x="2248" y="14514"/>
                        <a:pt x="2311" y="14547"/>
                        <a:pt x="2357" y="14595"/>
                      </a:cubicBezTo>
                      <a:cubicBezTo>
                        <a:pt x="2404" y="14604"/>
                        <a:pt x="2494" y="14634"/>
                        <a:pt x="2583" y="14699"/>
                      </a:cubicBezTo>
                      <a:cubicBezTo>
                        <a:pt x="2720" y="14800"/>
                        <a:pt x="2805" y="15009"/>
                        <a:pt x="2828" y="15071"/>
                      </a:cubicBezTo>
                      <a:lnTo>
                        <a:pt x="2839" y="15125"/>
                      </a:lnTo>
                      <a:lnTo>
                        <a:pt x="3113" y="21600"/>
                      </a:lnTo>
                      <a:cubicBezTo>
                        <a:pt x="3351" y="21593"/>
                        <a:pt x="3589" y="21587"/>
                        <a:pt x="3828" y="21580"/>
                      </a:cubicBezTo>
                      <a:cubicBezTo>
                        <a:pt x="4091" y="21572"/>
                        <a:pt x="4353" y="21564"/>
                        <a:pt x="4618" y="21555"/>
                      </a:cubicBezTo>
                      <a:cubicBezTo>
                        <a:pt x="4981" y="21543"/>
                        <a:pt x="5349" y="21530"/>
                        <a:pt x="5717" y="21516"/>
                      </a:cubicBezTo>
                      <a:cubicBezTo>
                        <a:pt x="5988" y="21505"/>
                        <a:pt x="6259" y="21496"/>
                        <a:pt x="6533" y="21484"/>
                      </a:cubicBezTo>
                      <a:cubicBezTo>
                        <a:pt x="6904" y="21469"/>
                        <a:pt x="7280" y="21452"/>
                        <a:pt x="7656" y="21436"/>
                      </a:cubicBezTo>
                      <a:cubicBezTo>
                        <a:pt x="7933" y="21423"/>
                        <a:pt x="8207" y="21411"/>
                        <a:pt x="8487" y="21398"/>
                      </a:cubicBezTo>
                      <a:cubicBezTo>
                        <a:pt x="8867" y="21380"/>
                        <a:pt x="9254" y="21359"/>
                        <a:pt x="9641" y="21339"/>
                      </a:cubicBezTo>
                      <a:cubicBezTo>
                        <a:pt x="9926" y="21324"/>
                        <a:pt x="10209" y="21311"/>
                        <a:pt x="10498" y="21295"/>
                      </a:cubicBezTo>
                      <a:cubicBezTo>
                        <a:pt x="10882" y="21274"/>
                        <a:pt x="11275" y="21250"/>
                        <a:pt x="11665" y="21227"/>
                      </a:cubicBezTo>
                      <a:cubicBezTo>
                        <a:pt x="11962" y="21210"/>
                        <a:pt x="12256" y="21194"/>
                        <a:pt x="12556" y="21175"/>
                      </a:cubicBezTo>
                      <a:cubicBezTo>
                        <a:pt x="12949" y="21151"/>
                        <a:pt x="13350" y="21125"/>
                        <a:pt x="13748" y="21099"/>
                      </a:cubicBezTo>
                      <a:cubicBezTo>
                        <a:pt x="14057" y="21079"/>
                        <a:pt x="14361" y="21060"/>
                        <a:pt x="14673" y="21039"/>
                      </a:cubicBezTo>
                      <a:cubicBezTo>
                        <a:pt x="15090" y="21011"/>
                        <a:pt x="15518" y="20980"/>
                        <a:pt x="15942" y="20950"/>
                      </a:cubicBezTo>
                      <a:cubicBezTo>
                        <a:pt x="16510" y="20910"/>
                        <a:pt x="17084" y="20868"/>
                        <a:pt x="17665" y="20825"/>
                      </a:cubicBezTo>
                      <a:cubicBezTo>
                        <a:pt x="18105" y="20792"/>
                        <a:pt x="18542" y="20759"/>
                        <a:pt x="18989" y="20724"/>
                      </a:cubicBezTo>
                      <a:cubicBezTo>
                        <a:pt x="18989" y="20719"/>
                        <a:pt x="18989" y="20714"/>
                        <a:pt x="18989" y="20709"/>
                      </a:cubicBezTo>
                      <a:cubicBezTo>
                        <a:pt x="18989" y="20696"/>
                        <a:pt x="18990" y="20683"/>
                        <a:pt x="18993" y="20671"/>
                      </a:cubicBezTo>
                      <a:cubicBezTo>
                        <a:pt x="18920" y="20616"/>
                        <a:pt x="18854" y="20536"/>
                        <a:pt x="18883" y="20431"/>
                      </a:cubicBezTo>
                      <a:cubicBezTo>
                        <a:pt x="18845" y="20374"/>
                        <a:pt x="18845" y="20316"/>
                        <a:pt x="18848" y="20286"/>
                      </a:cubicBezTo>
                      <a:lnTo>
                        <a:pt x="18853" y="20241"/>
                      </a:lnTo>
                      <a:cubicBezTo>
                        <a:pt x="18858" y="20181"/>
                        <a:pt x="18865" y="20097"/>
                        <a:pt x="18880" y="20026"/>
                      </a:cubicBezTo>
                      <a:cubicBezTo>
                        <a:pt x="18886" y="19995"/>
                        <a:pt x="18893" y="19968"/>
                        <a:pt x="18900" y="19944"/>
                      </a:cubicBezTo>
                      <a:cubicBezTo>
                        <a:pt x="18901" y="19938"/>
                        <a:pt x="18903" y="19932"/>
                        <a:pt x="18904" y="19927"/>
                      </a:cubicBezTo>
                      <a:cubicBezTo>
                        <a:pt x="18874" y="19887"/>
                        <a:pt x="18847" y="19847"/>
                        <a:pt x="18831" y="19796"/>
                      </a:cubicBezTo>
                      <a:lnTo>
                        <a:pt x="18817" y="19741"/>
                      </a:lnTo>
                      <a:lnTo>
                        <a:pt x="18818" y="19740"/>
                      </a:lnTo>
                      <a:cubicBezTo>
                        <a:pt x="18792" y="19713"/>
                        <a:pt x="18755" y="19674"/>
                        <a:pt x="18697" y="19611"/>
                      </a:cubicBezTo>
                      <a:cubicBezTo>
                        <a:pt x="18616" y="19525"/>
                        <a:pt x="18523" y="19425"/>
                        <a:pt x="18489" y="19394"/>
                      </a:cubicBezTo>
                      <a:cubicBezTo>
                        <a:pt x="18467" y="19375"/>
                        <a:pt x="18441" y="19349"/>
                        <a:pt x="18414" y="19323"/>
                      </a:cubicBezTo>
                      <a:cubicBezTo>
                        <a:pt x="18394" y="19303"/>
                        <a:pt x="18374" y="19282"/>
                        <a:pt x="18355" y="19265"/>
                      </a:cubicBezTo>
                      <a:cubicBezTo>
                        <a:pt x="18226" y="19252"/>
                        <a:pt x="17998" y="19222"/>
                        <a:pt x="17930" y="19199"/>
                      </a:cubicBezTo>
                      <a:cubicBezTo>
                        <a:pt x="17901" y="19189"/>
                        <a:pt x="17649" y="19072"/>
                        <a:pt x="17549" y="18972"/>
                      </a:cubicBezTo>
                      <a:cubicBezTo>
                        <a:pt x="17454" y="18949"/>
                        <a:pt x="17405" y="18900"/>
                        <a:pt x="17381" y="18866"/>
                      </a:cubicBezTo>
                      <a:lnTo>
                        <a:pt x="17370" y="18851"/>
                      </a:lnTo>
                      <a:cubicBezTo>
                        <a:pt x="17259" y="18821"/>
                        <a:pt x="17129" y="18777"/>
                        <a:pt x="17030" y="18682"/>
                      </a:cubicBezTo>
                      <a:cubicBezTo>
                        <a:pt x="16993" y="18647"/>
                        <a:pt x="16954" y="18619"/>
                        <a:pt x="16921" y="18594"/>
                      </a:cubicBezTo>
                      <a:cubicBezTo>
                        <a:pt x="16838" y="18531"/>
                        <a:pt x="16743" y="18460"/>
                        <a:pt x="16732" y="18343"/>
                      </a:cubicBezTo>
                      <a:lnTo>
                        <a:pt x="16727" y="18295"/>
                      </a:lnTo>
                      <a:cubicBezTo>
                        <a:pt x="16581" y="18217"/>
                        <a:pt x="16587" y="18105"/>
                        <a:pt x="16598" y="18055"/>
                      </a:cubicBezTo>
                      <a:cubicBezTo>
                        <a:pt x="16526" y="18016"/>
                        <a:pt x="16383" y="17948"/>
                        <a:pt x="16259" y="17909"/>
                      </a:cubicBezTo>
                      <a:cubicBezTo>
                        <a:pt x="16209" y="17893"/>
                        <a:pt x="16157" y="17886"/>
                        <a:pt x="16096" y="17879"/>
                      </a:cubicBezTo>
                      <a:cubicBezTo>
                        <a:pt x="15971" y="17863"/>
                        <a:pt x="15815" y="17843"/>
                        <a:pt x="15653" y="17735"/>
                      </a:cubicBezTo>
                      <a:cubicBezTo>
                        <a:pt x="15445" y="17597"/>
                        <a:pt x="15387" y="17510"/>
                        <a:pt x="15341" y="17427"/>
                      </a:cubicBezTo>
                      <a:cubicBezTo>
                        <a:pt x="15338" y="17421"/>
                        <a:pt x="15335" y="17415"/>
                        <a:pt x="15332" y="17408"/>
                      </a:cubicBezTo>
                      <a:lnTo>
                        <a:pt x="15281" y="17414"/>
                      </a:lnTo>
                      <a:cubicBezTo>
                        <a:pt x="15254" y="17414"/>
                        <a:pt x="15211" y="17409"/>
                        <a:pt x="15171" y="17402"/>
                      </a:cubicBezTo>
                      <a:cubicBezTo>
                        <a:pt x="15137" y="17399"/>
                        <a:pt x="15088" y="17395"/>
                        <a:pt x="15032" y="17389"/>
                      </a:cubicBezTo>
                      <a:cubicBezTo>
                        <a:pt x="15014" y="17387"/>
                        <a:pt x="14994" y="17384"/>
                        <a:pt x="14976" y="17382"/>
                      </a:cubicBezTo>
                      <a:cubicBezTo>
                        <a:pt x="14934" y="17408"/>
                        <a:pt x="14880" y="17431"/>
                        <a:pt x="14812" y="17431"/>
                      </a:cubicBezTo>
                      <a:lnTo>
                        <a:pt x="14649" y="17431"/>
                      </a:lnTo>
                      <a:lnTo>
                        <a:pt x="14568" y="17266"/>
                      </a:lnTo>
                      <a:cubicBezTo>
                        <a:pt x="14494" y="17260"/>
                        <a:pt x="14428" y="17244"/>
                        <a:pt x="14374" y="17192"/>
                      </a:cubicBezTo>
                      <a:lnTo>
                        <a:pt x="14307" y="17126"/>
                      </a:lnTo>
                      <a:lnTo>
                        <a:pt x="14313" y="17059"/>
                      </a:lnTo>
                      <a:cubicBezTo>
                        <a:pt x="14297" y="17051"/>
                        <a:pt x="14282" y="17041"/>
                        <a:pt x="14266" y="17029"/>
                      </a:cubicBezTo>
                      <a:cubicBezTo>
                        <a:pt x="14207" y="16982"/>
                        <a:pt x="14111" y="16906"/>
                        <a:pt x="14039" y="16861"/>
                      </a:cubicBezTo>
                      <a:cubicBezTo>
                        <a:pt x="14011" y="16845"/>
                        <a:pt x="13977" y="16832"/>
                        <a:pt x="13947" y="16819"/>
                      </a:cubicBezTo>
                      <a:cubicBezTo>
                        <a:pt x="13860" y="16783"/>
                        <a:pt x="13761" y="16743"/>
                        <a:pt x="13721" y="16644"/>
                      </a:cubicBezTo>
                      <a:cubicBezTo>
                        <a:pt x="13699" y="16593"/>
                        <a:pt x="13652" y="16483"/>
                        <a:pt x="13743" y="16373"/>
                      </a:cubicBezTo>
                      <a:lnTo>
                        <a:pt x="13766" y="16326"/>
                      </a:lnTo>
                      <a:cubicBezTo>
                        <a:pt x="13771" y="16285"/>
                        <a:pt x="13776" y="16243"/>
                        <a:pt x="13795" y="16202"/>
                      </a:cubicBezTo>
                      <a:cubicBezTo>
                        <a:pt x="13798" y="16195"/>
                        <a:pt x="13803" y="16182"/>
                        <a:pt x="13806" y="16170"/>
                      </a:cubicBezTo>
                      <a:cubicBezTo>
                        <a:pt x="13772" y="16124"/>
                        <a:pt x="13743" y="16063"/>
                        <a:pt x="13764" y="15987"/>
                      </a:cubicBezTo>
                      <a:lnTo>
                        <a:pt x="13776" y="15944"/>
                      </a:lnTo>
                      <a:lnTo>
                        <a:pt x="13822" y="15890"/>
                      </a:lnTo>
                      <a:cubicBezTo>
                        <a:pt x="13821" y="15888"/>
                        <a:pt x="13820" y="15887"/>
                        <a:pt x="13819" y="15885"/>
                      </a:cubicBezTo>
                      <a:cubicBezTo>
                        <a:pt x="13780" y="15818"/>
                        <a:pt x="13740" y="15749"/>
                        <a:pt x="13740" y="15673"/>
                      </a:cubicBezTo>
                      <a:cubicBezTo>
                        <a:pt x="13740" y="15658"/>
                        <a:pt x="13741" y="15644"/>
                        <a:pt x="13743" y="15630"/>
                      </a:cubicBezTo>
                      <a:cubicBezTo>
                        <a:pt x="13583" y="15497"/>
                        <a:pt x="13599" y="15382"/>
                        <a:pt x="13643" y="15304"/>
                      </a:cubicBezTo>
                      <a:cubicBezTo>
                        <a:pt x="13670" y="15255"/>
                        <a:pt x="13711" y="15215"/>
                        <a:pt x="13747" y="15181"/>
                      </a:cubicBezTo>
                      <a:cubicBezTo>
                        <a:pt x="13727" y="15142"/>
                        <a:pt x="13713" y="15104"/>
                        <a:pt x="13713" y="15061"/>
                      </a:cubicBezTo>
                      <a:lnTo>
                        <a:pt x="13716" y="15026"/>
                      </a:lnTo>
                      <a:cubicBezTo>
                        <a:pt x="13668" y="14947"/>
                        <a:pt x="13658" y="14865"/>
                        <a:pt x="13692" y="14793"/>
                      </a:cubicBezTo>
                      <a:lnTo>
                        <a:pt x="13697" y="14783"/>
                      </a:lnTo>
                      <a:cubicBezTo>
                        <a:pt x="13690" y="14767"/>
                        <a:pt x="13685" y="14747"/>
                        <a:pt x="13683" y="14724"/>
                      </a:cubicBezTo>
                      <a:cubicBezTo>
                        <a:pt x="13664" y="14649"/>
                        <a:pt x="13660" y="14539"/>
                        <a:pt x="13778" y="14398"/>
                      </a:cubicBezTo>
                      <a:lnTo>
                        <a:pt x="13811" y="14359"/>
                      </a:lnTo>
                      <a:cubicBezTo>
                        <a:pt x="13816" y="14352"/>
                        <a:pt x="13821" y="14346"/>
                        <a:pt x="13826" y="14341"/>
                      </a:cubicBezTo>
                      <a:cubicBezTo>
                        <a:pt x="13819" y="14294"/>
                        <a:pt x="13822" y="14241"/>
                        <a:pt x="13848" y="14190"/>
                      </a:cubicBezTo>
                      <a:lnTo>
                        <a:pt x="13873" y="14141"/>
                      </a:lnTo>
                      <a:lnTo>
                        <a:pt x="13924" y="14106"/>
                      </a:lnTo>
                      <a:cubicBezTo>
                        <a:pt x="13936" y="14079"/>
                        <a:pt x="13953" y="14054"/>
                        <a:pt x="13974" y="14030"/>
                      </a:cubicBezTo>
                      <a:cubicBezTo>
                        <a:pt x="13917" y="13995"/>
                        <a:pt x="13859" y="13948"/>
                        <a:pt x="13807" y="13880"/>
                      </a:cubicBezTo>
                      <a:cubicBezTo>
                        <a:pt x="13751" y="13840"/>
                        <a:pt x="13720" y="13798"/>
                        <a:pt x="13705" y="13758"/>
                      </a:cubicBezTo>
                      <a:cubicBezTo>
                        <a:pt x="13685" y="13762"/>
                        <a:pt x="13664" y="13765"/>
                        <a:pt x="13642" y="13765"/>
                      </a:cubicBezTo>
                      <a:lnTo>
                        <a:pt x="13570" y="13765"/>
                      </a:lnTo>
                      <a:lnTo>
                        <a:pt x="13506" y="13739"/>
                      </a:lnTo>
                      <a:lnTo>
                        <a:pt x="13383" y="13739"/>
                      </a:lnTo>
                      <a:lnTo>
                        <a:pt x="13244" y="13619"/>
                      </a:lnTo>
                      <a:cubicBezTo>
                        <a:pt x="13172" y="13533"/>
                        <a:pt x="13154" y="13447"/>
                        <a:pt x="13190" y="13365"/>
                      </a:cubicBezTo>
                      <a:cubicBezTo>
                        <a:pt x="13173" y="13244"/>
                        <a:pt x="13199" y="13099"/>
                        <a:pt x="13200" y="13091"/>
                      </a:cubicBezTo>
                      <a:cubicBezTo>
                        <a:pt x="13206" y="13060"/>
                        <a:pt x="13206" y="13043"/>
                        <a:pt x="13205" y="13030"/>
                      </a:cubicBezTo>
                      <a:cubicBezTo>
                        <a:pt x="13202" y="12960"/>
                        <a:pt x="13214" y="12883"/>
                        <a:pt x="13319" y="12801"/>
                      </a:cubicBezTo>
                      <a:cubicBezTo>
                        <a:pt x="13348" y="12778"/>
                        <a:pt x="13382" y="12757"/>
                        <a:pt x="13415" y="12738"/>
                      </a:cubicBezTo>
                      <a:cubicBezTo>
                        <a:pt x="13437" y="12727"/>
                        <a:pt x="13439" y="12709"/>
                        <a:pt x="13440" y="12697"/>
                      </a:cubicBezTo>
                      <a:lnTo>
                        <a:pt x="13461" y="12611"/>
                      </a:lnTo>
                      <a:cubicBezTo>
                        <a:pt x="13465" y="12602"/>
                        <a:pt x="13469" y="12594"/>
                        <a:pt x="13474" y="12586"/>
                      </a:cubicBezTo>
                      <a:cubicBezTo>
                        <a:pt x="13465" y="12542"/>
                        <a:pt x="13468" y="12489"/>
                        <a:pt x="13504" y="12434"/>
                      </a:cubicBezTo>
                      <a:lnTo>
                        <a:pt x="13544" y="12383"/>
                      </a:lnTo>
                      <a:cubicBezTo>
                        <a:pt x="13544" y="12383"/>
                        <a:pt x="13544" y="12384"/>
                        <a:pt x="13544" y="12384"/>
                      </a:cubicBezTo>
                      <a:cubicBezTo>
                        <a:pt x="13544" y="12384"/>
                        <a:pt x="13564" y="12234"/>
                        <a:pt x="13663" y="12157"/>
                      </a:cubicBezTo>
                      <a:cubicBezTo>
                        <a:pt x="13724" y="12109"/>
                        <a:pt x="13852" y="12010"/>
                        <a:pt x="14005" y="11940"/>
                      </a:cubicBezTo>
                      <a:cubicBezTo>
                        <a:pt x="14053" y="11918"/>
                        <a:pt x="14092" y="11903"/>
                        <a:pt x="14123" y="11892"/>
                      </a:cubicBezTo>
                      <a:cubicBezTo>
                        <a:pt x="14190" y="11728"/>
                        <a:pt x="14322" y="11708"/>
                        <a:pt x="14409" y="11706"/>
                      </a:cubicBezTo>
                      <a:cubicBezTo>
                        <a:pt x="14438" y="11633"/>
                        <a:pt x="14489" y="11557"/>
                        <a:pt x="14604" y="11530"/>
                      </a:cubicBezTo>
                      <a:lnTo>
                        <a:pt x="14690" y="11520"/>
                      </a:lnTo>
                      <a:cubicBezTo>
                        <a:pt x="14691" y="11520"/>
                        <a:pt x="14692" y="11520"/>
                        <a:pt x="14693" y="11521"/>
                      </a:cubicBezTo>
                      <a:cubicBezTo>
                        <a:pt x="14711" y="11459"/>
                        <a:pt x="14755" y="11420"/>
                        <a:pt x="14787" y="11398"/>
                      </a:cubicBezTo>
                      <a:lnTo>
                        <a:pt x="14810" y="11383"/>
                      </a:lnTo>
                      <a:lnTo>
                        <a:pt x="14583" y="8952"/>
                      </a:lnTo>
                      <a:lnTo>
                        <a:pt x="14878" y="9110"/>
                      </a:lnTo>
                      <a:lnTo>
                        <a:pt x="14961" y="9034"/>
                      </a:lnTo>
                      <a:cubicBezTo>
                        <a:pt x="14982" y="9009"/>
                        <a:pt x="15025" y="8960"/>
                        <a:pt x="15100" y="8933"/>
                      </a:cubicBezTo>
                      <a:cubicBezTo>
                        <a:pt x="15116" y="8908"/>
                        <a:pt x="15134" y="8888"/>
                        <a:pt x="15154" y="8871"/>
                      </a:cubicBezTo>
                      <a:cubicBezTo>
                        <a:pt x="15142" y="8814"/>
                        <a:pt x="15152" y="8755"/>
                        <a:pt x="15207" y="8698"/>
                      </a:cubicBezTo>
                      <a:cubicBezTo>
                        <a:pt x="15248" y="8652"/>
                        <a:pt x="15914" y="8132"/>
                        <a:pt x="15920" y="8127"/>
                      </a:cubicBezTo>
                      <a:cubicBezTo>
                        <a:pt x="15964" y="8093"/>
                        <a:pt x="16011" y="8075"/>
                        <a:pt x="16051" y="8066"/>
                      </a:cubicBezTo>
                      <a:cubicBezTo>
                        <a:pt x="16070" y="8047"/>
                        <a:pt x="16093" y="8027"/>
                        <a:pt x="16118" y="8010"/>
                      </a:cubicBezTo>
                      <a:lnTo>
                        <a:pt x="16125" y="8005"/>
                      </a:lnTo>
                      <a:cubicBezTo>
                        <a:pt x="16181" y="7915"/>
                        <a:pt x="16295" y="7801"/>
                        <a:pt x="16391" y="7763"/>
                      </a:cubicBezTo>
                      <a:lnTo>
                        <a:pt x="16436" y="7746"/>
                      </a:lnTo>
                      <a:lnTo>
                        <a:pt x="16433" y="7739"/>
                      </a:lnTo>
                      <a:cubicBezTo>
                        <a:pt x="16466" y="7690"/>
                        <a:pt x="16507" y="7632"/>
                        <a:pt x="16538" y="7601"/>
                      </a:cubicBezTo>
                      <a:cubicBezTo>
                        <a:pt x="16560" y="7579"/>
                        <a:pt x="16580" y="7562"/>
                        <a:pt x="16598" y="7548"/>
                      </a:cubicBezTo>
                      <a:cubicBezTo>
                        <a:pt x="16599" y="7547"/>
                        <a:pt x="16600" y="7546"/>
                        <a:pt x="16600" y="7546"/>
                      </a:cubicBezTo>
                      <a:cubicBezTo>
                        <a:pt x="16630" y="7504"/>
                        <a:pt x="16671" y="7476"/>
                        <a:pt x="16724" y="7441"/>
                      </a:cubicBezTo>
                      <a:cubicBezTo>
                        <a:pt x="16759" y="7417"/>
                        <a:pt x="16805" y="7386"/>
                        <a:pt x="16853" y="7348"/>
                      </a:cubicBezTo>
                      <a:cubicBezTo>
                        <a:pt x="16890" y="7317"/>
                        <a:pt x="16921" y="7295"/>
                        <a:pt x="16945" y="7278"/>
                      </a:cubicBezTo>
                      <a:cubicBezTo>
                        <a:pt x="16990" y="7189"/>
                        <a:pt x="17064" y="7124"/>
                        <a:pt x="17123" y="7072"/>
                      </a:cubicBezTo>
                      <a:lnTo>
                        <a:pt x="17158" y="7040"/>
                      </a:lnTo>
                      <a:cubicBezTo>
                        <a:pt x="17181" y="7018"/>
                        <a:pt x="17230" y="6963"/>
                        <a:pt x="17286" y="6900"/>
                      </a:cubicBezTo>
                      <a:cubicBezTo>
                        <a:pt x="17368" y="6808"/>
                        <a:pt x="17464" y="6702"/>
                        <a:pt x="17526" y="6642"/>
                      </a:cubicBezTo>
                      <a:cubicBezTo>
                        <a:pt x="17604" y="6568"/>
                        <a:pt x="17643" y="6517"/>
                        <a:pt x="17657" y="6496"/>
                      </a:cubicBezTo>
                      <a:cubicBezTo>
                        <a:pt x="17673" y="6389"/>
                        <a:pt x="17766" y="6320"/>
                        <a:pt x="17848" y="6258"/>
                      </a:cubicBezTo>
                      <a:lnTo>
                        <a:pt x="17906" y="6214"/>
                      </a:lnTo>
                      <a:cubicBezTo>
                        <a:pt x="17976" y="6157"/>
                        <a:pt x="18141" y="5994"/>
                        <a:pt x="18244" y="5880"/>
                      </a:cubicBezTo>
                      <a:cubicBezTo>
                        <a:pt x="18350" y="5762"/>
                        <a:pt x="18410" y="5707"/>
                        <a:pt x="18514" y="5637"/>
                      </a:cubicBezTo>
                      <a:cubicBezTo>
                        <a:pt x="18530" y="5626"/>
                        <a:pt x="18556" y="5603"/>
                        <a:pt x="18592" y="5573"/>
                      </a:cubicBezTo>
                      <a:cubicBezTo>
                        <a:pt x="18745" y="5444"/>
                        <a:pt x="19028" y="5204"/>
                        <a:pt x="19405" y="5003"/>
                      </a:cubicBezTo>
                      <a:cubicBezTo>
                        <a:pt x="19757" y="4814"/>
                        <a:pt x="19889" y="4769"/>
                        <a:pt x="20028" y="4720"/>
                      </a:cubicBezTo>
                      <a:cubicBezTo>
                        <a:pt x="20076" y="4704"/>
                        <a:pt x="20125" y="4687"/>
                        <a:pt x="20187" y="4662"/>
                      </a:cubicBezTo>
                      <a:cubicBezTo>
                        <a:pt x="20283" y="4624"/>
                        <a:pt x="20392" y="4585"/>
                        <a:pt x="20497" y="4547"/>
                      </a:cubicBezTo>
                      <a:cubicBezTo>
                        <a:pt x="20636" y="4496"/>
                        <a:pt x="20796" y="4438"/>
                        <a:pt x="20856" y="4406"/>
                      </a:cubicBezTo>
                      <a:cubicBezTo>
                        <a:pt x="20954" y="4353"/>
                        <a:pt x="21016" y="4335"/>
                        <a:pt x="21061" y="4321"/>
                      </a:cubicBezTo>
                      <a:cubicBezTo>
                        <a:pt x="21105" y="4284"/>
                        <a:pt x="21157" y="4222"/>
                        <a:pt x="21269" y="4171"/>
                      </a:cubicBezTo>
                      <a:cubicBezTo>
                        <a:pt x="21349" y="4135"/>
                        <a:pt x="21417" y="4118"/>
                        <a:pt x="21471" y="4105"/>
                      </a:cubicBezTo>
                      <a:cubicBezTo>
                        <a:pt x="21506" y="4096"/>
                        <a:pt x="21531" y="4090"/>
                        <a:pt x="21552" y="4081"/>
                      </a:cubicBezTo>
                      <a:cubicBezTo>
                        <a:pt x="21558" y="4076"/>
                        <a:pt x="21583" y="4047"/>
                        <a:pt x="21600" y="4028"/>
                      </a:cubicBezTo>
                      <a:cubicBezTo>
                        <a:pt x="21555" y="4046"/>
                        <a:pt x="21507" y="4056"/>
                        <a:pt x="21459" y="4056"/>
                      </a:cubicBezTo>
                      <a:lnTo>
                        <a:pt x="21361" y="4042"/>
                      </a:lnTo>
                      <a:cubicBezTo>
                        <a:pt x="21296" y="4024"/>
                        <a:pt x="21232" y="3990"/>
                        <a:pt x="21185" y="3965"/>
                      </a:cubicBezTo>
                      <a:cubicBezTo>
                        <a:pt x="21121" y="3956"/>
                        <a:pt x="21037" y="3934"/>
                        <a:pt x="20973" y="3874"/>
                      </a:cubicBezTo>
                      <a:cubicBezTo>
                        <a:pt x="20935" y="3838"/>
                        <a:pt x="20910" y="3795"/>
                        <a:pt x="20884" y="3751"/>
                      </a:cubicBezTo>
                      <a:cubicBezTo>
                        <a:pt x="20875" y="3735"/>
                        <a:pt x="20866" y="3720"/>
                        <a:pt x="20858" y="3709"/>
                      </a:cubicBezTo>
                      <a:cubicBezTo>
                        <a:pt x="20862" y="3715"/>
                        <a:pt x="20822" y="3698"/>
                        <a:pt x="20801" y="3692"/>
                      </a:cubicBezTo>
                      <a:cubicBezTo>
                        <a:pt x="20768" y="3689"/>
                        <a:pt x="20636" y="3692"/>
                        <a:pt x="20554" y="3694"/>
                      </a:cubicBezTo>
                      <a:cubicBezTo>
                        <a:pt x="20508" y="3696"/>
                        <a:pt x="20484" y="3707"/>
                        <a:pt x="20467" y="3714"/>
                      </a:cubicBezTo>
                      <a:cubicBezTo>
                        <a:pt x="20418" y="3735"/>
                        <a:pt x="20352" y="3763"/>
                        <a:pt x="20270" y="3763"/>
                      </a:cubicBezTo>
                      <a:lnTo>
                        <a:pt x="20202" y="3756"/>
                      </a:lnTo>
                      <a:cubicBezTo>
                        <a:pt x="20189" y="3761"/>
                        <a:pt x="20166" y="3764"/>
                        <a:pt x="20137" y="3766"/>
                      </a:cubicBezTo>
                      <a:cubicBezTo>
                        <a:pt x="20116" y="3783"/>
                        <a:pt x="20055" y="3808"/>
                        <a:pt x="19981" y="3808"/>
                      </a:cubicBezTo>
                      <a:lnTo>
                        <a:pt x="19905" y="3808"/>
                      </a:lnTo>
                      <a:lnTo>
                        <a:pt x="19805" y="3772"/>
                      </a:lnTo>
                      <a:lnTo>
                        <a:pt x="19747" y="3770"/>
                      </a:lnTo>
                      <a:cubicBezTo>
                        <a:pt x="19684" y="3801"/>
                        <a:pt x="19572" y="3848"/>
                        <a:pt x="19473" y="3848"/>
                      </a:cubicBezTo>
                      <a:lnTo>
                        <a:pt x="19418" y="3848"/>
                      </a:lnTo>
                      <a:lnTo>
                        <a:pt x="19351" y="3824"/>
                      </a:lnTo>
                      <a:cubicBezTo>
                        <a:pt x="19331" y="3815"/>
                        <a:pt x="19313" y="3805"/>
                        <a:pt x="19298" y="3794"/>
                      </a:cubicBezTo>
                      <a:cubicBezTo>
                        <a:pt x="19220" y="3849"/>
                        <a:pt x="19132" y="3864"/>
                        <a:pt x="19074" y="3870"/>
                      </a:cubicBezTo>
                      <a:cubicBezTo>
                        <a:pt x="19024" y="3897"/>
                        <a:pt x="18962" y="3925"/>
                        <a:pt x="18884" y="3925"/>
                      </a:cubicBezTo>
                      <a:lnTo>
                        <a:pt x="18752" y="3925"/>
                      </a:lnTo>
                      <a:lnTo>
                        <a:pt x="18585" y="3724"/>
                      </a:lnTo>
                      <a:cubicBezTo>
                        <a:pt x="18574" y="3733"/>
                        <a:pt x="18490" y="3681"/>
                        <a:pt x="18473" y="3582"/>
                      </a:cubicBezTo>
                      <a:lnTo>
                        <a:pt x="18467" y="3548"/>
                      </a:lnTo>
                      <a:cubicBezTo>
                        <a:pt x="18404" y="3513"/>
                        <a:pt x="18367" y="3474"/>
                        <a:pt x="18347" y="3435"/>
                      </a:cubicBezTo>
                      <a:cubicBezTo>
                        <a:pt x="18330" y="3440"/>
                        <a:pt x="18311" y="3444"/>
                        <a:pt x="18292" y="3447"/>
                      </a:cubicBezTo>
                      <a:cubicBezTo>
                        <a:pt x="18273" y="3483"/>
                        <a:pt x="18213" y="3557"/>
                        <a:pt x="18108" y="3585"/>
                      </a:cubicBezTo>
                      <a:cubicBezTo>
                        <a:pt x="18093" y="3589"/>
                        <a:pt x="18071" y="3593"/>
                        <a:pt x="18045" y="3598"/>
                      </a:cubicBezTo>
                      <a:cubicBezTo>
                        <a:pt x="18033" y="3601"/>
                        <a:pt x="18021" y="3603"/>
                        <a:pt x="18009" y="3605"/>
                      </a:cubicBezTo>
                      <a:cubicBezTo>
                        <a:pt x="17959" y="3651"/>
                        <a:pt x="17862" y="3739"/>
                        <a:pt x="17837" y="3766"/>
                      </a:cubicBezTo>
                      <a:cubicBezTo>
                        <a:pt x="17795" y="3813"/>
                        <a:pt x="17745" y="3838"/>
                        <a:pt x="17714" y="3852"/>
                      </a:cubicBezTo>
                      <a:cubicBezTo>
                        <a:pt x="17661" y="3918"/>
                        <a:pt x="17554" y="4050"/>
                        <a:pt x="17369" y="4060"/>
                      </a:cubicBezTo>
                      <a:cubicBezTo>
                        <a:pt x="17305" y="4064"/>
                        <a:pt x="17201" y="4082"/>
                        <a:pt x="17175" y="4090"/>
                      </a:cubicBezTo>
                      <a:cubicBezTo>
                        <a:pt x="17127" y="4139"/>
                        <a:pt x="17037" y="4209"/>
                        <a:pt x="16911" y="4209"/>
                      </a:cubicBezTo>
                      <a:lnTo>
                        <a:pt x="16823" y="4209"/>
                      </a:lnTo>
                      <a:lnTo>
                        <a:pt x="16755" y="4164"/>
                      </a:lnTo>
                      <a:cubicBezTo>
                        <a:pt x="16685" y="4216"/>
                        <a:pt x="16611" y="4262"/>
                        <a:pt x="16514" y="4262"/>
                      </a:cubicBezTo>
                      <a:lnTo>
                        <a:pt x="16404" y="4262"/>
                      </a:lnTo>
                      <a:lnTo>
                        <a:pt x="16322" y="4185"/>
                      </a:lnTo>
                      <a:cubicBezTo>
                        <a:pt x="16282" y="4148"/>
                        <a:pt x="16252" y="4112"/>
                        <a:pt x="16233" y="4077"/>
                      </a:cubicBezTo>
                      <a:cubicBezTo>
                        <a:pt x="16202" y="4075"/>
                        <a:pt x="16171" y="4068"/>
                        <a:pt x="16142" y="4057"/>
                      </a:cubicBezTo>
                      <a:cubicBezTo>
                        <a:pt x="16017" y="4040"/>
                        <a:pt x="15897" y="4022"/>
                        <a:pt x="15836" y="3917"/>
                      </a:cubicBezTo>
                      <a:lnTo>
                        <a:pt x="15782" y="3823"/>
                      </a:lnTo>
                      <a:lnTo>
                        <a:pt x="15803" y="3786"/>
                      </a:lnTo>
                      <a:cubicBezTo>
                        <a:pt x="15796" y="3777"/>
                        <a:pt x="15788" y="3766"/>
                        <a:pt x="15781" y="3756"/>
                      </a:cubicBezTo>
                      <a:lnTo>
                        <a:pt x="15461" y="3749"/>
                      </a:lnTo>
                      <a:lnTo>
                        <a:pt x="15387" y="3663"/>
                      </a:lnTo>
                      <a:cubicBezTo>
                        <a:pt x="15366" y="3669"/>
                        <a:pt x="15343" y="3672"/>
                        <a:pt x="15319" y="3672"/>
                      </a:cubicBezTo>
                      <a:lnTo>
                        <a:pt x="15158" y="3672"/>
                      </a:lnTo>
                      <a:lnTo>
                        <a:pt x="15110" y="3574"/>
                      </a:lnTo>
                      <a:cubicBezTo>
                        <a:pt x="15029" y="3531"/>
                        <a:pt x="14935" y="3474"/>
                        <a:pt x="14909" y="3349"/>
                      </a:cubicBezTo>
                      <a:cubicBezTo>
                        <a:pt x="14905" y="3330"/>
                        <a:pt x="14902" y="3313"/>
                        <a:pt x="14899" y="3298"/>
                      </a:cubicBezTo>
                      <a:cubicBezTo>
                        <a:pt x="14864" y="3283"/>
                        <a:pt x="14836" y="3265"/>
                        <a:pt x="14813" y="3245"/>
                      </a:cubicBezTo>
                      <a:cubicBezTo>
                        <a:pt x="14807" y="3246"/>
                        <a:pt x="14800" y="3246"/>
                        <a:pt x="14793" y="3246"/>
                      </a:cubicBezTo>
                      <a:lnTo>
                        <a:pt x="14717" y="3237"/>
                      </a:lnTo>
                      <a:cubicBezTo>
                        <a:pt x="14675" y="3257"/>
                        <a:pt x="14626" y="3269"/>
                        <a:pt x="14570" y="3269"/>
                      </a:cubicBezTo>
                      <a:cubicBezTo>
                        <a:pt x="14550" y="3268"/>
                        <a:pt x="14534" y="3267"/>
                        <a:pt x="14519" y="3265"/>
                      </a:cubicBezTo>
                      <a:cubicBezTo>
                        <a:pt x="14582" y="3318"/>
                        <a:pt x="14653" y="3406"/>
                        <a:pt x="14594" y="3528"/>
                      </a:cubicBezTo>
                      <a:cubicBezTo>
                        <a:pt x="14545" y="3621"/>
                        <a:pt x="14454" y="3651"/>
                        <a:pt x="14394" y="3671"/>
                      </a:cubicBezTo>
                      <a:lnTo>
                        <a:pt x="14321" y="3706"/>
                      </a:lnTo>
                      <a:cubicBezTo>
                        <a:pt x="14260" y="3747"/>
                        <a:pt x="14190" y="3794"/>
                        <a:pt x="14092" y="3794"/>
                      </a:cubicBezTo>
                      <a:lnTo>
                        <a:pt x="13953" y="3794"/>
                      </a:lnTo>
                      <a:lnTo>
                        <a:pt x="13875" y="3685"/>
                      </a:lnTo>
                      <a:cubicBezTo>
                        <a:pt x="13857" y="3671"/>
                        <a:pt x="13804" y="3618"/>
                        <a:pt x="13788" y="3536"/>
                      </a:cubicBezTo>
                      <a:lnTo>
                        <a:pt x="13785" y="3525"/>
                      </a:lnTo>
                      <a:cubicBezTo>
                        <a:pt x="13554" y="3289"/>
                        <a:pt x="13508" y="3200"/>
                        <a:pt x="13501" y="3120"/>
                      </a:cubicBezTo>
                      <a:cubicBezTo>
                        <a:pt x="13496" y="3073"/>
                        <a:pt x="13506" y="3031"/>
                        <a:pt x="13516" y="2998"/>
                      </a:cubicBezTo>
                      <a:cubicBezTo>
                        <a:pt x="13376" y="3052"/>
                        <a:pt x="13151" y="3105"/>
                        <a:pt x="12997" y="3014"/>
                      </a:cubicBezTo>
                      <a:cubicBezTo>
                        <a:pt x="12946" y="2984"/>
                        <a:pt x="12789" y="2892"/>
                        <a:pt x="12765" y="2743"/>
                      </a:cubicBezTo>
                      <a:cubicBezTo>
                        <a:pt x="12759" y="2707"/>
                        <a:pt x="12761" y="2671"/>
                        <a:pt x="12771" y="2636"/>
                      </a:cubicBezTo>
                      <a:cubicBezTo>
                        <a:pt x="12641" y="2597"/>
                        <a:pt x="12265" y="2485"/>
                        <a:pt x="12192" y="2440"/>
                      </a:cubicBezTo>
                      <a:cubicBezTo>
                        <a:pt x="12172" y="2429"/>
                        <a:pt x="12151" y="2417"/>
                        <a:pt x="12130" y="2402"/>
                      </a:cubicBezTo>
                      <a:cubicBezTo>
                        <a:pt x="12107" y="2403"/>
                        <a:pt x="12085" y="2404"/>
                        <a:pt x="12060" y="2404"/>
                      </a:cubicBezTo>
                      <a:lnTo>
                        <a:pt x="11899" y="2401"/>
                      </a:lnTo>
                      <a:cubicBezTo>
                        <a:pt x="11857" y="2401"/>
                        <a:pt x="11828" y="2402"/>
                        <a:pt x="11806" y="2403"/>
                      </a:cubicBezTo>
                      <a:lnTo>
                        <a:pt x="11754" y="2476"/>
                      </a:lnTo>
                      <a:lnTo>
                        <a:pt x="11634" y="2463"/>
                      </a:lnTo>
                      <a:cubicBezTo>
                        <a:pt x="11581" y="2464"/>
                        <a:pt x="11530" y="2449"/>
                        <a:pt x="11479" y="2420"/>
                      </a:cubicBezTo>
                      <a:cubicBezTo>
                        <a:pt x="11465" y="2412"/>
                        <a:pt x="11448" y="2400"/>
                        <a:pt x="11430" y="2388"/>
                      </a:cubicBezTo>
                      <a:cubicBezTo>
                        <a:pt x="11370" y="2407"/>
                        <a:pt x="11320" y="2421"/>
                        <a:pt x="11274" y="2427"/>
                      </a:cubicBezTo>
                      <a:cubicBezTo>
                        <a:pt x="11237" y="2478"/>
                        <a:pt x="11179" y="2528"/>
                        <a:pt x="11086" y="2544"/>
                      </a:cubicBezTo>
                      <a:lnTo>
                        <a:pt x="11029" y="2549"/>
                      </a:lnTo>
                      <a:cubicBezTo>
                        <a:pt x="11028" y="2564"/>
                        <a:pt x="11026" y="2579"/>
                        <a:pt x="11020" y="2594"/>
                      </a:cubicBezTo>
                      <a:lnTo>
                        <a:pt x="10993" y="2678"/>
                      </a:lnTo>
                      <a:lnTo>
                        <a:pt x="10881" y="2738"/>
                      </a:lnTo>
                      <a:cubicBezTo>
                        <a:pt x="10828" y="2762"/>
                        <a:pt x="10409" y="2911"/>
                        <a:pt x="10197" y="2911"/>
                      </a:cubicBezTo>
                      <a:cubicBezTo>
                        <a:pt x="10157" y="2911"/>
                        <a:pt x="10104" y="2920"/>
                        <a:pt x="10050" y="2928"/>
                      </a:cubicBezTo>
                      <a:cubicBezTo>
                        <a:pt x="9970" y="2939"/>
                        <a:pt x="9891" y="2949"/>
                        <a:pt x="9832" y="2949"/>
                      </a:cubicBezTo>
                      <a:cubicBezTo>
                        <a:pt x="9597" y="2949"/>
                        <a:pt x="9525" y="2809"/>
                        <a:pt x="9519" y="2727"/>
                      </a:cubicBezTo>
                      <a:lnTo>
                        <a:pt x="9458" y="2606"/>
                      </a:lnTo>
                      <a:lnTo>
                        <a:pt x="9513" y="2555"/>
                      </a:lnTo>
                      <a:cubicBezTo>
                        <a:pt x="9481" y="2562"/>
                        <a:pt x="9447" y="2567"/>
                        <a:pt x="9413" y="2567"/>
                      </a:cubicBezTo>
                      <a:lnTo>
                        <a:pt x="9302" y="2567"/>
                      </a:lnTo>
                      <a:lnTo>
                        <a:pt x="9245" y="2521"/>
                      </a:lnTo>
                      <a:cubicBezTo>
                        <a:pt x="9226" y="2519"/>
                        <a:pt x="9200" y="2518"/>
                        <a:pt x="9186" y="2518"/>
                      </a:cubicBezTo>
                      <a:lnTo>
                        <a:pt x="9125" y="2514"/>
                      </a:lnTo>
                      <a:cubicBezTo>
                        <a:pt x="9126" y="2515"/>
                        <a:pt x="9096" y="2519"/>
                        <a:pt x="9063" y="2523"/>
                      </a:cubicBezTo>
                      <a:cubicBezTo>
                        <a:pt x="8995" y="2531"/>
                        <a:pt x="8918" y="2538"/>
                        <a:pt x="8863" y="2538"/>
                      </a:cubicBezTo>
                      <a:lnTo>
                        <a:pt x="8777" y="2531"/>
                      </a:lnTo>
                      <a:cubicBezTo>
                        <a:pt x="8715" y="2520"/>
                        <a:pt x="8663" y="2515"/>
                        <a:pt x="8646" y="2515"/>
                      </a:cubicBezTo>
                      <a:cubicBezTo>
                        <a:pt x="8589" y="2522"/>
                        <a:pt x="8549" y="2526"/>
                        <a:pt x="8518" y="2526"/>
                      </a:cubicBezTo>
                      <a:lnTo>
                        <a:pt x="8397" y="2526"/>
                      </a:lnTo>
                      <a:lnTo>
                        <a:pt x="8293" y="2433"/>
                      </a:lnTo>
                      <a:cubicBezTo>
                        <a:pt x="8260" y="2399"/>
                        <a:pt x="8237" y="2366"/>
                        <a:pt x="8223" y="2336"/>
                      </a:cubicBezTo>
                      <a:cubicBezTo>
                        <a:pt x="8201" y="2341"/>
                        <a:pt x="8177" y="2344"/>
                        <a:pt x="8151" y="2344"/>
                      </a:cubicBezTo>
                      <a:lnTo>
                        <a:pt x="8096" y="2344"/>
                      </a:lnTo>
                      <a:lnTo>
                        <a:pt x="8029" y="2319"/>
                      </a:lnTo>
                      <a:cubicBezTo>
                        <a:pt x="8028" y="2319"/>
                        <a:pt x="8028" y="2319"/>
                        <a:pt x="8027" y="2319"/>
                      </a:cubicBezTo>
                      <a:cubicBezTo>
                        <a:pt x="7986" y="2342"/>
                        <a:pt x="7930" y="2363"/>
                        <a:pt x="7858" y="2363"/>
                      </a:cubicBezTo>
                      <a:lnTo>
                        <a:pt x="7851" y="2162"/>
                      </a:lnTo>
                      <a:lnTo>
                        <a:pt x="7796" y="2359"/>
                      </a:lnTo>
                      <a:cubicBezTo>
                        <a:pt x="7588" y="2344"/>
                        <a:pt x="7378" y="2321"/>
                        <a:pt x="7254" y="2263"/>
                      </a:cubicBezTo>
                      <a:cubicBezTo>
                        <a:pt x="7100" y="2192"/>
                        <a:pt x="6923" y="2045"/>
                        <a:pt x="6903" y="1893"/>
                      </a:cubicBezTo>
                      <a:cubicBezTo>
                        <a:pt x="6869" y="1829"/>
                        <a:pt x="6810" y="1711"/>
                        <a:pt x="6902" y="1604"/>
                      </a:cubicBezTo>
                      <a:cubicBezTo>
                        <a:pt x="6904" y="1592"/>
                        <a:pt x="6907" y="1581"/>
                        <a:pt x="6910" y="1571"/>
                      </a:cubicBezTo>
                      <a:cubicBezTo>
                        <a:pt x="6913" y="1556"/>
                        <a:pt x="6914" y="1554"/>
                        <a:pt x="6916" y="1557"/>
                      </a:cubicBezTo>
                      <a:cubicBezTo>
                        <a:pt x="6907" y="1531"/>
                        <a:pt x="6896" y="1494"/>
                        <a:pt x="6885" y="1452"/>
                      </a:cubicBezTo>
                      <a:cubicBezTo>
                        <a:pt x="6869" y="1394"/>
                        <a:pt x="6850" y="1322"/>
                        <a:pt x="6832" y="1274"/>
                      </a:cubicBezTo>
                      <a:cubicBezTo>
                        <a:pt x="6767" y="1236"/>
                        <a:pt x="6687" y="1175"/>
                        <a:pt x="6687" y="1068"/>
                      </a:cubicBezTo>
                      <a:cubicBezTo>
                        <a:pt x="6687" y="1047"/>
                        <a:pt x="6683" y="877"/>
                        <a:pt x="6673" y="824"/>
                      </a:cubicBezTo>
                      <a:cubicBezTo>
                        <a:pt x="6567" y="595"/>
                        <a:pt x="6542" y="509"/>
                        <a:pt x="6537" y="455"/>
                      </a:cubicBezTo>
                      <a:cubicBezTo>
                        <a:pt x="6535" y="433"/>
                        <a:pt x="6521" y="394"/>
                        <a:pt x="6510" y="361"/>
                      </a:cubicBezTo>
                      <a:cubicBezTo>
                        <a:pt x="6500" y="329"/>
                        <a:pt x="6489" y="297"/>
                        <a:pt x="6480" y="265"/>
                      </a:cubicBezTo>
                      <a:cubicBezTo>
                        <a:pt x="6473" y="239"/>
                        <a:pt x="6458" y="207"/>
                        <a:pt x="6447" y="179"/>
                      </a:cubicBezTo>
                      <a:cubicBezTo>
                        <a:pt x="6435" y="154"/>
                        <a:pt x="6426" y="131"/>
                        <a:pt x="6418" y="109"/>
                      </a:cubicBezTo>
                      <a:cubicBezTo>
                        <a:pt x="6390" y="97"/>
                        <a:pt x="6367" y="83"/>
                        <a:pt x="6349" y="71"/>
                      </a:cubicBezTo>
                      <a:cubicBezTo>
                        <a:pt x="6326" y="54"/>
                        <a:pt x="6275" y="23"/>
                        <a:pt x="6233" y="0"/>
                      </a:cubicBezTo>
                      <a:cubicBezTo>
                        <a:pt x="6153" y="31"/>
                        <a:pt x="6083" y="54"/>
                        <a:pt x="6006" y="54"/>
                      </a:cubicBezTo>
                      <a:cubicBezTo>
                        <a:pt x="5981" y="53"/>
                        <a:pt x="5958" y="51"/>
                        <a:pt x="5936" y="48"/>
                      </a:cubicBezTo>
                      <a:lnTo>
                        <a:pt x="5984" y="1343"/>
                      </a:lnTo>
                      <a:lnTo>
                        <a:pt x="5755" y="1354"/>
                      </a:lnTo>
                      <a:cubicBezTo>
                        <a:pt x="3862" y="1439"/>
                        <a:pt x="1928" y="1508"/>
                        <a:pt x="0" y="1558"/>
                      </a:cubicBezTo>
                      <a:close/>
                      <a:moveTo>
                        <a:pt x="0" y="1558"/>
                      </a:moveTo>
                    </a:path>
                  </a:pathLst>
                </a:custGeom>
                <a:solidFill>
                  <a:schemeClr val="accent2">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513F3A"/>
                    </a:solidFill>
                    <a:effectLst/>
                    <a:uLnTx/>
                    <a:uFillTx/>
                    <a:latin typeface="Arial"/>
                    <a:ea typeface="Arial"/>
                    <a:cs typeface="Arial"/>
                    <a:sym typeface="Arial"/>
                  </a:endParaRPr>
                </a:p>
              </p:txBody>
            </p:sp>
            <p:sp>
              <p:nvSpPr>
                <p:cNvPr id="76" name="Google Shape;392;p54">
                  <a:extLst>
                    <a:ext uri="{FF2B5EF4-FFF2-40B4-BE49-F238E27FC236}">
                      <a16:creationId xmlns:a16="http://schemas.microsoft.com/office/drawing/2014/main" id="{D117D502-5346-4464-8178-D1148F6C4037}"/>
                    </a:ext>
                  </a:extLst>
                </p:cNvPr>
                <p:cNvSpPr/>
                <p:nvPr/>
              </p:nvSpPr>
              <p:spPr>
                <a:xfrm>
                  <a:off x="5543792" y="2073181"/>
                  <a:ext cx="1512" cy="8694"/>
                </a:xfrm>
                <a:custGeom>
                  <a:avLst/>
                  <a:gdLst/>
                  <a:ahLst/>
                  <a:cxnLst/>
                  <a:rect l="l" t="t" r="r" b="b"/>
                  <a:pathLst>
                    <a:path w="21600" h="21600" extrusionOk="0">
                      <a:moveTo>
                        <a:pt x="0" y="9702"/>
                      </a:moveTo>
                      <a:lnTo>
                        <a:pt x="7387" y="20"/>
                      </a:lnTo>
                      <a:lnTo>
                        <a:pt x="21600" y="21600"/>
                      </a:lnTo>
                      <a:lnTo>
                        <a:pt x="7387" y="0"/>
                      </a:lnTo>
                      <a:cubicBezTo>
                        <a:pt x="7387" y="0"/>
                        <a:pt x="0" y="9702"/>
                        <a:pt x="0" y="9702"/>
                      </a:cubicBezTo>
                      <a:close/>
                      <a:moveTo>
                        <a:pt x="0" y="9702"/>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77" name="Google Shape;393;p54">
                  <a:extLst>
                    <a:ext uri="{FF2B5EF4-FFF2-40B4-BE49-F238E27FC236}">
                      <a16:creationId xmlns:a16="http://schemas.microsoft.com/office/drawing/2014/main" id="{975524FD-96E6-40CE-BF5B-008894AD9630}"/>
                    </a:ext>
                  </a:extLst>
                </p:cNvPr>
                <p:cNvSpPr/>
                <p:nvPr/>
              </p:nvSpPr>
              <p:spPr>
                <a:xfrm>
                  <a:off x="5282539" y="2073181"/>
                  <a:ext cx="693468" cy="348516"/>
                </a:xfrm>
                <a:custGeom>
                  <a:avLst/>
                  <a:gdLst/>
                  <a:ahLst/>
                  <a:cxnLst/>
                  <a:rect l="l" t="t" r="r" b="b"/>
                  <a:pathLst>
                    <a:path w="21600" h="21600" extrusionOk="0">
                      <a:moveTo>
                        <a:pt x="2004" y="7674"/>
                      </a:moveTo>
                      <a:cubicBezTo>
                        <a:pt x="1966" y="7674"/>
                        <a:pt x="1928" y="7668"/>
                        <a:pt x="1891" y="7661"/>
                      </a:cubicBezTo>
                      <a:lnTo>
                        <a:pt x="1837" y="7654"/>
                      </a:lnTo>
                      <a:cubicBezTo>
                        <a:pt x="1822" y="7663"/>
                        <a:pt x="1784" y="7674"/>
                        <a:pt x="1735" y="7682"/>
                      </a:cubicBezTo>
                      <a:cubicBezTo>
                        <a:pt x="1640" y="7698"/>
                        <a:pt x="1521" y="7719"/>
                        <a:pt x="1406" y="7966"/>
                      </a:cubicBezTo>
                      <a:cubicBezTo>
                        <a:pt x="1315" y="8162"/>
                        <a:pt x="1250" y="8408"/>
                        <a:pt x="1192" y="8625"/>
                      </a:cubicBezTo>
                      <a:cubicBezTo>
                        <a:pt x="1110" y="8931"/>
                        <a:pt x="1033" y="9220"/>
                        <a:pt x="886" y="9365"/>
                      </a:cubicBezTo>
                      <a:cubicBezTo>
                        <a:pt x="823" y="9428"/>
                        <a:pt x="648" y="9572"/>
                        <a:pt x="466" y="9720"/>
                      </a:cubicBezTo>
                      <a:cubicBezTo>
                        <a:pt x="280" y="9871"/>
                        <a:pt x="88" y="10025"/>
                        <a:pt x="31" y="10087"/>
                      </a:cubicBezTo>
                      <a:cubicBezTo>
                        <a:pt x="26" y="10102"/>
                        <a:pt x="16" y="10130"/>
                        <a:pt x="0" y="10163"/>
                      </a:cubicBezTo>
                      <a:lnTo>
                        <a:pt x="94" y="10183"/>
                      </a:lnTo>
                      <a:lnTo>
                        <a:pt x="109" y="10241"/>
                      </a:lnTo>
                      <a:cubicBezTo>
                        <a:pt x="147" y="10246"/>
                        <a:pt x="182" y="10265"/>
                        <a:pt x="215" y="10296"/>
                      </a:cubicBezTo>
                      <a:cubicBezTo>
                        <a:pt x="330" y="10403"/>
                        <a:pt x="524" y="10966"/>
                        <a:pt x="561" y="11077"/>
                      </a:cubicBezTo>
                      <a:cubicBezTo>
                        <a:pt x="597" y="11188"/>
                        <a:pt x="622" y="11315"/>
                        <a:pt x="638" y="11412"/>
                      </a:cubicBezTo>
                      <a:cubicBezTo>
                        <a:pt x="661" y="11464"/>
                        <a:pt x="680" y="11510"/>
                        <a:pt x="700" y="11567"/>
                      </a:cubicBezTo>
                      <a:cubicBezTo>
                        <a:pt x="727" y="11647"/>
                        <a:pt x="752" y="11751"/>
                        <a:pt x="774" y="11852"/>
                      </a:cubicBezTo>
                      <a:lnTo>
                        <a:pt x="4327" y="13044"/>
                      </a:lnTo>
                      <a:lnTo>
                        <a:pt x="5273" y="13888"/>
                      </a:lnTo>
                      <a:cubicBezTo>
                        <a:pt x="5301" y="13888"/>
                        <a:pt x="5330" y="13892"/>
                        <a:pt x="5359" y="13901"/>
                      </a:cubicBezTo>
                      <a:lnTo>
                        <a:pt x="5658" y="13876"/>
                      </a:lnTo>
                      <a:cubicBezTo>
                        <a:pt x="5735" y="13876"/>
                        <a:pt x="5805" y="13936"/>
                        <a:pt x="5862" y="14022"/>
                      </a:cubicBezTo>
                      <a:cubicBezTo>
                        <a:pt x="5978" y="13861"/>
                        <a:pt x="6208" y="13706"/>
                        <a:pt x="6310" y="13706"/>
                      </a:cubicBezTo>
                      <a:cubicBezTo>
                        <a:pt x="6386" y="13718"/>
                        <a:pt x="6463" y="13760"/>
                        <a:pt x="6528" y="13877"/>
                      </a:cubicBezTo>
                      <a:cubicBezTo>
                        <a:pt x="6579" y="13881"/>
                        <a:pt x="6624" y="13910"/>
                        <a:pt x="6667" y="13950"/>
                      </a:cubicBezTo>
                      <a:cubicBezTo>
                        <a:pt x="6796" y="13818"/>
                        <a:pt x="6934" y="13925"/>
                        <a:pt x="7085" y="14074"/>
                      </a:cubicBezTo>
                      <a:cubicBezTo>
                        <a:pt x="7113" y="14101"/>
                        <a:pt x="7140" y="14130"/>
                        <a:pt x="7160" y="14144"/>
                      </a:cubicBezTo>
                      <a:lnTo>
                        <a:pt x="7278" y="14042"/>
                      </a:lnTo>
                      <a:cubicBezTo>
                        <a:pt x="7327" y="14042"/>
                        <a:pt x="7369" y="14064"/>
                        <a:pt x="7405" y="14098"/>
                      </a:cubicBezTo>
                      <a:lnTo>
                        <a:pt x="7489" y="14091"/>
                      </a:lnTo>
                      <a:cubicBezTo>
                        <a:pt x="7595" y="14091"/>
                        <a:pt x="7707" y="14192"/>
                        <a:pt x="7852" y="14334"/>
                      </a:cubicBezTo>
                      <a:cubicBezTo>
                        <a:pt x="7917" y="14391"/>
                        <a:pt x="8056" y="14519"/>
                        <a:pt x="8083" y="14844"/>
                      </a:cubicBezTo>
                      <a:cubicBezTo>
                        <a:pt x="8125" y="14897"/>
                        <a:pt x="8164" y="14971"/>
                        <a:pt x="8193" y="15077"/>
                      </a:cubicBezTo>
                      <a:cubicBezTo>
                        <a:pt x="8234" y="15230"/>
                        <a:pt x="8237" y="15373"/>
                        <a:pt x="8219" y="15506"/>
                      </a:cubicBezTo>
                      <a:lnTo>
                        <a:pt x="8230" y="15506"/>
                      </a:lnTo>
                      <a:cubicBezTo>
                        <a:pt x="8339" y="15506"/>
                        <a:pt x="8423" y="15619"/>
                        <a:pt x="8488" y="15744"/>
                      </a:cubicBezTo>
                      <a:cubicBezTo>
                        <a:pt x="8508" y="15738"/>
                        <a:pt x="8526" y="15737"/>
                        <a:pt x="8543" y="15737"/>
                      </a:cubicBezTo>
                      <a:cubicBezTo>
                        <a:pt x="8585" y="15737"/>
                        <a:pt x="8725" y="15752"/>
                        <a:pt x="8811" y="15817"/>
                      </a:cubicBezTo>
                      <a:cubicBezTo>
                        <a:pt x="8910" y="15890"/>
                        <a:pt x="8963" y="16028"/>
                        <a:pt x="8991" y="16140"/>
                      </a:cubicBezTo>
                      <a:cubicBezTo>
                        <a:pt x="9024" y="16158"/>
                        <a:pt x="9059" y="16183"/>
                        <a:pt x="9094" y="16224"/>
                      </a:cubicBezTo>
                      <a:cubicBezTo>
                        <a:pt x="9186" y="16331"/>
                        <a:pt x="9367" y="16689"/>
                        <a:pt x="9367" y="17034"/>
                      </a:cubicBezTo>
                      <a:cubicBezTo>
                        <a:pt x="9367" y="17130"/>
                        <a:pt x="9356" y="17211"/>
                        <a:pt x="9339" y="17279"/>
                      </a:cubicBezTo>
                      <a:cubicBezTo>
                        <a:pt x="9345" y="17295"/>
                        <a:pt x="9351" y="17311"/>
                        <a:pt x="9357" y="17329"/>
                      </a:cubicBezTo>
                      <a:cubicBezTo>
                        <a:pt x="9461" y="17652"/>
                        <a:pt x="9393" y="18105"/>
                        <a:pt x="9361" y="18279"/>
                      </a:cubicBezTo>
                      <a:cubicBezTo>
                        <a:pt x="9399" y="18410"/>
                        <a:pt x="9427" y="18545"/>
                        <a:pt x="9442" y="18740"/>
                      </a:cubicBezTo>
                      <a:cubicBezTo>
                        <a:pt x="9471" y="19114"/>
                        <a:pt x="9348" y="19416"/>
                        <a:pt x="9243" y="19634"/>
                      </a:cubicBezTo>
                      <a:cubicBezTo>
                        <a:pt x="9244" y="19640"/>
                        <a:pt x="9244" y="19645"/>
                        <a:pt x="9245" y="19651"/>
                      </a:cubicBezTo>
                      <a:lnTo>
                        <a:pt x="9268" y="19653"/>
                      </a:lnTo>
                      <a:cubicBezTo>
                        <a:pt x="9274" y="19638"/>
                        <a:pt x="9280" y="19623"/>
                        <a:pt x="9287" y="19607"/>
                      </a:cubicBezTo>
                      <a:cubicBezTo>
                        <a:pt x="9318" y="19535"/>
                        <a:pt x="9349" y="19463"/>
                        <a:pt x="9379" y="19407"/>
                      </a:cubicBezTo>
                      <a:lnTo>
                        <a:pt x="9457" y="19259"/>
                      </a:lnTo>
                      <a:lnTo>
                        <a:pt x="9597" y="19230"/>
                      </a:lnTo>
                      <a:cubicBezTo>
                        <a:pt x="9794" y="19230"/>
                        <a:pt x="9893" y="19567"/>
                        <a:pt x="9947" y="19749"/>
                      </a:cubicBezTo>
                      <a:cubicBezTo>
                        <a:pt x="10112" y="20167"/>
                        <a:pt x="9997" y="20598"/>
                        <a:pt x="9935" y="20829"/>
                      </a:cubicBezTo>
                      <a:lnTo>
                        <a:pt x="9910" y="20927"/>
                      </a:lnTo>
                      <a:cubicBezTo>
                        <a:pt x="9906" y="20950"/>
                        <a:pt x="9901" y="20992"/>
                        <a:pt x="9896" y="21046"/>
                      </a:cubicBezTo>
                      <a:cubicBezTo>
                        <a:pt x="9894" y="21057"/>
                        <a:pt x="9893" y="21071"/>
                        <a:pt x="9892" y="21083"/>
                      </a:cubicBezTo>
                      <a:cubicBezTo>
                        <a:pt x="9888" y="21126"/>
                        <a:pt x="9883" y="21172"/>
                        <a:pt x="9879" y="21223"/>
                      </a:cubicBezTo>
                      <a:cubicBezTo>
                        <a:pt x="9876" y="21251"/>
                        <a:pt x="9874" y="21281"/>
                        <a:pt x="9871" y="21311"/>
                      </a:cubicBezTo>
                      <a:cubicBezTo>
                        <a:pt x="9867" y="21353"/>
                        <a:pt x="9864" y="21395"/>
                        <a:pt x="9861" y="21438"/>
                      </a:cubicBezTo>
                      <a:cubicBezTo>
                        <a:pt x="9858" y="21457"/>
                        <a:pt x="9857" y="21476"/>
                        <a:pt x="9856" y="21496"/>
                      </a:cubicBezTo>
                      <a:cubicBezTo>
                        <a:pt x="9853" y="21532"/>
                        <a:pt x="9851" y="21566"/>
                        <a:pt x="9848" y="21600"/>
                      </a:cubicBezTo>
                      <a:cubicBezTo>
                        <a:pt x="9917" y="21431"/>
                        <a:pt x="10011" y="21201"/>
                        <a:pt x="10092" y="20902"/>
                      </a:cubicBezTo>
                      <a:lnTo>
                        <a:pt x="10178" y="20583"/>
                      </a:lnTo>
                      <a:cubicBezTo>
                        <a:pt x="10217" y="20439"/>
                        <a:pt x="10235" y="20376"/>
                        <a:pt x="10255" y="20315"/>
                      </a:cubicBezTo>
                      <a:lnTo>
                        <a:pt x="10261" y="20298"/>
                      </a:lnTo>
                      <a:cubicBezTo>
                        <a:pt x="10263" y="20192"/>
                        <a:pt x="10270" y="20083"/>
                        <a:pt x="10301" y="19957"/>
                      </a:cubicBezTo>
                      <a:lnTo>
                        <a:pt x="10331" y="19852"/>
                      </a:lnTo>
                      <a:cubicBezTo>
                        <a:pt x="10345" y="19659"/>
                        <a:pt x="10353" y="19396"/>
                        <a:pt x="10460" y="19204"/>
                      </a:cubicBezTo>
                      <a:lnTo>
                        <a:pt x="10478" y="19225"/>
                      </a:lnTo>
                      <a:cubicBezTo>
                        <a:pt x="10486" y="19150"/>
                        <a:pt x="10497" y="19062"/>
                        <a:pt x="10519" y="18974"/>
                      </a:cubicBezTo>
                      <a:cubicBezTo>
                        <a:pt x="10516" y="18894"/>
                        <a:pt x="10521" y="18802"/>
                        <a:pt x="10534" y="18706"/>
                      </a:cubicBezTo>
                      <a:cubicBezTo>
                        <a:pt x="10557" y="18539"/>
                        <a:pt x="10605" y="18416"/>
                        <a:pt x="10637" y="18334"/>
                      </a:cubicBezTo>
                      <a:cubicBezTo>
                        <a:pt x="10637" y="18334"/>
                        <a:pt x="10637" y="18334"/>
                        <a:pt x="10637" y="18334"/>
                      </a:cubicBezTo>
                      <a:cubicBezTo>
                        <a:pt x="10723" y="17435"/>
                        <a:pt x="10800" y="16905"/>
                        <a:pt x="10882" y="16630"/>
                      </a:cubicBezTo>
                      <a:cubicBezTo>
                        <a:pt x="10967" y="16348"/>
                        <a:pt x="11113" y="16073"/>
                        <a:pt x="11230" y="15853"/>
                      </a:cubicBezTo>
                      <a:cubicBezTo>
                        <a:pt x="11242" y="15828"/>
                        <a:pt x="11255" y="15806"/>
                        <a:pt x="11266" y="15784"/>
                      </a:cubicBezTo>
                      <a:cubicBezTo>
                        <a:pt x="11268" y="15761"/>
                        <a:pt x="11270" y="15738"/>
                        <a:pt x="11273" y="15713"/>
                      </a:cubicBezTo>
                      <a:cubicBezTo>
                        <a:pt x="11255" y="15623"/>
                        <a:pt x="11245" y="15517"/>
                        <a:pt x="11249" y="15383"/>
                      </a:cubicBezTo>
                      <a:lnTo>
                        <a:pt x="11264" y="15217"/>
                      </a:lnTo>
                      <a:cubicBezTo>
                        <a:pt x="11236" y="15033"/>
                        <a:pt x="11210" y="14827"/>
                        <a:pt x="11258" y="14613"/>
                      </a:cubicBezTo>
                      <a:cubicBezTo>
                        <a:pt x="11314" y="14370"/>
                        <a:pt x="11440" y="14111"/>
                        <a:pt x="11631" y="14111"/>
                      </a:cubicBezTo>
                      <a:cubicBezTo>
                        <a:pt x="11863" y="14165"/>
                        <a:pt x="11987" y="14419"/>
                        <a:pt x="12050" y="14873"/>
                      </a:cubicBezTo>
                      <a:cubicBezTo>
                        <a:pt x="12063" y="14967"/>
                        <a:pt x="12069" y="15046"/>
                        <a:pt x="12071" y="15108"/>
                      </a:cubicBezTo>
                      <a:cubicBezTo>
                        <a:pt x="12076" y="15120"/>
                        <a:pt x="12079" y="15133"/>
                        <a:pt x="12083" y="15144"/>
                      </a:cubicBezTo>
                      <a:cubicBezTo>
                        <a:pt x="12108" y="14995"/>
                        <a:pt x="12134" y="14846"/>
                        <a:pt x="12191" y="14716"/>
                      </a:cubicBezTo>
                      <a:cubicBezTo>
                        <a:pt x="12155" y="14550"/>
                        <a:pt x="12101" y="14282"/>
                        <a:pt x="12198" y="14024"/>
                      </a:cubicBezTo>
                      <a:cubicBezTo>
                        <a:pt x="12222" y="13928"/>
                        <a:pt x="12324" y="13557"/>
                        <a:pt x="12532" y="13557"/>
                      </a:cubicBezTo>
                      <a:lnTo>
                        <a:pt x="12603" y="13557"/>
                      </a:lnTo>
                      <a:lnTo>
                        <a:pt x="12691" y="13642"/>
                      </a:lnTo>
                      <a:cubicBezTo>
                        <a:pt x="12709" y="13663"/>
                        <a:pt x="12725" y="13685"/>
                        <a:pt x="12741" y="13708"/>
                      </a:cubicBezTo>
                      <a:cubicBezTo>
                        <a:pt x="12752" y="13677"/>
                        <a:pt x="12764" y="13650"/>
                        <a:pt x="12775" y="13628"/>
                      </a:cubicBezTo>
                      <a:cubicBezTo>
                        <a:pt x="12802" y="13467"/>
                        <a:pt x="12857" y="13343"/>
                        <a:pt x="12940" y="13249"/>
                      </a:cubicBezTo>
                      <a:cubicBezTo>
                        <a:pt x="13107" y="13060"/>
                        <a:pt x="13322" y="13129"/>
                        <a:pt x="13473" y="13414"/>
                      </a:cubicBezTo>
                      <a:cubicBezTo>
                        <a:pt x="13578" y="13610"/>
                        <a:pt x="13614" y="13891"/>
                        <a:pt x="13599" y="14139"/>
                      </a:cubicBezTo>
                      <a:cubicBezTo>
                        <a:pt x="13619" y="14101"/>
                        <a:pt x="13642" y="14063"/>
                        <a:pt x="13669" y="14030"/>
                      </a:cubicBezTo>
                      <a:cubicBezTo>
                        <a:pt x="13675" y="13935"/>
                        <a:pt x="13687" y="13847"/>
                        <a:pt x="13711" y="13763"/>
                      </a:cubicBezTo>
                      <a:cubicBezTo>
                        <a:pt x="13714" y="13756"/>
                        <a:pt x="13715" y="13751"/>
                        <a:pt x="13716" y="13748"/>
                      </a:cubicBezTo>
                      <a:cubicBezTo>
                        <a:pt x="13711" y="13335"/>
                        <a:pt x="13716" y="13106"/>
                        <a:pt x="13788" y="12914"/>
                      </a:cubicBezTo>
                      <a:cubicBezTo>
                        <a:pt x="13885" y="12658"/>
                        <a:pt x="13955" y="12494"/>
                        <a:pt x="14033" y="12401"/>
                      </a:cubicBezTo>
                      <a:lnTo>
                        <a:pt x="14135" y="12319"/>
                      </a:lnTo>
                      <a:cubicBezTo>
                        <a:pt x="14196" y="12205"/>
                        <a:pt x="14272" y="12136"/>
                        <a:pt x="14357" y="12119"/>
                      </a:cubicBezTo>
                      <a:lnTo>
                        <a:pt x="14442" y="12123"/>
                      </a:lnTo>
                      <a:cubicBezTo>
                        <a:pt x="14524" y="12017"/>
                        <a:pt x="14641" y="11918"/>
                        <a:pt x="14835" y="11964"/>
                      </a:cubicBezTo>
                      <a:cubicBezTo>
                        <a:pt x="14881" y="11975"/>
                        <a:pt x="14930" y="11980"/>
                        <a:pt x="14977" y="11984"/>
                      </a:cubicBezTo>
                      <a:cubicBezTo>
                        <a:pt x="15051" y="11990"/>
                        <a:pt x="15121" y="11997"/>
                        <a:pt x="15187" y="12020"/>
                      </a:cubicBezTo>
                      <a:cubicBezTo>
                        <a:pt x="15189" y="12015"/>
                        <a:pt x="15192" y="12010"/>
                        <a:pt x="15194" y="12005"/>
                      </a:cubicBezTo>
                      <a:cubicBezTo>
                        <a:pt x="15228" y="11938"/>
                        <a:pt x="15359" y="11704"/>
                        <a:pt x="15535" y="11703"/>
                      </a:cubicBezTo>
                      <a:cubicBezTo>
                        <a:pt x="15590" y="11618"/>
                        <a:pt x="15660" y="11568"/>
                        <a:pt x="15740" y="11568"/>
                      </a:cubicBezTo>
                      <a:cubicBezTo>
                        <a:pt x="15849" y="11585"/>
                        <a:pt x="15893" y="11608"/>
                        <a:pt x="15930" y="11628"/>
                      </a:cubicBezTo>
                      <a:cubicBezTo>
                        <a:pt x="15951" y="11629"/>
                        <a:pt x="16003" y="11626"/>
                        <a:pt x="16046" y="11617"/>
                      </a:cubicBezTo>
                      <a:cubicBezTo>
                        <a:pt x="16073" y="11535"/>
                        <a:pt x="16111" y="11423"/>
                        <a:pt x="16133" y="11350"/>
                      </a:cubicBezTo>
                      <a:cubicBezTo>
                        <a:pt x="16136" y="11234"/>
                        <a:pt x="16153" y="11096"/>
                        <a:pt x="16210" y="10937"/>
                      </a:cubicBezTo>
                      <a:cubicBezTo>
                        <a:pt x="16229" y="10885"/>
                        <a:pt x="16245" y="10824"/>
                        <a:pt x="16259" y="10771"/>
                      </a:cubicBezTo>
                      <a:cubicBezTo>
                        <a:pt x="16278" y="10701"/>
                        <a:pt x="16295" y="10639"/>
                        <a:pt x="16311" y="10593"/>
                      </a:cubicBezTo>
                      <a:cubicBezTo>
                        <a:pt x="16356" y="10452"/>
                        <a:pt x="16484" y="10058"/>
                        <a:pt x="16705" y="10058"/>
                      </a:cubicBezTo>
                      <a:lnTo>
                        <a:pt x="16760" y="10061"/>
                      </a:lnTo>
                      <a:cubicBezTo>
                        <a:pt x="16843" y="9901"/>
                        <a:pt x="16946" y="9883"/>
                        <a:pt x="16983" y="9883"/>
                      </a:cubicBezTo>
                      <a:lnTo>
                        <a:pt x="17052" y="9883"/>
                      </a:lnTo>
                      <a:lnTo>
                        <a:pt x="17125" y="9948"/>
                      </a:lnTo>
                      <a:cubicBezTo>
                        <a:pt x="17178" y="9905"/>
                        <a:pt x="17226" y="9891"/>
                        <a:pt x="17265" y="9891"/>
                      </a:cubicBezTo>
                      <a:lnTo>
                        <a:pt x="17346" y="9891"/>
                      </a:lnTo>
                      <a:lnTo>
                        <a:pt x="17453" y="10004"/>
                      </a:lnTo>
                      <a:cubicBezTo>
                        <a:pt x="17478" y="10036"/>
                        <a:pt x="17511" y="10081"/>
                        <a:pt x="17540" y="10112"/>
                      </a:cubicBezTo>
                      <a:cubicBezTo>
                        <a:pt x="17557" y="10110"/>
                        <a:pt x="17577" y="10109"/>
                        <a:pt x="17598" y="10109"/>
                      </a:cubicBezTo>
                      <a:cubicBezTo>
                        <a:pt x="17705" y="10109"/>
                        <a:pt x="17754" y="10136"/>
                        <a:pt x="17770" y="10144"/>
                      </a:cubicBezTo>
                      <a:lnTo>
                        <a:pt x="17841" y="10202"/>
                      </a:lnTo>
                      <a:cubicBezTo>
                        <a:pt x="17936" y="10158"/>
                        <a:pt x="18038" y="10172"/>
                        <a:pt x="18133" y="10240"/>
                      </a:cubicBezTo>
                      <a:lnTo>
                        <a:pt x="18191" y="10294"/>
                      </a:lnTo>
                      <a:lnTo>
                        <a:pt x="18253" y="10293"/>
                      </a:lnTo>
                      <a:cubicBezTo>
                        <a:pt x="18373" y="10293"/>
                        <a:pt x="18470" y="10311"/>
                        <a:pt x="18552" y="10398"/>
                      </a:cubicBezTo>
                      <a:cubicBezTo>
                        <a:pt x="18626" y="10476"/>
                        <a:pt x="18795" y="10710"/>
                        <a:pt x="18923" y="10912"/>
                      </a:cubicBezTo>
                      <a:cubicBezTo>
                        <a:pt x="18990" y="11017"/>
                        <a:pt x="19031" y="11109"/>
                        <a:pt x="19060" y="11191"/>
                      </a:cubicBezTo>
                      <a:cubicBezTo>
                        <a:pt x="19098" y="11221"/>
                        <a:pt x="19135" y="11251"/>
                        <a:pt x="19170" y="11284"/>
                      </a:cubicBezTo>
                      <a:cubicBezTo>
                        <a:pt x="19167" y="11133"/>
                        <a:pt x="19192" y="10986"/>
                        <a:pt x="19242" y="10864"/>
                      </a:cubicBezTo>
                      <a:cubicBezTo>
                        <a:pt x="19258" y="10814"/>
                        <a:pt x="19277" y="10760"/>
                        <a:pt x="19298" y="10709"/>
                      </a:cubicBezTo>
                      <a:cubicBezTo>
                        <a:pt x="19275" y="10558"/>
                        <a:pt x="19265" y="10370"/>
                        <a:pt x="19315" y="10172"/>
                      </a:cubicBezTo>
                      <a:cubicBezTo>
                        <a:pt x="19365" y="9963"/>
                        <a:pt x="19460" y="9565"/>
                        <a:pt x="19675" y="9565"/>
                      </a:cubicBezTo>
                      <a:lnTo>
                        <a:pt x="19745" y="9565"/>
                      </a:lnTo>
                      <a:lnTo>
                        <a:pt x="19892" y="9721"/>
                      </a:lnTo>
                      <a:cubicBezTo>
                        <a:pt x="19935" y="9697"/>
                        <a:pt x="19980" y="9680"/>
                        <a:pt x="20026" y="9680"/>
                      </a:cubicBezTo>
                      <a:lnTo>
                        <a:pt x="20112" y="9680"/>
                      </a:lnTo>
                      <a:lnTo>
                        <a:pt x="20209" y="9792"/>
                      </a:lnTo>
                      <a:cubicBezTo>
                        <a:pt x="20239" y="9834"/>
                        <a:pt x="20277" y="9910"/>
                        <a:pt x="20313" y="10003"/>
                      </a:cubicBezTo>
                      <a:lnTo>
                        <a:pt x="20391" y="10003"/>
                      </a:lnTo>
                      <a:lnTo>
                        <a:pt x="20436" y="10078"/>
                      </a:lnTo>
                      <a:cubicBezTo>
                        <a:pt x="20450" y="10074"/>
                        <a:pt x="20466" y="10071"/>
                        <a:pt x="20482" y="10071"/>
                      </a:cubicBezTo>
                      <a:lnTo>
                        <a:pt x="20650" y="10128"/>
                      </a:lnTo>
                      <a:lnTo>
                        <a:pt x="20698" y="10269"/>
                      </a:lnTo>
                      <a:cubicBezTo>
                        <a:pt x="20737" y="10212"/>
                        <a:pt x="20779" y="10163"/>
                        <a:pt x="20823" y="10130"/>
                      </a:cubicBezTo>
                      <a:cubicBezTo>
                        <a:pt x="20871" y="10096"/>
                        <a:pt x="20923" y="10079"/>
                        <a:pt x="20982" y="10079"/>
                      </a:cubicBezTo>
                      <a:lnTo>
                        <a:pt x="20987" y="10114"/>
                      </a:lnTo>
                      <a:cubicBezTo>
                        <a:pt x="21043" y="9994"/>
                        <a:pt x="21133" y="9842"/>
                        <a:pt x="21289" y="9842"/>
                      </a:cubicBezTo>
                      <a:cubicBezTo>
                        <a:pt x="21317" y="9842"/>
                        <a:pt x="21343" y="9846"/>
                        <a:pt x="21367" y="9851"/>
                      </a:cubicBezTo>
                      <a:cubicBezTo>
                        <a:pt x="21422" y="9783"/>
                        <a:pt x="21497" y="9716"/>
                        <a:pt x="21578" y="9716"/>
                      </a:cubicBezTo>
                      <a:lnTo>
                        <a:pt x="21600" y="9716"/>
                      </a:lnTo>
                      <a:cubicBezTo>
                        <a:pt x="21575" y="9678"/>
                        <a:pt x="21550" y="9633"/>
                        <a:pt x="21524" y="9574"/>
                      </a:cubicBezTo>
                      <a:cubicBezTo>
                        <a:pt x="21413" y="9384"/>
                        <a:pt x="21357" y="9194"/>
                        <a:pt x="21353" y="9000"/>
                      </a:cubicBezTo>
                      <a:cubicBezTo>
                        <a:pt x="21344" y="8987"/>
                        <a:pt x="21336" y="8974"/>
                        <a:pt x="21327" y="8959"/>
                      </a:cubicBezTo>
                      <a:lnTo>
                        <a:pt x="21197" y="9017"/>
                      </a:lnTo>
                      <a:cubicBezTo>
                        <a:pt x="21158" y="9050"/>
                        <a:pt x="21101" y="9089"/>
                        <a:pt x="21036" y="9089"/>
                      </a:cubicBezTo>
                      <a:lnTo>
                        <a:pt x="20937" y="9089"/>
                      </a:lnTo>
                      <a:lnTo>
                        <a:pt x="20847" y="8955"/>
                      </a:lnTo>
                      <a:cubicBezTo>
                        <a:pt x="20684" y="8745"/>
                        <a:pt x="20675" y="8449"/>
                        <a:pt x="20687" y="8274"/>
                      </a:cubicBezTo>
                      <a:cubicBezTo>
                        <a:pt x="20645" y="7836"/>
                        <a:pt x="20760" y="7626"/>
                        <a:pt x="20833" y="7537"/>
                      </a:cubicBezTo>
                      <a:cubicBezTo>
                        <a:pt x="20888" y="7469"/>
                        <a:pt x="20951" y="7435"/>
                        <a:pt x="21045" y="7393"/>
                      </a:cubicBezTo>
                      <a:cubicBezTo>
                        <a:pt x="21024" y="7287"/>
                        <a:pt x="21013" y="7198"/>
                        <a:pt x="21013" y="7102"/>
                      </a:cubicBezTo>
                      <a:lnTo>
                        <a:pt x="21013" y="6919"/>
                      </a:lnTo>
                      <a:cubicBezTo>
                        <a:pt x="21007" y="6901"/>
                        <a:pt x="20986" y="6846"/>
                        <a:pt x="20970" y="6796"/>
                      </a:cubicBezTo>
                      <a:cubicBezTo>
                        <a:pt x="20946" y="6723"/>
                        <a:pt x="20925" y="6657"/>
                        <a:pt x="20912" y="6607"/>
                      </a:cubicBezTo>
                      <a:cubicBezTo>
                        <a:pt x="20897" y="6544"/>
                        <a:pt x="20823" y="6148"/>
                        <a:pt x="20827" y="5828"/>
                      </a:cubicBezTo>
                      <a:cubicBezTo>
                        <a:pt x="20697" y="5989"/>
                        <a:pt x="20526" y="5988"/>
                        <a:pt x="20394" y="5919"/>
                      </a:cubicBezTo>
                      <a:cubicBezTo>
                        <a:pt x="20363" y="5956"/>
                        <a:pt x="20335" y="5984"/>
                        <a:pt x="20307" y="6006"/>
                      </a:cubicBezTo>
                      <a:cubicBezTo>
                        <a:pt x="20293" y="6177"/>
                        <a:pt x="20261" y="6362"/>
                        <a:pt x="20213" y="6479"/>
                      </a:cubicBezTo>
                      <a:cubicBezTo>
                        <a:pt x="20152" y="6637"/>
                        <a:pt x="20067" y="6684"/>
                        <a:pt x="20006" y="6700"/>
                      </a:cubicBezTo>
                      <a:cubicBezTo>
                        <a:pt x="19934" y="6817"/>
                        <a:pt x="19828" y="6958"/>
                        <a:pt x="19725" y="6958"/>
                      </a:cubicBezTo>
                      <a:cubicBezTo>
                        <a:pt x="19646" y="6958"/>
                        <a:pt x="19396" y="6839"/>
                        <a:pt x="19297" y="6456"/>
                      </a:cubicBezTo>
                      <a:cubicBezTo>
                        <a:pt x="19297" y="6454"/>
                        <a:pt x="19297" y="6453"/>
                        <a:pt x="19296" y="6451"/>
                      </a:cubicBezTo>
                      <a:cubicBezTo>
                        <a:pt x="19215" y="6608"/>
                        <a:pt x="19137" y="6735"/>
                        <a:pt x="19048" y="6802"/>
                      </a:cubicBezTo>
                      <a:cubicBezTo>
                        <a:pt x="19003" y="6880"/>
                        <a:pt x="18919" y="7006"/>
                        <a:pt x="18795" y="7006"/>
                      </a:cubicBezTo>
                      <a:lnTo>
                        <a:pt x="18732" y="7006"/>
                      </a:lnTo>
                      <a:lnTo>
                        <a:pt x="18634" y="6931"/>
                      </a:lnTo>
                      <a:cubicBezTo>
                        <a:pt x="18612" y="6909"/>
                        <a:pt x="18592" y="6888"/>
                        <a:pt x="18573" y="6866"/>
                      </a:cubicBezTo>
                      <a:cubicBezTo>
                        <a:pt x="18551" y="6875"/>
                        <a:pt x="18528" y="6881"/>
                        <a:pt x="18502" y="6881"/>
                      </a:cubicBezTo>
                      <a:lnTo>
                        <a:pt x="18392" y="6845"/>
                      </a:lnTo>
                      <a:cubicBezTo>
                        <a:pt x="18383" y="6839"/>
                        <a:pt x="18375" y="6833"/>
                        <a:pt x="18366" y="6826"/>
                      </a:cubicBezTo>
                      <a:cubicBezTo>
                        <a:pt x="18345" y="6846"/>
                        <a:pt x="18322" y="6863"/>
                        <a:pt x="18296" y="6873"/>
                      </a:cubicBezTo>
                      <a:cubicBezTo>
                        <a:pt x="18250" y="6892"/>
                        <a:pt x="18035" y="6978"/>
                        <a:pt x="17887" y="6751"/>
                      </a:cubicBezTo>
                      <a:cubicBezTo>
                        <a:pt x="17883" y="6743"/>
                        <a:pt x="17551" y="6145"/>
                        <a:pt x="17661" y="5643"/>
                      </a:cubicBezTo>
                      <a:lnTo>
                        <a:pt x="17673" y="5587"/>
                      </a:lnTo>
                      <a:cubicBezTo>
                        <a:pt x="17657" y="5507"/>
                        <a:pt x="17647" y="5411"/>
                        <a:pt x="17652" y="5296"/>
                      </a:cubicBezTo>
                      <a:lnTo>
                        <a:pt x="17642" y="5256"/>
                      </a:lnTo>
                      <a:cubicBezTo>
                        <a:pt x="17605" y="4801"/>
                        <a:pt x="17585" y="4499"/>
                        <a:pt x="17593" y="4304"/>
                      </a:cubicBezTo>
                      <a:cubicBezTo>
                        <a:pt x="17594" y="4263"/>
                        <a:pt x="17597" y="4224"/>
                        <a:pt x="17598" y="4188"/>
                      </a:cubicBezTo>
                      <a:cubicBezTo>
                        <a:pt x="17484" y="4193"/>
                        <a:pt x="17416" y="4205"/>
                        <a:pt x="17397" y="4214"/>
                      </a:cubicBezTo>
                      <a:cubicBezTo>
                        <a:pt x="17341" y="4248"/>
                        <a:pt x="17038" y="4529"/>
                        <a:pt x="16899" y="4740"/>
                      </a:cubicBezTo>
                      <a:cubicBezTo>
                        <a:pt x="16712" y="5020"/>
                        <a:pt x="16493" y="5327"/>
                        <a:pt x="16240" y="5445"/>
                      </a:cubicBezTo>
                      <a:cubicBezTo>
                        <a:pt x="16039" y="5538"/>
                        <a:pt x="15790" y="5572"/>
                        <a:pt x="15670" y="5588"/>
                      </a:cubicBezTo>
                      <a:cubicBezTo>
                        <a:pt x="15601" y="5598"/>
                        <a:pt x="15558" y="5613"/>
                        <a:pt x="15509" y="5629"/>
                      </a:cubicBezTo>
                      <a:cubicBezTo>
                        <a:pt x="15405" y="5662"/>
                        <a:pt x="15286" y="5697"/>
                        <a:pt x="15207" y="5697"/>
                      </a:cubicBezTo>
                      <a:cubicBezTo>
                        <a:pt x="15129" y="5690"/>
                        <a:pt x="15089" y="5678"/>
                        <a:pt x="15048" y="5666"/>
                      </a:cubicBezTo>
                      <a:cubicBezTo>
                        <a:pt x="15023" y="5657"/>
                        <a:pt x="14998" y="5647"/>
                        <a:pt x="14974" y="5647"/>
                      </a:cubicBezTo>
                      <a:cubicBezTo>
                        <a:pt x="14969" y="5660"/>
                        <a:pt x="14944" y="5698"/>
                        <a:pt x="14923" y="5728"/>
                      </a:cubicBezTo>
                      <a:cubicBezTo>
                        <a:pt x="14886" y="5781"/>
                        <a:pt x="14849" y="5836"/>
                        <a:pt x="14798" y="5873"/>
                      </a:cubicBezTo>
                      <a:cubicBezTo>
                        <a:pt x="14771" y="5892"/>
                        <a:pt x="14731" y="5910"/>
                        <a:pt x="14683" y="5925"/>
                      </a:cubicBezTo>
                      <a:cubicBezTo>
                        <a:pt x="14661" y="5933"/>
                        <a:pt x="14633" y="5939"/>
                        <a:pt x="14612" y="5953"/>
                      </a:cubicBezTo>
                      <a:cubicBezTo>
                        <a:pt x="14556" y="6072"/>
                        <a:pt x="14429" y="6292"/>
                        <a:pt x="14250" y="6292"/>
                      </a:cubicBezTo>
                      <a:lnTo>
                        <a:pt x="14163" y="5756"/>
                      </a:lnTo>
                      <a:lnTo>
                        <a:pt x="14185" y="6028"/>
                      </a:lnTo>
                      <a:cubicBezTo>
                        <a:pt x="14181" y="6038"/>
                        <a:pt x="14175" y="6051"/>
                        <a:pt x="14169" y="6065"/>
                      </a:cubicBezTo>
                      <a:lnTo>
                        <a:pt x="14174" y="6293"/>
                      </a:lnTo>
                      <a:cubicBezTo>
                        <a:pt x="14134" y="6274"/>
                        <a:pt x="14112" y="6288"/>
                        <a:pt x="14086" y="6278"/>
                      </a:cubicBezTo>
                      <a:cubicBezTo>
                        <a:pt x="14054" y="6354"/>
                        <a:pt x="14022" y="6422"/>
                        <a:pt x="13985" y="6475"/>
                      </a:cubicBezTo>
                      <a:cubicBezTo>
                        <a:pt x="13972" y="6496"/>
                        <a:pt x="13930" y="6571"/>
                        <a:pt x="13880" y="6662"/>
                      </a:cubicBezTo>
                      <a:cubicBezTo>
                        <a:pt x="13679" y="7021"/>
                        <a:pt x="13578" y="7196"/>
                        <a:pt x="13507" y="7280"/>
                      </a:cubicBezTo>
                      <a:cubicBezTo>
                        <a:pt x="13476" y="7317"/>
                        <a:pt x="13446" y="7359"/>
                        <a:pt x="13417" y="7396"/>
                      </a:cubicBezTo>
                      <a:cubicBezTo>
                        <a:pt x="13342" y="7498"/>
                        <a:pt x="13278" y="7585"/>
                        <a:pt x="13201" y="7619"/>
                      </a:cubicBezTo>
                      <a:lnTo>
                        <a:pt x="13186" y="7626"/>
                      </a:lnTo>
                      <a:cubicBezTo>
                        <a:pt x="13142" y="7792"/>
                        <a:pt x="13088" y="7986"/>
                        <a:pt x="13056" y="8064"/>
                      </a:cubicBezTo>
                      <a:cubicBezTo>
                        <a:pt x="12950" y="8345"/>
                        <a:pt x="12840" y="8634"/>
                        <a:pt x="12666" y="8634"/>
                      </a:cubicBezTo>
                      <a:cubicBezTo>
                        <a:pt x="12642" y="8628"/>
                        <a:pt x="12620" y="8620"/>
                        <a:pt x="12600" y="8611"/>
                      </a:cubicBezTo>
                      <a:cubicBezTo>
                        <a:pt x="12563" y="8822"/>
                        <a:pt x="12492" y="9008"/>
                        <a:pt x="12348" y="9031"/>
                      </a:cubicBezTo>
                      <a:cubicBezTo>
                        <a:pt x="12347" y="9031"/>
                        <a:pt x="12347" y="9031"/>
                        <a:pt x="12346" y="9031"/>
                      </a:cubicBezTo>
                      <a:cubicBezTo>
                        <a:pt x="12274" y="9031"/>
                        <a:pt x="12200" y="8977"/>
                        <a:pt x="12136" y="8894"/>
                      </a:cubicBezTo>
                      <a:cubicBezTo>
                        <a:pt x="12034" y="9109"/>
                        <a:pt x="11842" y="9203"/>
                        <a:pt x="11757" y="9203"/>
                      </a:cubicBezTo>
                      <a:lnTo>
                        <a:pt x="11651" y="9169"/>
                      </a:lnTo>
                      <a:cubicBezTo>
                        <a:pt x="11609" y="9140"/>
                        <a:pt x="11553" y="9091"/>
                        <a:pt x="11502" y="8993"/>
                      </a:cubicBezTo>
                      <a:lnTo>
                        <a:pt x="11481" y="8993"/>
                      </a:lnTo>
                      <a:lnTo>
                        <a:pt x="11404" y="8927"/>
                      </a:lnTo>
                      <a:cubicBezTo>
                        <a:pt x="11344" y="8877"/>
                        <a:pt x="11247" y="8798"/>
                        <a:pt x="11186" y="8582"/>
                      </a:cubicBezTo>
                      <a:cubicBezTo>
                        <a:pt x="11177" y="8551"/>
                        <a:pt x="11170" y="8520"/>
                        <a:pt x="11164" y="8491"/>
                      </a:cubicBezTo>
                      <a:cubicBezTo>
                        <a:pt x="11153" y="8505"/>
                        <a:pt x="11140" y="8520"/>
                        <a:pt x="11125" y="8534"/>
                      </a:cubicBezTo>
                      <a:cubicBezTo>
                        <a:pt x="11085" y="8648"/>
                        <a:pt x="11026" y="8738"/>
                        <a:pt x="10950" y="8794"/>
                      </a:cubicBezTo>
                      <a:cubicBezTo>
                        <a:pt x="10894" y="8834"/>
                        <a:pt x="10829" y="8852"/>
                        <a:pt x="10727" y="8878"/>
                      </a:cubicBezTo>
                      <a:cubicBezTo>
                        <a:pt x="10667" y="8893"/>
                        <a:pt x="10601" y="8905"/>
                        <a:pt x="10563" y="8929"/>
                      </a:cubicBezTo>
                      <a:cubicBezTo>
                        <a:pt x="10437" y="9044"/>
                        <a:pt x="10266" y="9161"/>
                        <a:pt x="10098" y="9059"/>
                      </a:cubicBezTo>
                      <a:cubicBezTo>
                        <a:pt x="10047" y="9028"/>
                        <a:pt x="9604" y="8743"/>
                        <a:pt x="9604" y="8158"/>
                      </a:cubicBezTo>
                      <a:lnTo>
                        <a:pt x="9604" y="8087"/>
                      </a:lnTo>
                      <a:cubicBezTo>
                        <a:pt x="9604" y="8085"/>
                        <a:pt x="9603" y="8083"/>
                        <a:pt x="9603" y="8081"/>
                      </a:cubicBezTo>
                      <a:cubicBezTo>
                        <a:pt x="9527" y="8056"/>
                        <a:pt x="9462" y="8020"/>
                        <a:pt x="9405" y="7921"/>
                      </a:cubicBezTo>
                      <a:cubicBezTo>
                        <a:pt x="9360" y="7842"/>
                        <a:pt x="9323" y="7738"/>
                        <a:pt x="9298" y="7624"/>
                      </a:cubicBezTo>
                      <a:cubicBezTo>
                        <a:pt x="9197" y="7546"/>
                        <a:pt x="9146" y="7408"/>
                        <a:pt x="9122" y="7281"/>
                      </a:cubicBezTo>
                      <a:cubicBezTo>
                        <a:pt x="9096" y="7203"/>
                        <a:pt x="9069" y="7121"/>
                        <a:pt x="9050" y="7031"/>
                      </a:cubicBezTo>
                      <a:cubicBezTo>
                        <a:pt x="8970" y="6946"/>
                        <a:pt x="8891" y="6819"/>
                        <a:pt x="8844" y="6641"/>
                      </a:cubicBezTo>
                      <a:cubicBezTo>
                        <a:pt x="8805" y="6497"/>
                        <a:pt x="8797" y="6366"/>
                        <a:pt x="8795" y="6277"/>
                      </a:cubicBezTo>
                      <a:lnTo>
                        <a:pt x="8784" y="6249"/>
                      </a:lnTo>
                      <a:cubicBezTo>
                        <a:pt x="8770" y="6212"/>
                        <a:pt x="8748" y="6158"/>
                        <a:pt x="8732" y="6123"/>
                      </a:cubicBezTo>
                      <a:cubicBezTo>
                        <a:pt x="8710" y="6118"/>
                        <a:pt x="8689" y="6111"/>
                        <a:pt x="8668" y="6101"/>
                      </a:cubicBezTo>
                      <a:cubicBezTo>
                        <a:pt x="8635" y="6130"/>
                        <a:pt x="8595" y="6149"/>
                        <a:pt x="8551" y="6149"/>
                      </a:cubicBezTo>
                      <a:lnTo>
                        <a:pt x="8419" y="6149"/>
                      </a:lnTo>
                      <a:lnTo>
                        <a:pt x="8320" y="5921"/>
                      </a:lnTo>
                      <a:cubicBezTo>
                        <a:pt x="8306" y="5891"/>
                        <a:pt x="8290" y="5857"/>
                        <a:pt x="8274" y="5817"/>
                      </a:cubicBezTo>
                      <a:cubicBezTo>
                        <a:pt x="8223" y="5792"/>
                        <a:pt x="8179" y="5741"/>
                        <a:pt x="8143" y="5672"/>
                      </a:cubicBezTo>
                      <a:cubicBezTo>
                        <a:pt x="8127" y="5676"/>
                        <a:pt x="8110" y="5679"/>
                        <a:pt x="8092" y="5679"/>
                      </a:cubicBezTo>
                      <a:lnTo>
                        <a:pt x="8030" y="5679"/>
                      </a:lnTo>
                      <a:lnTo>
                        <a:pt x="7952" y="5614"/>
                      </a:lnTo>
                      <a:cubicBezTo>
                        <a:pt x="7939" y="5602"/>
                        <a:pt x="7918" y="5578"/>
                        <a:pt x="7893" y="5546"/>
                      </a:cubicBezTo>
                      <a:cubicBezTo>
                        <a:pt x="7881" y="5531"/>
                        <a:pt x="7866" y="5513"/>
                        <a:pt x="7852" y="5496"/>
                      </a:cubicBezTo>
                      <a:cubicBezTo>
                        <a:pt x="7850" y="5496"/>
                        <a:pt x="7848" y="5497"/>
                        <a:pt x="7847" y="5497"/>
                      </a:cubicBezTo>
                      <a:cubicBezTo>
                        <a:pt x="7813" y="5502"/>
                        <a:pt x="7770" y="5506"/>
                        <a:pt x="7741" y="5519"/>
                      </a:cubicBezTo>
                      <a:cubicBezTo>
                        <a:pt x="7744" y="5530"/>
                        <a:pt x="7677" y="5586"/>
                        <a:pt x="7529" y="5586"/>
                      </a:cubicBezTo>
                      <a:cubicBezTo>
                        <a:pt x="7462" y="5586"/>
                        <a:pt x="7372" y="5575"/>
                        <a:pt x="7296" y="5528"/>
                      </a:cubicBezTo>
                      <a:cubicBezTo>
                        <a:pt x="7129" y="5697"/>
                        <a:pt x="7048" y="5749"/>
                        <a:pt x="6971" y="5749"/>
                      </a:cubicBezTo>
                      <a:lnTo>
                        <a:pt x="6864" y="5709"/>
                      </a:lnTo>
                      <a:cubicBezTo>
                        <a:pt x="6844" y="5694"/>
                        <a:pt x="6812" y="5667"/>
                        <a:pt x="6776" y="5624"/>
                      </a:cubicBezTo>
                      <a:cubicBezTo>
                        <a:pt x="6742" y="5695"/>
                        <a:pt x="6711" y="5760"/>
                        <a:pt x="6696" y="5799"/>
                      </a:cubicBezTo>
                      <a:cubicBezTo>
                        <a:pt x="6649" y="5961"/>
                        <a:pt x="6612" y="6086"/>
                        <a:pt x="6543" y="6188"/>
                      </a:cubicBezTo>
                      <a:cubicBezTo>
                        <a:pt x="6537" y="6196"/>
                        <a:pt x="6531" y="6205"/>
                        <a:pt x="6524" y="6213"/>
                      </a:cubicBezTo>
                      <a:cubicBezTo>
                        <a:pt x="6515" y="6277"/>
                        <a:pt x="6501" y="6348"/>
                        <a:pt x="6477" y="6420"/>
                      </a:cubicBezTo>
                      <a:cubicBezTo>
                        <a:pt x="6395" y="6795"/>
                        <a:pt x="6313" y="7166"/>
                        <a:pt x="6106" y="7166"/>
                      </a:cubicBezTo>
                      <a:cubicBezTo>
                        <a:pt x="5846" y="7162"/>
                        <a:pt x="5760" y="6898"/>
                        <a:pt x="5728" y="6741"/>
                      </a:cubicBezTo>
                      <a:cubicBezTo>
                        <a:pt x="5656" y="6417"/>
                        <a:pt x="5611" y="6187"/>
                        <a:pt x="5631" y="5946"/>
                      </a:cubicBezTo>
                      <a:cubicBezTo>
                        <a:pt x="5633" y="5916"/>
                        <a:pt x="5633" y="5870"/>
                        <a:pt x="5634" y="5820"/>
                      </a:cubicBezTo>
                      <a:cubicBezTo>
                        <a:pt x="5638" y="5627"/>
                        <a:pt x="5644" y="5410"/>
                        <a:pt x="5681" y="5226"/>
                      </a:cubicBezTo>
                      <a:cubicBezTo>
                        <a:pt x="5684" y="5213"/>
                        <a:pt x="5686" y="5201"/>
                        <a:pt x="5689" y="5189"/>
                      </a:cubicBezTo>
                      <a:cubicBezTo>
                        <a:pt x="5671" y="4990"/>
                        <a:pt x="5669" y="4705"/>
                        <a:pt x="5742" y="4490"/>
                      </a:cubicBezTo>
                      <a:cubicBezTo>
                        <a:pt x="5790" y="4355"/>
                        <a:pt x="5852" y="4284"/>
                        <a:pt x="5913" y="4219"/>
                      </a:cubicBezTo>
                      <a:cubicBezTo>
                        <a:pt x="5918" y="4196"/>
                        <a:pt x="5923" y="4173"/>
                        <a:pt x="5927" y="4152"/>
                      </a:cubicBezTo>
                      <a:cubicBezTo>
                        <a:pt x="5937" y="4101"/>
                        <a:pt x="5946" y="4060"/>
                        <a:pt x="5954" y="4028"/>
                      </a:cubicBezTo>
                      <a:cubicBezTo>
                        <a:pt x="5940" y="3734"/>
                        <a:pt x="5934" y="3505"/>
                        <a:pt x="6003" y="3309"/>
                      </a:cubicBezTo>
                      <a:cubicBezTo>
                        <a:pt x="6021" y="3258"/>
                        <a:pt x="6045" y="3210"/>
                        <a:pt x="6078" y="3149"/>
                      </a:cubicBezTo>
                      <a:lnTo>
                        <a:pt x="6075" y="3139"/>
                      </a:lnTo>
                      <a:lnTo>
                        <a:pt x="6182" y="2749"/>
                      </a:lnTo>
                      <a:cubicBezTo>
                        <a:pt x="6199" y="2691"/>
                        <a:pt x="6228" y="2586"/>
                        <a:pt x="6279" y="2498"/>
                      </a:cubicBezTo>
                      <a:cubicBezTo>
                        <a:pt x="6278" y="2413"/>
                        <a:pt x="6282" y="2331"/>
                        <a:pt x="6295" y="2251"/>
                      </a:cubicBezTo>
                      <a:cubicBezTo>
                        <a:pt x="6334" y="2000"/>
                        <a:pt x="6449" y="1713"/>
                        <a:pt x="6611" y="1673"/>
                      </a:cubicBezTo>
                      <a:lnTo>
                        <a:pt x="6616" y="1673"/>
                      </a:lnTo>
                      <a:cubicBezTo>
                        <a:pt x="6618" y="1671"/>
                        <a:pt x="6619" y="1669"/>
                        <a:pt x="6620" y="1668"/>
                      </a:cubicBezTo>
                      <a:cubicBezTo>
                        <a:pt x="6628" y="1652"/>
                        <a:pt x="6637" y="1636"/>
                        <a:pt x="6646" y="1620"/>
                      </a:cubicBezTo>
                      <a:cubicBezTo>
                        <a:pt x="6649" y="1553"/>
                        <a:pt x="6657" y="1485"/>
                        <a:pt x="6672" y="1416"/>
                      </a:cubicBezTo>
                      <a:lnTo>
                        <a:pt x="6716" y="1217"/>
                      </a:lnTo>
                      <a:lnTo>
                        <a:pt x="6772" y="1166"/>
                      </a:lnTo>
                      <a:cubicBezTo>
                        <a:pt x="6813" y="919"/>
                        <a:pt x="6895" y="801"/>
                        <a:pt x="6964" y="743"/>
                      </a:cubicBezTo>
                      <a:cubicBezTo>
                        <a:pt x="6989" y="722"/>
                        <a:pt x="6999" y="710"/>
                        <a:pt x="7013" y="691"/>
                      </a:cubicBezTo>
                      <a:lnTo>
                        <a:pt x="7062" y="633"/>
                      </a:lnTo>
                      <a:cubicBezTo>
                        <a:pt x="7058" y="632"/>
                        <a:pt x="7073" y="596"/>
                        <a:pt x="7088" y="563"/>
                      </a:cubicBezTo>
                      <a:cubicBezTo>
                        <a:pt x="7094" y="549"/>
                        <a:pt x="7100" y="536"/>
                        <a:pt x="7107" y="522"/>
                      </a:cubicBezTo>
                      <a:cubicBezTo>
                        <a:pt x="7099" y="450"/>
                        <a:pt x="7099" y="374"/>
                        <a:pt x="7104" y="297"/>
                      </a:cubicBezTo>
                      <a:lnTo>
                        <a:pt x="7082" y="56"/>
                      </a:lnTo>
                      <a:lnTo>
                        <a:pt x="7102" y="0"/>
                      </a:lnTo>
                      <a:cubicBezTo>
                        <a:pt x="7059" y="49"/>
                        <a:pt x="7017" y="82"/>
                        <a:pt x="6992" y="94"/>
                      </a:cubicBezTo>
                      <a:cubicBezTo>
                        <a:pt x="6813" y="170"/>
                        <a:pt x="6727" y="214"/>
                        <a:pt x="6685" y="239"/>
                      </a:cubicBezTo>
                      <a:cubicBezTo>
                        <a:pt x="6625" y="378"/>
                        <a:pt x="6557" y="445"/>
                        <a:pt x="6499" y="488"/>
                      </a:cubicBezTo>
                      <a:cubicBezTo>
                        <a:pt x="6490" y="495"/>
                        <a:pt x="6470" y="511"/>
                        <a:pt x="6401" y="627"/>
                      </a:cubicBezTo>
                      <a:cubicBezTo>
                        <a:pt x="6301" y="795"/>
                        <a:pt x="6237" y="880"/>
                        <a:pt x="6141" y="1002"/>
                      </a:cubicBezTo>
                      <a:cubicBezTo>
                        <a:pt x="6104" y="1049"/>
                        <a:pt x="6072" y="1080"/>
                        <a:pt x="6048" y="1100"/>
                      </a:cubicBezTo>
                      <a:cubicBezTo>
                        <a:pt x="6024" y="1171"/>
                        <a:pt x="5995" y="1276"/>
                        <a:pt x="5965" y="1378"/>
                      </a:cubicBezTo>
                      <a:cubicBezTo>
                        <a:pt x="5920" y="1532"/>
                        <a:pt x="5876" y="1682"/>
                        <a:pt x="5846" y="1763"/>
                      </a:cubicBezTo>
                      <a:cubicBezTo>
                        <a:pt x="5834" y="1796"/>
                        <a:pt x="5817" y="1852"/>
                        <a:pt x="5796" y="1917"/>
                      </a:cubicBezTo>
                      <a:cubicBezTo>
                        <a:pt x="5654" y="2362"/>
                        <a:pt x="5575" y="2582"/>
                        <a:pt x="5457" y="2676"/>
                      </a:cubicBezTo>
                      <a:cubicBezTo>
                        <a:pt x="5365" y="2750"/>
                        <a:pt x="5222" y="2882"/>
                        <a:pt x="5187" y="2930"/>
                      </a:cubicBezTo>
                      <a:cubicBezTo>
                        <a:pt x="5172" y="2964"/>
                        <a:pt x="5127" y="3089"/>
                        <a:pt x="5083" y="3207"/>
                      </a:cubicBezTo>
                      <a:cubicBezTo>
                        <a:pt x="4988" y="3461"/>
                        <a:pt x="4945" y="3576"/>
                        <a:pt x="4889" y="3654"/>
                      </a:cubicBezTo>
                      <a:lnTo>
                        <a:pt x="4837" y="3723"/>
                      </a:lnTo>
                      <a:cubicBezTo>
                        <a:pt x="4813" y="3754"/>
                        <a:pt x="4804" y="3766"/>
                        <a:pt x="4786" y="3801"/>
                      </a:cubicBezTo>
                      <a:cubicBezTo>
                        <a:pt x="4729" y="3963"/>
                        <a:pt x="4678" y="4110"/>
                        <a:pt x="4588" y="4210"/>
                      </a:cubicBezTo>
                      <a:cubicBezTo>
                        <a:pt x="4581" y="4218"/>
                        <a:pt x="4575" y="4225"/>
                        <a:pt x="4568" y="4231"/>
                      </a:cubicBezTo>
                      <a:cubicBezTo>
                        <a:pt x="4550" y="4496"/>
                        <a:pt x="4511" y="4858"/>
                        <a:pt x="4425" y="5077"/>
                      </a:cubicBezTo>
                      <a:cubicBezTo>
                        <a:pt x="4336" y="5308"/>
                        <a:pt x="4200" y="5467"/>
                        <a:pt x="4045" y="5519"/>
                      </a:cubicBezTo>
                      <a:lnTo>
                        <a:pt x="4015" y="5527"/>
                      </a:lnTo>
                      <a:cubicBezTo>
                        <a:pt x="3958" y="5609"/>
                        <a:pt x="3890" y="5650"/>
                        <a:pt x="3814" y="5650"/>
                      </a:cubicBezTo>
                      <a:lnTo>
                        <a:pt x="3739" y="5639"/>
                      </a:lnTo>
                      <a:cubicBezTo>
                        <a:pt x="3661" y="5956"/>
                        <a:pt x="3521" y="6415"/>
                        <a:pt x="3275" y="6759"/>
                      </a:cubicBezTo>
                      <a:lnTo>
                        <a:pt x="3193" y="6874"/>
                      </a:lnTo>
                      <a:cubicBezTo>
                        <a:pt x="2921" y="7256"/>
                        <a:pt x="2819" y="7399"/>
                        <a:pt x="2665" y="7423"/>
                      </a:cubicBezTo>
                      <a:cubicBezTo>
                        <a:pt x="2592" y="7419"/>
                        <a:pt x="2548" y="7414"/>
                        <a:pt x="2505" y="7400"/>
                      </a:cubicBezTo>
                      <a:cubicBezTo>
                        <a:pt x="2487" y="7394"/>
                        <a:pt x="2480" y="7389"/>
                        <a:pt x="2481" y="7383"/>
                      </a:cubicBezTo>
                      <a:cubicBezTo>
                        <a:pt x="2377" y="7526"/>
                        <a:pt x="2250" y="7617"/>
                        <a:pt x="2093" y="7662"/>
                      </a:cubicBezTo>
                      <a:cubicBezTo>
                        <a:pt x="2093" y="7662"/>
                        <a:pt x="2004" y="7674"/>
                        <a:pt x="2004" y="7674"/>
                      </a:cubicBezTo>
                      <a:close/>
                      <a:moveTo>
                        <a:pt x="2004" y="7674"/>
                      </a:moveTo>
                    </a:path>
                  </a:pathLst>
                </a:custGeom>
                <a:solidFill>
                  <a:schemeClr val="accent2">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513F3A"/>
                    </a:solidFill>
                    <a:effectLst/>
                    <a:uLnTx/>
                    <a:uFillTx/>
                    <a:latin typeface="Arial"/>
                    <a:ea typeface="Arial"/>
                    <a:cs typeface="Arial"/>
                    <a:sym typeface="Arial"/>
                  </a:endParaRPr>
                </a:p>
              </p:txBody>
            </p:sp>
            <p:sp>
              <p:nvSpPr>
                <p:cNvPr id="78" name="Google Shape;394;p54">
                  <a:extLst>
                    <a:ext uri="{FF2B5EF4-FFF2-40B4-BE49-F238E27FC236}">
                      <a16:creationId xmlns:a16="http://schemas.microsoft.com/office/drawing/2014/main" id="{EA1674A6-E18B-4EA0-8C8C-DA8F92FD7375}"/>
                    </a:ext>
                  </a:extLst>
                </p:cNvPr>
                <p:cNvSpPr/>
                <p:nvPr/>
              </p:nvSpPr>
              <p:spPr>
                <a:xfrm>
                  <a:off x="5380508" y="2003785"/>
                  <a:ext cx="9180" cy="7668"/>
                </a:xfrm>
                <a:custGeom>
                  <a:avLst/>
                  <a:gdLst/>
                  <a:ahLst/>
                  <a:cxnLst/>
                  <a:rect l="l" t="t" r="r" b="b"/>
                  <a:pathLst>
                    <a:path w="21600" h="21600" extrusionOk="0">
                      <a:moveTo>
                        <a:pt x="9002" y="14916"/>
                      </a:moveTo>
                      <a:cubicBezTo>
                        <a:pt x="13763" y="11245"/>
                        <a:pt x="17509" y="9911"/>
                        <a:pt x="20007" y="9287"/>
                      </a:cubicBezTo>
                      <a:cubicBezTo>
                        <a:pt x="20249" y="9065"/>
                        <a:pt x="20417" y="8854"/>
                        <a:pt x="20612" y="8621"/>
                      </a:cubicBezTo>
                      <a:cubicBezTo>
                        <a:pt x="20528" y="5997"/>
                        <a:pt x="20845" y="3112"/>
                        <a:pt x="21600" y="0"/>
                      </a:cubicBezTo>
                      <a:lnTo>
                        <a:pt x="0" y="21600"/>
                      </a:lnTo>
                      <a:cubicBezTo>
                        <a:pt x="2898" y="19454"/>
                        <a:pt x="6737" y="16569"/>
                        <a:pt x="9002" y="14916"/>
                      </a:cubicBezTo>
                      <a:close/>
                      <a:moveTo>
                        <a:pt x="9002" y="14916"/>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79" name="Google Shape;395;p54">
                  <a:extLst>
                    <a:ext uri="{FF2B5EF4-FFF2-40B4-BE49-F238E27FC236}">
                      <a16:creationId xmlns:a16="http://schemas.microsoft.com/office/drawing/2014/main" id="{C056EBEB-5B86-4E31-B3F6-AD70B239C5EF}"/>
                    </a:ext>
                  </a:extLst>
                </p:cNvPr>
                <p:cNvSpPr/>
                <p:nvPr/>
              </p:nvSpPr>
              <p:spPr>
                <a:xfrm>
                  <a:off x="6266323" y="3930532"/>
                  <a:ext cx="7128" cy="6102"/>
                </a:xfrm>
                <a:custGeom>
                  <a:avLst/>
                  <a:gdLst/>
                  <a:ahLst/>
                  <a:cxnLst/>
                  <a:rect l="l" t="t" r="r" b="b"/>
                  <a:pathLst>
                    <a:path w="21600" h="21600" extrusionOk="0">
                      <a:moveTo>
                        <a:pt x="0" y="6963"/>
                      </a:moveTo>
                      <a:lnTo>
                        <a:pt x="21600" y="21600"/>
                      </a:lnTo>
                      <a:lnTo>
                        <a:pt x="3160" y="0"/>
                      </a:lnTo>
                      <a:cubicBezTo>
                        <a:pt x="1886" y="1483"/>
                        <a:pt x="721" y="3982"/>
                        <a:pt x="0" y="6963"/>
                      </a:cubicBezTo>
                      <a:close/>
                      <a:moveTo>
                        <a:pt x="0" y="6963"/>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80" name="Google Shape;396;p54">
                  <a:extLst>
                    <a:ext uri="{FF2B5EF4-FFF2-40B4-BE49-F238E27FC236}">
                      <a16:creationId xmlns:a16="http://schemas.microsoft.com/office/drawing/2014/main" id="{EBC490ED-A3F3-4BE2-AE33-DE4CA88D34E5}"/>
                    </a:ext>
                  </a:extLst>
                </p:cNvPr>
                <p:cNvSpPr/>
                <p:nvPr/>
              </p:nvSpPr>
              <p:spPr>
                <a:xfrm>
                  <a:off x="5629517" y="4844921"/>
                  <a:ext cx="8154" cy="2538"/>
                </a:xfrm>
                <a:custGeom>
                  <a:avLst/>
                  <a:gdLst/>
                  <a:ahLst/>
                  <a:cxnLst/>
                  <a:rect l="l" t="t" r="r" b="b"/>
                  <a:pathLst>
                    <a:path w="21600" h="21600" extrusionOk="0">
                      <a:moveTo>
                        <a:pt x="0" y="13064"/>
                      </a:moveTo>
                      <a:cubicBezTo>
                        <a:pt x="255" y="15714"/>
                        <a:pt x="684" y="18595"/>
                        <a:pt x="1255" y="21600"/>
                      </a:cubicBezTo>
                      <a:lnTo>
                        <a:pt x="21600" y="0"/>
                      </a:lnTo>
                      <a:lnTo>
                        <a:pt x="418" y="7057"/>
                      </a:lnTo>
                      <a:cubicBezTo>
                        <a:pt x="255" y="9135"/>
                        <a:pt x="92" y="11123"/>
                        <a:pt x="0" y="13064"/>
                      </a:cubicBezTo>
                      <a:close/>
                      <a:moveTo>
                        <a:pt x="0" y="13064"/>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81" name="Google Shape;397;p54">
                  <a:extLst>
                    <a:ext uri="{FF2B5EF4-FFF2-40B4-BE49-F238E27FC236}">
                      <a16:creationId xmlns:a16="http://schemas.microsoft.com/office/drawing/2014/main" id="{433F8435-DBCC-4417-BDFB-198034507797}"/>
                    </a:ext>
                  </a:extLst>
                </p:cNvPr>
                <p:cNvSpPr/>
                <p:nvPr/>
              </p:nvSpPr>
              <p:spPr>
                <a:xfrm>
                  <a:off x="3710933" y="2869189"/>
                  <a:ext cx="1036314" cy="478602"/>
                </a:xfrm>
                <a:custGeom>
                  <a:avLst/>
                  <a:gdLst/>
                  <a:ahLst/>
                  <a:cxnLst/>
                  <a:rect l="l" t="t" r="r" b="b"/>
                  <a:pathLst>
                    <a:path w="21600" h="21600" extrusionOk="0">
                      <a:moveTo>
                        <a:pt x="36" y="11944"/>
                      </a:moveTo>
                      <a:lnTo>
                        <a:pt x="0" y="13813"/>
                      </a:lnTo>
                      <a:cubicBezTo>
                        <a:pt x="60" y="13818"/>
                        <a:pt x="119" y="13825"/>
                        <a:pt x="179" y="13831"/>
                      </a:cubicBezTo>
                      <a:cubicBezTo>
                        <a:pt x="213" y="13833"/>
                        <a:pt x="246" y="13836"/>
                        <a:pt x="280" y="13839"/>
                      </a:cubicBezTo>
                      <a:cubicBezTo>
                        <a:pt x="1008" y="13902"/>
                        <a:pt x="1744" y="13960"/>
                        <a:pt x="2490" y="14013"/>
                      </a:cubicBezTo>
                      <a:cubicBezTo>
                        <a:pt x="2515" y="14014"/>
                        <a:pt x="2542" y="14016"/>
                        <a:pt x="2567" y="14017"/>
                      </a:cubicBezTo>
                      <a:cubicBezTo>
                        <a:pt x="3325" y="14070"/>
                        <a:pt x="4093" y="14118"/>
                        <a:pt x="4873" y="14160"/>
                      </a:cubicBezTo>
                      <a:lnTo>
                        <a:pt x="5052" y="14170"/>
                      </a:lnTo>
                      <a:lnTo>
                        <a:pt x="4986" y="21475"/>
                      </a:lnTo>
                      <a:cubicBezTo>
                        <a:pt x="5544" y="21503"/>
                        <a:pt x="6110" y="21521"/>
                        <a:pt x="6676" y="21539"/>
                      </a:cubicBezTo>
                      <a:cubicBezTo>
                        <a:pt x="6937" y="21547"/>
                        <a:pt x="7195" y="21561"/>
                        <a:pt x="7457" y="21567"/>
                      </a:cubicBezTo>
                      <a:cubicBezTo>
                        <a:pt x="8319" y="21589"/>
                        <a:pt x="9185" y="21600"/>
                        <a:pt x="10050" y="21600"/>
                      </a:cubicBezTo>
                      <a:cubicBezTo>
                        <a:pt x="10995" y="21600"/>
                        <a:pt x="11952" y="21586"/>
                        <a:pt x="12916" y="21561"/>
                      </a:cubicBezTo>
                      <a:cubicBezTo>
                        <a:pt x="13262" y="21552"/>
                        <a:pt x="13614" y="21533"/>
                        <a:pt x="13961" y="21521"/>
                      </a:cubicBezTo>
                      <a:cubicBezTo>
                        <a:pt x="14584" y="21498"/>
                        <a:pt x="15205" y="21478"/>
                        <a:pt x="15833" y="21446"/>
                      </a:cubicBezTo>
                      <a:cubicBezTo>
                        <a:pt x="16248" y="21424"/>
                        <a:pt x="16668" y="21392"/>
                        <a:pt x="17085" y="21366"/>
                      </a:cubicBezTo>
                      <a:cubicBezTo>
                        <a:pt x="17655" y="21330"/>
                        <a:pt x="18223" y="21298"/>
                        <a:pt x="18797" y="21254"/>
                      </a:cubicBezTo>
                      <a:cubicBezTo>
                        <a:pt x="19227" y="21221"/>
                        <a:pt x="19661" y="21178"/>
                        <a:pt x="20093" y="21140"/>
                      </a:cubicBezTo>
                      <a:cubicBezTo>
                        <a:pt x="20582" y="21098"/>
                        <a:pt x="21071" y="21056"/>
                        <a:pt x="21562" y="21007"/>
                      </a:cubicBezTo>
                      <a:cubicBezTo>
                        <a:pt x="21561" y="21000"/>
                        <a:pt x="21561" y="20993"/>
                        <a:pt x="21561" y="20985"/>
                      </a:cubicBezTo>
                      <a:lnTo>
                        <a:pt x="21560" y="20795"/>
                      </a:lnTo>
                      <a:lnTo>
                        <a:pt x="21560" y="20794"/>
                      </a:lnTo>
                      <a:lnTo>
                        <a:pt x="21600" y="20710"/>
                      </a:lnTo>
                      <a:cubicBezTo>
                        <a:pt x="21579" y="20673"/>
                        <a:pt x="21559" y="20625"/>
                        <a:pt x="21545" y="20560"/>
                      </a:cubicBezTo>
                      <a:cubicBezTo>
                        <a:pt x="21538" y="20532"/>
                        <a:pt x="21533" y="20504"/>
                        <a:pt x="21530" y="20479"/>
                      </a:cubicBezTo>
                      <a:cubicBezTo>
                        <a:pt x="21461" y="20378"/>
                        <a:pt x="21392" y="20248"/>
                        <a:pt x="21386" y="20038"/>
                      </a:cubicBezTo>
                      <a:cubicBezTo>
                        <a:pt x="21386" y="20007"/>
                        <a:pt x="21386" y="19977"/>
                        <a:pt x="21388" y="19949"/>
                      </a:cubicBezTo>
                      <a:cubicBezTo>
                        <a:pt x="21297" y="19892"/>
                        <a:pt x="21221" y="19767"/>
                        <a:pt x="21197" y="19590"/>
                      </a:cubicBezTo>
                      <a:lnTo>
                        <a:pt x="21136" y="19614"/>
                      </a:lnTo>
                      <a:cubicBezTo>
                        <a:pt x="21117" y="19614"/>
                        <a:pt x="21097" y="19608"/>
                        <a:pt x="21079" y="19596"/>
                      </a:cubicBezTo>
                      <a:cubicBezTo>
                        <a:pt x="20991" y="19538"/>
                        <a:pt x="20929" y="19371"/>
                        <a:pt x="20925" y="19180"/>
                      </a:cubicBezTo>
                      <a:lnTo>
                        <a:pt x="20918" y="18905"/>
                      </a:lnTo>
                      <a:lnTo>
                        <a:pt x="20961" y="18857"/>
                      </a:lnTo>
                      <a:cubicBezTo>
                        <a:pt x="20959" y="18839"/>
                        <a:pt x="20958" y="18821"/>
                        <a:pt x="20958" y="18802"/>
                      </a:cubicBezTo>
                      <a:cubicBezTo>
                        <a:pt x="20919" y="18709"/>
                        <a:pt x="20913" y="18576"/>
                        <a:pt x="20913" y="18513"/>
                      </a:cubicBezTo>
                      <a:cubicBezTo>
                        <a:pt x="20911" y="18487"/>
                        <a:pt x="20908" y="18450"/>
                        <a:pt x="20907" y="18406"/>
                      </a:cubicBezTo>
                      <a:cubicBezTo>
                        <a:pt x="20879" y="18365"/>
                        <a:pt x="20853" y="18304"/>
                        <a:pt x="20835" y="18214"/>
                      </a:cubicBezTo>
                      <a:cubicBezTo>
                        <a:pt x="20823" y="18161"/>
                        <a:pt x="20815" y="18112"/>
                        <a:pt x="20810" y="18066"/>
                      </a:cubicBezTo>
                      <a:lnTo>
                        <a:pt x="20737" y="18066"/>
                      </a:lnTo>
                      <a:lnTo>
                        <a:pt x="20656" y="17862"/>
                      </a:lnTo>
                      <a:cubicBezTo>
                        <a:pt x="20626" y="17760"/>
                        <a:pt x="20616" y="17657"/>
                        <a:pt x="20611" y="17574"/>
                      </a:cubicBezTo>
                      <a:lnTo>
                        <a:pt x="20480" y="17582"/>
                      </a:lnTo>
                      <a:lnTo>
                        <a:pt x="20578" y="17248"/>
                      </a:lnTo>
                      <a:cubicBezTo>
                        <a:pt x="20578" y="17239"/>
                        <a:pt x="20578" y="17230"/>
                        <a:pt x="20578" y="17221"/>
                      </a:cubicBezTo>
                      <a:cubicBezTo>
                        <a:pt x="20579" y="17204"/>
                        <a:pt x="20582" y="17192"/>
                        <a:pt x="20584" y="17176"/>
                      </a:cubicBezTo>
                      <a:cubicBezTo>
                        <a:pt x="20587" y="17154"/>
                        <a:pt x="20589" y="17131"/>
                        <a:pt x="20593" y="17113"/>
                      </a:cubicBezTo>
                      <a:cubicBezTo>
                        <a:pt x="20596" y="17101"/>
                        <a:pt x="20598" y="17094"/>
                        <a:pt x="20601" y="17084"/>
                      </a:cubicBezTo>
                      <a:cubicBezTo>
                        <a:pt x="20604" y="17072"/>
                        <a:pt x="20607" y="17057"/>
                        <a:pt x="20610" y="17047"/>
                      </a:cubicBezTo>
                      <a:cubicBezTo>
                        <a:pt x="20608" y="17029"/>
                        <a:pt x="20606" y="17013"/>
                        <a:pt x="20604" y="16997"/>
                      </a:cubicBezTo>
                      <a:cubicBezTo>
                        <a:pt x="20543" y="16971"/>
                        <a:pt x="20469" y="16910"/>
                        <a:pt x="20426" y="16736"/>
                      </a:cubicBezTo>
                      <a:cubicBezTo>
                        <a:pt x="20418" y="16702"/>
                        <a:pt x="20411" y="16668"/>
                        <a:pt x="20407" y="16635"/>
                      </a:cubicBezTo>
                      <a:lnTo>
                        <a:pt x="20311" y="16620"/>
                      </a:lnTo>
                      <a:lnTo>
                        <a:pt x="20285" y="16279"/>
                      </a:lnTo>
                      <a:cubicBezTo>
                        <a:pt x="20234" y="15931"/>
                        <a:pt x="20314" y="15737"/>
                        <a:pt x="20366" y="15653"/>
                      </a:cubicBezTo>
                      <a:cubicBezTo>
                        <a:pt x="20368" y="15651"/>
                        <a:pt x="20370" y="15648"/>
                        <a:pt x="20371" y="15645"/>
                      </a:cubicBezTo>
                      <a:cubicBezTo>
                        <a:pt x="20368" y="15590"/>
                        <a:pt x="20368" y="15531"/>
                        <a:pt x="20376" y="15471"/>
                      </a:cubicBezTo>
                      <a:cubicBezTo>
                        <a:pt x="20316" y="15225"/>
                        <a:pt x="20367" y="15027"/>
                        <a:pt x="20399" y="14936"/>
                      </a:cubicBezTo>
                      <a:cubicBezTo>
                        <a:pt x="20372" y="14837"/>
                        <a:pt x="20366" y="14733"/>
                        <a:pt x="20366" y="14648"/>
                      </a:cubicBezTo>
                      <a:cubicBezTo>
                        <a:pt x="20366" y="14601"/>
                        <a:pt x="20369" y="14559"/>
                        <a:pt x="20373" y="14520"/>
                      </a:cubicBezTo>
                      <a:cubicBezTo>
                        <a:pt x="20304" y="14404"/>
                        <a:pt x="20289" y="14264"/>
                        <a:pt x="20289" y="14158"/>
                      </a:cubicBezTo>
                      <a:cubicBezTo>
                        <a:pt x="20289" y="14122"/>
                        <a:pt x="20291" y="14087"/>
                        <a:pt x="20294" y="14056"/>
                      </a:cubicBezTo>
                      <a:cubicBezTo>
                        <a:pt x="20231" y="13894"/>
                        <a:pt x="20232" y="13740"/>
                        <a:pt x="20245" y="13626"/>
                      </a:cubicBezTo>
                      <a:cubicBezTo>
                        <a:pt x="20254" y="13553"/>
                        <a:pt x="20268" y="13495"/>
                        <a:pt x="20283" y="13450"/>
                      </a:cubicBezTo>
                      <a:lnTo>
                        <a:pt x="20281" y="13411"/>
                      </a:lnTo>
                      <a:cubicBezTo>
                        <a:pt x="20265" y="13346"/>
                        <a:pt x="20246" y="13270"/>
                        <a:pt x="20236" y="13185"/>
                      </a:cubicBezTo>
                      <a:cubicBezTo>
                        <a:pt x="20189" y="13138"/>
                        <a:pt x="20147" y="13059"/>
                        <a:pt x="20128" y="12923"/>
                      </a:cubicBezTo>
                      <a:cubicBezTo>
                        <a:pt x="20116" y="12846"/>
                        <a:pt x="20085" y="12648"/>
                        <a:pt x="20134" y="12451"/>
                      </a:cubicBezTo>
                      <a:cubicBezTo>
                        <a:pt x="20109" y="12304"/>
                        <a:pt x="20091" y="12170"/>
                        <a:pt x="20097" y="12046"/>
                      </a:cubicBezTo>
                      <a:cubicBezTo>
                        <a:pt x="20088" y="12026"/>
                        <a:pt x="20080" y="12004"/>
                        <a:pt x="20073" y="11980"/>
                      </a:cubicBezTo>
                      <a:cubicBezTo>
                        <a:pt x="20037" y="11853"/>
                        <a:pt x="20026" y="11741"/>
                        <a:pt x="20028" y="11646"/>
                      </a:cubicBezTo>
                      <a:cubicBezTo>
                        <a:pt x="20029" y="11599"/>
                        <a:pt x="20034" y="11556"/>
                        <a:pt x="20040" y="11518"/>
                      </a:cubicBezTo>
                      <a:cubicBezTo>
                        <a:pt x="20046" y="11480"/>
                        <a:pt x="20054" y="11448"/>
                        <a:pt x="20062" y="11420"/>
                      </a:cubicBezTo>
                      <a:cubicBezTo>
                        <a:pt x="20059" y="11367"/>
                        <a:pt x="20059" y="11306"/>
                        <a:pt x="20067" y="11238"/>
                      </a:cubicBezTo>
                      <a:cubicBezTo>
                        <a:pt x="20066" y="11221"/>
                        <a:pt x="20065" y="11201"/>
                        <a:pt x="20064" y="11178"/>
                      </a:cubicBezTo>
                      <a:cubicBezTo>
                        <a:pt x="20049" y="11168"/>
                        <a:pt x="20034" y="11157"/>
                        <a:pt x="20019" y="11142"/>
                      </a:cubicBezTo>
                      <a:cubicBezTo>
                        <a:pt x="19986" y="11112"/>
                        <a:pt x="19898" y="11028"/>
                        <a:pt x="19859" y="10846"/>
                      </a:cubicBezTo>
                      <a:cubicBezTo>
                        <a:pt x="19758" y="10755"/>
                        <a:pt x="19677" y="10553"/>
                        <a:pt x="19676" y="10550"/>
                      </a:cubicBezTo>
                      <a:lnTo>
                        <a:pt x="19621" y="10405"/>
                      </a:lnTo>
                      <a:lnTo>
                        <a:pt x="19625" y="10152"/>
                      </a:lnTo>
                      <a:cubicBezTo>
                        <a:pt x="19627" y="10138"/>
                        <a:pt x="19629" y="10124"/>
                        <a:pt x="19630" y="10111"/>
                      </a:cubicBezTo>
                      <a:cubicBezTo>
                        <a:pt x="19585" y="10005"/>
                        <a:pt x="19551" y="9872"/>
                        <a:pt x="19567" y="9694"/>
                      </a:cubicBezTo>
                      <a:cubicBezTo>
                        <a:pt x="19573" y="9629"/>
                        <a:pt x="19585" y="9573"/>
                        <a:pt x="19598" y="9527"/>
                      </a:cubicBezTo>
                      <a:cubicBezTo>
                        <a:pt x="19563" y="9394"/>
                        <a:pt x="19560" y="9208"/>
                        <a:pt x="19573" y="9079"/>
                      </a:cubicBezTo>
                      <a:lnTo>
                        <a:pt x="19588" y="8927"/>
                      </a:lnTo>
                      <a:cubicBezTo>
                        <a:pt x="19583" y="8892"/>
                        <a:pt x="19580" y="8854"/>
                        <a:pt x="19579" y="8813"/>
                      </a:cubicBezTo>
                      <a:lnTo>
                        <a:pt x="19577" y="8631"/>
                      </a:lnTo>
                      <a:lnTo>
                        <a:pt x="19626" y="8527"/>
                      </a:lnTo>
                      <a:cubicBezTo>
                        <a:pt x="19599" y="8469"/>
                        <a:pt x="19577" y="8390"/>
                        <a:pt x="19568" y="8282"/>
                      </a:cubicBezTo>
                      <a:lnTo>
                        <a:pt x="19564" y="8229"/>
                      </a:lnTo>
                      <a:cubicBezTo>
                        <a:pt x="19523" y="8173"/>
                        <a:pt x="19480" y="8093"/>
                        <a:pt x="19457" y="7966"/>
                      </a:cubicBezTo>
                      <a:cubicBezTo>
                        <a:pt x="19445" y="7902"/>
                        <a:pt x="19441" y="7846"/>
                        <a:pt x="19439" y="7802"/>
                      </a:cubicBezTo>
                      <a:cubicBezTo>
                        <a:pt x="19418" y="7706"/>
                        <a:pt x="19413" y="7599"/>
                        <a:pt x="19424" y="7496"/>
                      </a:cubicBezTo>
                      <a:lnTo>
                        <a:pt x="19433" y="7410"/>
                      </a:lnTo>
                      <a:lnTo>
                        <a:pt x="19432" y="7407"/>
                      </a:lnTo>
                      <a:cubicBezTo>
                        <a:pt x="19430" y="7407"/>
                        <a:pt x="19427" y="7407"/>
                        <a:pt x="19425" y="7407"/>
                      </a:cubicBezTo>
                      <a:lnTo>
                        <a:pt x="19351" y="7407"/>
                      </a:lnTo>
                      <a:lnTo>
                        <a:pt x="19291" y="7288"/>
                      </a:lnTo>
                      <a:cubicBezTo>
                        <a:pt x="19268" y="7236"/>
                        <a:pt x="19224" y="7121"/>
                        <a:pt x="19215" y="6961"/>
                      </a:cubicBezTo>
                      <a:cubicBezTo>
                        <a:pt x="19167" y="6899"/>
                        <a:pt x="19145" y="6815"/>
                        <a:pt x="19137" y="6780"/>
                      </a:cubicBezTo>
                      <a:cubicBezTo>
                        <a:pt x="19102" y="6606"/>
                        <a:pt x="19114" y="6359"/>
                        <a:pt x="19116" y="6321"/>
                      </a:cubicBezTo>
                      <a:lnTo>
                        <a:pt x="19094" y="6289"/>
                      </a:lnTo>
                      <a:cubicBezTo>
                        <a:pt x="19071" y="6256"/>
                        <a:pt x="19050" y="6207"/>
                        <a:pt x="19018" y="6132"/>
                      </a:cubicBezTo>
                      <a:cubicBezTo>
                        <a:pt x="18939" y="5981"/>
                        <a:pt x="18929" y="5812"/>
                        <a:pt x="18922" y="5689"/>
                      </a:cubicBezTo>
                      <a:cubicBezTo>
                        <a:pt x="18850" y="5481"/>
                        <a:pt x="18890" y="5296"/>
                        <a:pt x="18922" y="5201"/>
                      </a:cubicBezTo>
                      <a:cubicBezTo>
                        <a:pt x="18884" y="5129"/>
                        <a:pt x="18864" y="5020"/>
                        <a:pt x="18864" y="4892"/>
                      </a:cubicBezTo>
                      <a:cubicBezTo>
                        <a:pt x="18801" y="4798"/>
                        <a:pt x="18690" y="4598"/>
                        <a:pt x="18731" y="4296"/>
                      </a:cubicBezTo>
                      <a:cubicBezTo>
                        <a:pt x="18734" y="4280"/>
                        <a:pt x="18736" y="4265"/>
                        <a:pt x="18739" y="4250"/>
                      </a:cubicBezTo>
                      <a:cubicBezTo>
                        <a:pt x="18730" y="4197"/>
                        <a:pt x="18724" y="4135"/>
                        <a:pt x="18723" y="4069"/>
                      </a:cubicBezTo>
                      <a:cubicBezTo>
                        <a:pt x="18723" y="4049"/>
                        <a:pt x="18728" y="4027"/>
                        <a:pt x="18729" y="4006"/>
                      </a:cubicBezTo>
                      <a:cubicBezTo>
                        <a:pt x="18732" y="3963"/>
                        <a:pt x="18732" y="3920"/>
                        <a:pt x="18742" y="3875"/>
                      </a:cubicBezTo>
                      <a:cubicBezTo>
                        <a:pt x="18733" y="3876"/>
                        <a:pt x="18724" y="3877"/>
                        <a:pt x="18715" y="3877"/>
                      </a:cubicBezTo>
                      <a:lnTo>
                        <a:pt x="18682" y="3875"/>
                      </a:lnTo>
                      <a:cubicBezTo>
                        <a:pt x="18613" y="3865"/>
                        <a:pt x="18566" y="3787"/>
                        <a:pt x="18533" y="3705"/>
                      </a:cubicBezTo>
                      <a:cubicBezTo>
                        <a:pt x="18505" y="3735"/>
                        <a:pt x="18473" y="3756"/>
                        <a:pt x="18435" y="3759"/>
                      </a:cubicBezTo>
                      <a:cubicBezTo>
                        <a:pt x="18435" y="3759"/>
                        <a:pt x="18435" y="3759"/>
                        <a:pt x="18435" y="3759"/>
                      </a:cubicBezTo>
                      <a:cubicBezTo>
                        <a:pt x="18297" y="3759"/>
                        <a:pt x="18232" y="3555"/>
                        <a:pt x="18200" y="3375"/>
                      </a:cubicBezTo>
                      <a:cubicBezTo>
                        <a:pt x="18189" y="3316"/>
                        <a:pt x="18182" y="3258"/>
                        <a:pt x="18177" y="3212"/>
                      </a:cubicBezTo>
                      <a:cubicBezTo>
                        <a:pt x="18143" y="3171"/>
                        <a:pt x="18102" y="3109"/>
                        <a:pt x="18060" y="3005"/>
                      </a:cubicBezTo>
                      <a:cubicBezTo>
                        <a:pt x="18000" y="2857"/>
                        <a:pt x="17969" y="2719"/>
                        <a:pt x="17968" y="2580"/>
                      </a:cubicBezTo>
                      <a:cubicBezTo>
                        <a:pt x="17967" y="2580"/>
                        <a:pt x="17966" y="2580"/>
                        <a:pt x="17966" y="2580"/>
                      </a:cubicBezTo>
                      <a:lnTo>
                        <a:pt x="17921" y="2571"/>
                      </a:lnTo>
                      <a:cubicBezTo>
                        <a:pt x="17861" y="2547"/>
                        <a:pt x="17791" y="2467"/>
                        <a:pt x="17757" y="2242"/>
                      </a:cubicBezTo>
                      <a:cubicBezTo>
                        <a:pt x="17748" y="2237"/>
                        <a:pt x="17740" y="2230"/>
                        <a:pt x="17731" y="2222"/>
                      </a:cubicBezTo>
                      <a:lnTo>
                        <a:pt x="17655" y="2140"/>
                      </a:lnTo>
                      <a:cubicBezTo>
                        <a:pt x="17620" y="2177"/>
                        <a:pt x="17589" y="2202"/>
                        <a:pt x="17554" y="2207"/>
                      </a:cubicBezTo>
                      <a:cubicBezTo>
                        <a:pt x="17553" y="2207"/>
                        <a:pt x="17553" y="2207"/>
                        <a:pt x="17553" y="2207"/>
                      </a:cubicBezTo>
                      <a:cubicBezTo>
                        <a:pt x="17465" y="2207"/>
                        <a:pt x="17404" y="2129"/>
                        <a:pt x="17366" y="1975"/>
                      </a:cubicBezTo>
                      <a:lnTo>
                        <a:pt x="17344" y="1975"/>
                      </a:lnTo>
                      <a:lnTo>
                        <a:pt x="17276" y="1850"/>
                      </a:lnTo>
                      <a:cubicBezTo>
                        <a:pt x="17233" y="1849"/>
                        <a:pt x="17198" y="1855"/>
                        <a:pt x="17173" y="1859"/>
                      </a:cubicBezTo>
                      <a:cubicBezTo>
                        <a:pt x="17148" y="1863"/>
                        <a:pt x="17128" y="1866"/>
                        <a:pt x="17115" y="1866"/>
                      </a:cubicBezTo>
                      <a:lnTo>
                        <a:pt x="16961" y="1866"/>
                      </a:lnTo>
                      <a:lnTo>
                        <a:pt x="16933" y="1645"/>
                      </a:lnTo>
                      <a:cubicBezTo>
                        <a:pt x="16932" y="1645"/>
                        <a:pt x="16931" y="1645"/>
                        <a:pt x="16931" y="1645"/>
                      </a:cubicBezTo>
                      <a:cubicBezTo>
                        <a:pt x="16908" y="1636"/>
                        <a:pt x="16888" y="1627"/>
                        <a:pt x="16873" y="1617"/>
                      </a:cubicBezTo>
                      <a:cubicBezTo>
                        <a:pt x="16790" y="1563"/>
                        <a:pt x="16749" y="1429"/>
                        <a:pt x="16728" y="1294"/>
                      </a:cubicBezTo>
                      <a:cubicBezTo>
                        <a:pt x="16712" y="1286"/>
                        <a:pt x="16693" y="1273"/>
                        <a:pt x="16672" y="1256"/>
                      </a:cubicBezTo>
                      <a:lnTo>
                        <a:pt x="16655" y="1289"/>
                      </a:lnTo>
                      <a:lnTo>
                        <a:pt x="16568" y="1302"/>
                      </a:lnTo>
                      <a:cubicBezTo>
                        <a:pt x="16540" y="1302"/>
                        <a:pt x="16514" y="1290"/>
                        <a:pt x="16488" y="1269"/>
                      </a:cubicBezTo>
                      <a:lnTo>
                        <a:pt x="16472" y="1363"/>
                      </a:lnTo>
                      <a:lnTo>
                        <a:pt x="16329" y="1379"/>
                      </a:lnTo>
                      <a:cubicBezTo>
                        <a:pt x="16286" y="1379"/>
                        <a:pt x="16245" y="1354"/>
                        <a:pt x="16197" y="1318"/>
                      </a:cubicBezTo>
                      <a:lnTo>
                        <a:pt x="16163" y="1388"/>
                      </a:lnTo>
                      <a:lnTo>
                        <a:pt x="16066" y="1413"/>
                      </a:lnTo>
                      <a:cubicBezTo>
                        <a:pt x="16002" y="1413"/>
                        <a:pt x="15952" y="1354"/>
                        <a:pt x="15913" y="1306"/>
                      </a:cubicBezTo>
                      <a:cubicBezTo>
                        <a:pt x="15908" y="1300"/>
                        <a:pt x="15903" y="1294"/>
                        <a:pt x="15898" y="1288"/>
                      </a:cubicBezTo>
                      <a:lnTo>
                        <a:pt x="15861" y="1382"/>
                      </a:lnTo>
                      <a:cubicBezTo>
                        <a:pt x="15824" y="1431"/>
                        <a:pt x="15782" y="1457"/>
                        <a:pt x="15740" y="1457"/>
                      </a:cubicBezTo>
                      <a:lnTo>
                        <a:pt x="15703" y="1457"/>
                      </a:lnTo>
                      <a:lnTo>
                        <a:pt x="15634" y="1405"/>
                      </a:lnTo>
                      <a:cubicBezTo>
                        <a:pt x="15637" y="1413"/>
                        <a:pt x="15585" y="1409"/>
                        <a:pt x="15561" y="1412"/>
                      </a:cubicBezTo>
                      <a:cubicBezTo>
                        <a:pt x="15507" y="1412"/>
                        <a:pt x="15462" y="1374"/>
                        <a:pt x="15419" y="1329"/>
                      </a:cubicBezTo>
                      <a:cubicBezTo>
                        <a:pt x="15394" y="1509"/>
                        <a:pt x="15331" y="1664"/>
                        <a:pt x="15266" y="1810"/>
                      </a:cubicBezTo>
                      <a:cubicBezTo>
                        <a:pt x="15234" y="1890"/>
                        <a:pt x="15181" y="1992"/>
                        <a:pt x="15090" y="1992"/>
                      </a:cubicBezTo>
                      <a:lnTo>
                        <a:pt x="15049" y="1987"/>
                      </a:lnTo>
                      <a:cubicBezTo>
                        <a:pt x="15003" y="2028"/>
                        <a:pt x="14962" y="2064"/>
                        <a:pt x="14915" y="2068"/>
                      </a:cubicBezTo>
                      <a:cubicBezTo>
                        <a:pt x="14915" y="2068"/>
                        <a:pt x="14915" y="2068"/>
                        <a:pt x="14914" y="2068"/>
                      </a:cubicBezTo>
                      <a:cubicBezTo>
                        <a:pt x="14800" y="2068"/>
                        <a:pt x="14727" y="1909"/>
                        <a:pt x="14696" y="1842"/>
                      </a:cubicBezTo>
                      <a:cubicBezTo>
                        <a:pt x="14679" y="1810"/>
                        <a:pt x="14604" y="1687"/>
                        <a:pt x="14579" y="1654"/>
                      </a:cubicBezTo>
                      <a:cubicBezTo>
                        <a:pt x="14549" y="1624"/>
                        <a:pt x="14523" y="1569"/>
                        <a:pt x="14504" y="1520"/>
                      </a:cubicBezTo>
                      <a:cubicBezTo>
                        <a:pt x="14460" y="1505"/>
                        <a:pt x="14399" y="1455"/>
                        <a:pt x="14271" y="1246"/>
                      </a:cubicBezTo>
                      <a:lnTo>
                        <a:pt x="14221" y="1252"/>
                      </a:lnTo>
                      <a:cubicBezTo>
                        <a:pt x="14157" y="1252"/>
                        <a:pt x="14109" y="1190"/>
                        <a:pt x="14069" y="1118"/>
                      </a:cubicBezTo>
                      <a:cubicBezTo>
                        <a:pt x="14052" y="1088"/>
                        <a:pt x="14035" y="1057"/>
                        <a:pt x="14021" y="1027"/>
                      </a:cubicBezTo>
                      <a:cubicBezTo>
                        <a:pt x="14002" y="996"/>
                        <a:pt x="13959" y="948"/>
                        <a:pt x="13923" y="906"/>
                      </a:cubicBezTo>
                      <a:cubicBezTo>
                        <a:pt x="13908" y="889"/>
                        <a:pt x="13893" y="871"/>
                        <a:pt x="13880" y="856"/>
                      </a:cubicBezTo>
                      <a:lnTo>
                        <a:pt x="13869" y="858"/>
                      </a:lnTo>
                      <a:cubicBezTo>
                        <a:pt x="13756" y="858"/>
                        <a:pt x="13701" y="678"/>
                        <a:pt x="13684" y="618"/>
                      </a:cubicBezTo>
                      <a:cubicBezTo>
                        <a:pt x="13657" y="547"/>
                        <a:pt x="13631" y="463"/>
                        <a:pt x="13610" y="386"/>
                      </a:cubicBezTo>
                      <a:cubicBezTo>
                        <a:pt x="11169" y="474"/>
                        <a:pt x="8623" y="461"/>
                        <a:pt x="5894" y="350"/>
                      </a:cubicBezTo>
                      <a:cubicBezTo>
                        <a:pt x="5794" y="346"/>
                        <a:pt x="5698" y="343"/>
                        <a:pt x="5598" y="339"/>
                      </a:cubicBezTo>
                      <a:cubicBezTo>
                        <a:pt x="5204" y="321"/>
                        <a:pt x="4802" y="300"/>
                        <a:pt x="4399" y="278"/>
                      </a:cubicBezTo>
                      <a:cubicBezTo>
                        <a:pt x="4215" y="269"/>
                        <a:pt x="4034" y="261"/>
                        <a:pt x="3848" y="250"/>
                      </a:cubicBezTo>
                      <a:cubicBezTo>
                        <a:pt x="3514" y="231"/>
                        <a:pt x="3172" y="208"/>
                        <a:pt x="2833" y="186"/>
                      </a:cubicBezTo>
                      <a:cubicBezTo>
                        <a:pt x="2567" y="169"/>
                        <a:pt x="2306" y="153"/>
                        <a:pt x="2037" y="134"/>
                      </a:cubicBezTo>
                      <a:cubicBezTo>
                        <a:pt x="1748" y="114"/>
                        <a:pt x="1451" y="90"/>
                        <a:pt x="1158" y="68"/>
                      </a:cubicBezTo>
                      <a:cubicBezTo>
                        <a:pt x="862" y="45"/>
                        <a:pt x="571" y="25"/>
                        <a:pt x="269" y="0"/>
                      </a:cubicBezTo>
                      <a:cubicBezTo>
                        <a:pt x="269" y="0"/>
                        <a:pt x="36" y="11944"/>
                        <a:pt x="36" y="11944"/>
                      </a:cubicBezTo>
                      <a:close/>
                      <a:moveTo>
                        <a:pt x="36" y="11944"/>
                      </a:moveTo>
                    </a:path>
                  </a:pathLst>
                </a:custGeom>
                <a:solidFill>
                  <a:schemeClr val="accent1">
                    <a:lumMod val="40000"/>
                    <a:lumOff val="6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2400"/>
                    <a:buFontTx/>
                    <a:buNone/>
                    <a:tabLst/>
                    <a:defRPr/>
                  </a:pPr>
                  <a:endParaRPr kumimoji="0" sz="1800" b="1"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82" name="Google Shape;398;p54">
                  <a:extLst>
                    <a:ext uri="{FF2B5EF4-FFF2-40B4-BE49-F238E27FC236}">
                      <a16:creationId xmlns:a16="http://schemas.microsoft.com/office/drawing/2014/main" id="{21D074E4-8C8B-4C77-ADFE-BCDED046089C}"/>
                    </a:ext>
                  </a:extLst>
                </p:cNvPr>
                <p:cNvSpPr/>
                <p:nvPr/>
              </p:nvSpPr>
              <p:spPr>
                <a:xfrm>
                  <a:off x="3943613" y="3350877"/>
                  <a:ext cx="930690" cy="484758"/>
                </a:xfrm>
                <a:custGeom>
                  <a:avLst/>
                  <a:gdLst/>
                  <a:ahLst/>
                  <a:cxnLst/>
                  <a:rect l="l" t="t" r="r" b="b"/>
                  <a:pathLst>
                    <a:path w="21600" h="21600" extrusionOk="0">
                      <a:moveTo>
                        <a:pt x="19809" y="2189"/>
                      </a:moveTo>
                      <a:cubicBezTo>
                        <a:pt x="19818" y="2086"/>
                        <a:pt x="19847" y="1994"/>
                        <a:pt x="19871" y="1918"/>
                      </a:cubicBezTo>
                      <a:cubicBezTo>
                        <a:pt x="19896" y="1798"/>
                        <a:pt x="19927" y="1604"/>
                        <a:pt x="20033" y="1527"/>
                      </a:cubicBezTo>
                      <a:cubicBezTo>
                        <a:pt x="20032" y="1437"/>
                        <a:pt x="20037" y="1263"/>
                        <a:pt x="20105" y="1125"/>
                      </a:cubicBezTo>
                      <a:lnTo>
                        <a:pt x="20108" y="1119"/>
                      </a:lnTo>
                      <a:cubicBezTo>
                        <a:pt x="20106" y="1041"/>
                        <a:pt x="20118" y="973"/>
                        <a:pt x="20131" y="922"/>
                      </a:cubicBezTo>
                      <a:cubicBezTo>
                        <a:pt x="20137" y="901"/>
                        <a:pt x="20143" y="883"/>
                        <a:pt x="20150" y="865"/>
                      </a:cubicBezTo>
                      <a:cubicBezTo>
                        <a:pt x="20145" y="853"/>
                        <a:pt x="20140" y="840"/>
                        <a:pt x="20136" y="827"/>
                      </a:cubicBezTo>
                      <a:cubicBezTo>
                        <a:pt x="20135" y="828"/>
                        <a:pt x="20133" y="830"/>
                        <a:pt x="20132" y="830"/>
                      </a:cubicBezTo>
                      <a:cubicBezTo>
                        <a:pt x="20057" y="914"/>
                        <a:pt x="19962" y="944"/>
                        <a:pt x="19903" y="944"/>
                      </a:cubicBezTo>
                      <a:lnTo>
                        <a:pt x="19857" y="938"/>
                      </a:lnTo>
                      <a:cubicBezTo>
                        <a:pt x="19855" y="938"/>
                        <a:pt x="19656" y="883"/>
                        <a:pt x="19559" y="690"/>
                      </a:cubicBezTo>
                      <a:cubicBezTo>
                        <a:pt x="19423" y="658"/>
                        <a:pt x="19353" y="499"/>
                        <a:pt x="19334" y="332"/>
                      </a:cubicBezTo>
                      <a:cubicBezTo>
                        <a:pt x="19281" y="294"/>
                        <a:pt x="19245" y="237"/>
                        <a:pt x="19218" y="180"/>
                      </a:cubicBezTo>
                      <a:cubicBezTo>
                        <a:pt x="19192" y="161"/>
                        <a:pt x="19164" y="134"/>
                        <a:pt x="19135" y="100"/>
                      </a:cubicBezTo>
                      <a:cubicBezTo>
                        <a:pt x="19127" y="89"/>
                        <a:pt x="19120" y="74"/>
                        <a:pt x="19112" y="61"/>
                      </a:cubicBezTo>
                      <a:cubicBezTo>
                        <a:pt x="19099" y="41"/>
                        <a:pt x="19086" y="26"/>
                        <a:pt x="19075" y="0"/>
                      </a:cubicBezTo>
                      <a:cubicBezTo>
                        <a:pt x="18231" y="76"/>
                        <a:pt x="17392" y="139"/>
                        <a:pt x="16553" y="201"/>
                      </a:cubicBezTo>
                      <a:cubicBezTo>
                        <a:pt x="16295" y="220"/>
                        <a:pt x="16035" y="245"/>
                        <a:pt x="15777" y="263"/>
                      </a:cubicBezTo>
                      <a:cubicBezTo>
                        <a:pt x="14921" y="322"/>
                        <a:pt x="14073" y="367"/>
                        <a:pt x="13225" y="411"/>
                      </a:cubicBezTo>
                      <a:cubicBezTo>
                        <a:pt x="12957" y="426"/>
                        <a:pt x="12685" y="445"/>
                        <a:pt x="12417" y="458"/>
                      </a:cubicBezTo>
                      <a:cubicBezTo>
                        <a:pt x="11559" y="498"/>
                        <a:pt x="10711" y="525"/>
                        <a:pt x="9864" y="550"/>
                      </a:cubicBezTo>
                      <a:cubicBezTo>
                        <a:pt x="9613" y="556"/>
                        <a:pt x="9358" y="570"/>
                        <a:pt x="9108" y="576"/>
                      </a:cubicBezTo>
                      <a:cubicBezTo>
                        <a:pt x="8015" y="602"/>
                        <a:pt x="6932" y="615"/>
                        <a:pt x="5861" y="615"/>
                      </a:cubicBezTo>
                      <a:cubicBezTo>
                        <a:pt x="4897" y="615"/>
                        <a:pt x="3931" y="604"/>
                        <a:pt x="2971" y="583"/>
                      </a:cubicBezTo>
                      <a:cubicBezTo>
                        <a:pt x="2671" y="577"/>
                        <a:pt x="2376" y="563"/>
                        <a:pt x="2077" y="554"/>
                      </a:cubicBezTo>
                      <a:cubicBezTo>
                        <a:pt x="1454" y="537"/>
                        <a:pt x="830" y="521"/>
                        <a:pt x="216" y="494"/>
                      </a:cubicBezTo>
                      <a:lnTo>
                        <a:pt x="55" y="16108"/>
                      </a:lnTo>
                      <a:lnTo>
                        <a:pt x="0" y="21485"/>
                      </a:lnTo>
                      <a:cubicBezTo>
                        <a:pt x="270" y="21494"/>
                        <a:pt x="538" y="21512"/>
                        <a:pt x="809" y="21520"/>
                      </a:cubicBezTo>
                      <a:cubicBezTo>
                        <a:pt x="1084" y="21529"/>
                        <a:pt x="1361" y="21537"/>
                        <a:pt x="1637" y="21544"/>
                      </a:cubicBezTo>
                      <a:cubicBezTo>
                        <a:pt x="2906" y="21577"/>
                        <a:pt x="4176" y="21600"/>
                        <a:pt x="5439" y="21600"/>
                      </a:cubicBezTo>
                      <a:cubicBezTo>
                        <a:pt x="5518" y="21600"/>
                        <a:pt x="5597" y="21597"/>
                        <a:pt x="5676" y="21597"/>
                      </a:cubicBezTo>
                      <a:cubicBezTo>
                        <a:pt x="6940" y="21595"/>
                        <a:pt x="8208" y="21578"/>
                        <a:pt x="9481" y="21543"/>
                      </a:cubicBezTo>
                      <a:cubicBezTo>
                        <a:pt x="9912" y="21531"/>
                        <a:pt x="10346" y="21505"/>
                        <a:pt x="10777" y="21489"/>
                      </a:cubicBezTo>
                      <a:cubicBezTo>
                        <a:pt x="11701" y="21454"/>
                        <a:pt x="12624" y="21423"/>
                        <a:pt x="13550" y="21372"/>
                      </a:cubicBezTo>
                      <a:cubicBezTo>
                        <a:pt x="14040" y="21345"/>
                        <a:pt x="14531" y="21303"/>
                        <a:pt x="15022" y="21270"/>
                      </a:cubicBezTo>
                      <a:cubicBezTo>
                        <a:pt x="15891" y="21213"/>
                        <a:pt x="16761" y="21161"/>
                        <a:pt x="17631" y="21088"/>
                      </a:cubicBezTo>
                      <a:cubicBezTo>
                        <a:pt x="18170" y="21043"/>
                        <a:pt x="18708" y="20983"/>
                        <a:pt x="19246" y="20933"/>
                      </a:cubicBezTo>
                      <a:cubicBezTo>
                        <a:pt x="20031" y="20859"/>
                        <a:pt x="20817" y="20789"/>
                        <a:pt x="21600" y="20702"/>
                      </a:cubicBezTo>
                      <a:lnTo>
                        <a:pt x="21189" y="5910"/>
                      </a:lnTo>
                      <a:cubicBezTo>
                        <a:pt x="21165" y="5887"/>
                        <a:pt x="21143" y="5859"/>
                        <a:pt x="21123" y="5828"/>
                      </a:cubicBezTo>
                      <a:cubicBezTo>
                        <a:pt x="21103" y="5838"/>
                        <a:pt x="21085" y="5844"/>
                        <a:pt x="21059" y="5844"/>
                      </a:cubicBezTo>
                      <a:cubicBezTo>
                        <a:pt x="20996" y="5844"/>
                        <a:pt x="20858" y="5839"/>
                        <a:pt x="20773" y="5634"/>
                      </a:cubicBezTo>
                      <a:cubicBezTo>
                        <a:pt x="20771" y="5629"/>
                        <a:pt x="20769" y="5624"/>
                        <a:pt x="20767" y="5619"/>
                      </a:cubicBezTo>
                      <a:lnTo>
                        <a:pt x="20730" y="5619"/>
                      </a:lnTo>
                      <a:lnTo>
                        <a:pt x="20658" y="5538"/>
                      </a:lnTo>
                      <a:cubicBezTo>
                        <a:pt x="20580" y="5434"/>
                        <a:pt x="20537" y="5273"/>
                        <a:pt x="20536" y="5089"/>
                      </a:cubicBezTo>
                      <a:cubicBezTo>
                        <a:pt x="20476" y="5030"/>
                        <a:pt x="20400" y="4947"/>
                        <a:pt x="20354" y="4796"/>
                      </a:cubicBezTo>
                      <a:cubicBezTo>
                        <a:pt x="20352" y="4790"/>
                        <a:pt x="20286" y="4530"/>
                        <a:pt x="20279" y="4272"/>
                      </a:cubicBezTo>
                      <a:cubicBezTo>
                        <a:pt x="20240" y="4217"/>
                        <a:pt x="20203" y="4140"/>
                        <a:pt x="20180" y="4048"/>
                      </a:cubicBezTo>
                      <a:cubicBezTo>
                        <a:pt x="20155" y="4017"/>
                        <a:pt x="20130" y="3974"/>
                        <a:pt x="20110" y="3910"/>
                      </a:cubicBezTo>
                      <a:lnTo>
                        <a:pt x="20102" y="3887"/>
                      </a:lnTo>
                      <a:cubicBezTo>
                        <a:pt x="20071" y="3866"/>
                        <a:pt x="20037" y="3834"/>
                        <a:pt x="20003" y="3783"/>
                      </a:cubicBezTo>
                      <a:cubicBezTo>
                        <a:pt x="19945" y="3692"/>
                        <a:pt x="19869" y="3573"/>
                        <a:pt x="19852" y="3382"/>
                      </a:cubicBezTo>
                      <a:cubicBezTo>
                        <a:pt x="19771" y="3306"/>
                        <a:pt x="19678" y="3184"/>
                        <a:pt x="19658" y="2962"/>
                      </a:cubicBezTo>
                      <a:cubicBezTo>
                        <a:pt x="19642" y="2781"/>
                        <a:pt x="19664" y="2488"/>
                        <a:pt x="19729" y="2331"/>
                      </a:cubicBezTo>
                      <a:cubicBezTo>
                        <a:pt x="19729" y="2331"/>
                        <a:pt x="19809" y="2189"/>
                        <a:pt x="19809" y="2189"/>
                      </a:cubicBezTo>
                      <a:close/>
                      <a:moveTo>
                        <a:pt x="19809" y="2189"/>
                      </a:moveTo>
                    </a:path>
                  </a:pathLst>
                </a:custGeom>
                <a:solidFill>
                  <a:schemeClr val="bg1">
                    <a:lumMod val="75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83" name="Google Shape;399;p54">
                  <a:extLst>
                    <a:ext uri="{FF2B5EF4-FFF2-40B4-BE49-F238E27FC236}">
                      <a16:creationId xmlns:a16="http://schemas.microsoft.com/office/drawing/2014/main" id="{E2C60B13-4914-4F22-B06C-B94203D00F88}"/>
                    </a:ext>
                  </a:extLst>
                </p:cNvPr>
                <p:cNvSpPr/>
                <p:nvPr/>
              </p:nvSpPr>
              <p:spPr>
                <a:xfrm>
                  <a:off x="5241207" y="2869189"/>
                  <a:ext cx="501567" cy="879174"/>
                </a:xfrm>
                <a:custGeom>
                  <a:avLst/>
                  <a:gdLst/>
                  <a:ahLst/>
                  <a:cxnLst/>
                  <a:rect l="l" t="t" r="r" b="b"/>
                  <a:pathLst>
                    <a:path w="21596" h="21600" extrusionOk="0">
                      <a:moveTo>
                        <a:pt x="15325" y="20832"/>
                      </a:moveTo>
                      <a:cubicBezTo>
                        <a:pt x="15610" y="20832"/>
                        <a:pt x="16441" y="20934"/>
                        <a:pt x="16675" y="21022"/>
                      </a:cubicBezTo>
                      <a:cubicBezTo>
                        <a:pt x="16719" y="21038"/>
                        <a:pt x="16753" y="21053"/>
                        <a:pt x="16780" y="21064"/>
                      </a:cubicBezTo>
                      <a:lnTo>
                        <a:pt x="16889" y="21062"/>
                      </a:lnTo>
                      <a:cubicBezTo>
                        <a:pt x="16983" y="21062"/>
                        <a:pt x="17126" y="21068"/>
                        <a:pt x="17262" y="21112"/>
                      </a:cubicBezTo>
                      <a:cubicBezTo>
                        <a:pt x="17303" y="21125"/>
                        <a:pt x="17403" y="21157"/>
                        <a:pt x="17519" y="21193"/>
                      </a:cubicBezTo>
                      <a:cubicBezTo>
                        <a:pt x="17668" y="21239"/>
                        <a:pt x="17842" y="21293"/>
                        <a:pt x="17952" y="21329"/>
                      </a:cubicBezTo>
                      <a:cubicBezTo>
                        <a:pt x="17966" y="21279"/>
                        <a:pt x="17959" y="21223"/>
                        <a:pt x="18001" y="21163"/>
                      </a:cubicBezTo>
                      <a:lnTo>
                        <a:pt x="18002" y="21161"/>
                      </a:lnTo>
                      <a:cubicBezTo>
                        <a:pt x="17966" y="21123"/>
                        <a:pt x="17923" y="21079"/>
                        <a:pt x="17889" y="21056"/>
                      </a:cubicBezTo>
                      <a:lnTo>
                        <a:pt x="17833" y="21028"/>
                      </a:lnTo>
                      <a:cubicBezTo>
                        <a:pt x="17588" y="20905"/>
                        <a:pt x="17384" y="20791"/>
                        <a:pt x="17384" y="20645"/>
                      </a:cubicBezTo>
                      <a:cubicBezTo>
                        <a:pt x="17384" y="20554"/>
                        <a:pt x="17446" y="20480"/>
                        <a:pt x="17492" y="20426"/>
                      </a:cubicBezTo>
                      <a:cubicBezTo>
                        <a:pt x="17505" y="20410"/>
                        <a:pt x="17520" y="20395"/>
                        <a:pt x="17527" y="20380"/>
                      </a:cubicBezTo>
                      <a:cubicBezTo>
                        <a:pt x="17532" y="20255"/>
                        <a:pt x="17538" y="20100"/>
                        <a:pt x="17758" y="19995"/>
                      </a:cubicBezTo>
                      <a:cubicBezTo>
                        <a:pt x="17919" y="19918"/>
                        <a:pt x="18095" y="19841"/>
                        <a:pt x="18302" y="19841"/>
                      </a:cubicBezTo>
                      <a:lnTo>
                        <a:pt x="18432" y="19841"/>
                      </a:lnTo>
                      <a:cubicBezTo>
                        <a:pt x="18509" y="19793"/>
                        <a:pt x="18626" y="19738"/>
                        <a:pt x="18819" y="19688"/>
                      </a:cubicBezTo>
                      <a:cubicBezTo>
                        <a:pt x="19055" y="19628"/>
                        <a:pt x="19293" y="19592"/>
                        <a:pt x="19468" y="19570"/>
                      </a:cubicBezTo>
                      <a:cubicBezTo>
                        <a:pt x="19353" y="19524"/>
                        <a:pt x="19250" y="19465"/>
                        <a:pt x="19209" y="19380"/>
                      </a:cubicBezTo>
                      <a:cubicBezTo>
                        <a:pt x="19196" y="19349"/>
                        <a:pt x="19188" y="19342"/>
                        <a:pt x="19166" y="19320"/>
                      </a:cubicBezTo>
                      <a:lnTo>
                        <a:pt x="19120" y="19272"/>
                      </a:lnTo>
                      <a:cubicBezTo>
                        <a:pt x="19017" y="19155"/>
                        <a:pt x="18968" y="18908"/>
                        <a:pt x="19252" y="18708"/>
                      </a:cubicBezTo>
                      <a:cubicBezTo>
                        <a:pt x="19379" y="18620"/>
                        <a:pt x="19488" y="18572"/>
                        <a:pt x="19561" y="18541"/>
                      </a:cubicBezTo>
                      <a:cubicBezTo>
                        <a:pt x="19559" y="18532"/>
                        <a:pt x="19557" y="18515"/>
                        <a:pt x="19552" y="18497"/>
                      </a:cubicBezTo>
                      <a:cubicBezTo>
                        <a:pt x="19551" y="18495"/>
                        <a:pt x="19550" y="18494"/>
                        <a:pt x="19550" y="18493"/>
                      </a:cubicBezTo>
                      <a:cubicBezTo>
                        <a:pt x="19506" y="18453"/>
                        <a:pt x="19482" y="18417"/>
                        <a:pt x="19471" y="18383"/>
                      </a:cubicBezTo>
                      <a:cubicBezTo>
                        <a:pt x="19458" y="18352"/>
                        <a:pt x="19458" y="18323"/>
                        <a:pt x="19466" y="18296"/>
                      </a:cubicBezTo>
                      <a:cubicBezTo>
                        <a:pt x="19404" y="18229"/>
                        <a:pt x="19357" y="18137"/>
                        <a:pt x="19435" y="18042"/>
                      </a:cubicBezTo>
                      <a:cubicBezTo>
                        <a:pt x="19438" y="18039"/>
                        <a:pt x="19441" y="18036"/>
                        <a:pt x="19444" y="18033"/>
                      </a:cubicBezTo>
                      <a:cubicBezTo>
                        <a:pt x="19400" y="17970"/>
                        <a:pt x="19373" y="17893"/>
                        <a:pt x="19434" y="17810"/>
                      </a:cubicBezTo>
                      <a:cubicBezTo>
                        <a:pt x="19464" y="17770"/>
                        <a:pt x="19506" y="17738"/>
                        <a:pt x="19543" y="17713"/>
                      </a:cubicBezTo>
                      <a:cubicBezTo>
                        <a:pt x="19541" y="17709"/>
                        <a:pt x="19539" y="17706"/>
                        <a:pt x="19536" y="17703"/>
                      </a:cubicBezTo>
                      <a:cubicBezTo>
                        <a:pt x="19469" y="17602"/>
                        <a:pt x="19365" y="17444"/>
                        <a:pt x="19506" y="17332"/>
                      </a:cubicBezTo>
                      <a:cubicBezTo>
                        <a:pt x="19445" y="17265"/>
                        <a:pt x="19460" y="17202"/>
                        <a:pt x="19482" y="17160"/>
                      </a:cubicBezTo>
                      <a:cubicBezTo>
                        <a:pt x="19520" y="17090"/>
                        <a:pt x="19590" y="17030"/>
                        <a:pt x="19692" y="16980"/>
                      </a:cubicBezTo>
                      <a:cubicBezTo>
                        <a:pt x="19398" y="16830"/>
                        <a:pt x="19479" y="16683"/>
                        <a:pt x="19537" y="16618"/>
                      </a:cubicBezTo>
                      <a:cubicBezTo>
                        <a:pt x="19569" y="16583"/>
                        <a:pt x="19603" y="16556"/>
                        <a:pt x="19633" y="16535"/>
                      </a:cubicBezTo>
                      <a:cubicBezTo>
                        <a:pt x="19573" y="16337"/>
                        <a:pt x="19812" y="16262"/>
                        <a:pt x="19891" y="16243"/>
                      </a:cubicBezTo>
                      <a:lnTo>
                        <a:pt x="20068" y="16222"/>
                      </a:lnTo>
                      <a:cubicBezTo>
                        <a:pt x="20087" y="16222"/>
                        <a:pt x="20105" y="16223"/>
                        <a:pt x="20123" y="16224"/>
                      </a:cubicBezTo>
                      <a:cubicBezTo>
                        <a:pt x="20143" y="16214"/>
                        <a:pt x="20165" y="16205"/>
                        <a:pt x="20190" y="16198"/>
                      </a:cubicBezTo>
                      <a:cubicBezTo>
                        <a:pt x="20209" y="16111"/>
                        <a:pt x="20256" y="16025"/>
                        <a:pt x="20369" y="15958"/>
                      </a:cubicBezTo>
                      <a:cubicBezTo>
                        <a:pt x="20437" y="15918"/>
                        <a:pt x="20505" y="15894"/>
                        <a:pt x="20563" y="15879"/>
                      </a:cubicBezTo>
                      <a:cubicBezTo>
                        <a:pt x="20587" y="15835"/>
                        <a:pt x="20591" y="15816"/>
                        <a:pt x="20594" y="15801"/>
                      </a:cubicBezTo>
                      <a:lnTo>
                        <a:pt x="20615" y="15744"/>
                      </a:lnTo>
                      <a:cubicBezTo>
                        <a:pt x="20600" y="15719"/>
                        <a:pt x="20590" y="15691"/>
                        <a:pt x="20590" y="15660"/>
                      </a:cubicBezTo>
                      <a:lnTo>
                        <a:pt x="20590" y="15571"/>
                      </a:lnTo>
                      <a:lnTo>
                        <a:pt x="20715" y="15492"/>
                      </a:lnTo>
                      <a:cubicBezTo>
                        <a:pt x="20746" y="15474"/>
                        <a:pt x="20783" y="15460"/>
                        <a:pt x="20857" y="15432"/>
                      </a:cubicBezTo>
                      <a:cubicBezTo>
                        <a:pt x="20878" y="15424"/>
                        <a:pt x="20916" y="15410"/>
                        <a:pt x="20954" y="15395"/>
                      </a:cubicBezTo>
                      <a:cubicBezTo>
                        <a:pt x="20949" y="15371"/>
                        <a:pt x="20948" y="15345"/>
                        <a:pt x="20951" y="15318"/>
                      </a:cubicBezTo>
                      <a:cubicBezTo>
                        <a:pt x="20961" y="15204"/>
                        <a:pt x="21014" y="15128"/>
                        <a:pt x="21046" y="15084"/>
                      </a:cubicBezTo>
                      <a:lnTo>
                        <a:pt x="21080" y="15035"/>
                      </a:lnTo>
                      <a:cubicBezTo>
                        <a:pt x="21085" y="15023"/>
                        <a:pt x="21086" y="15007"/>
                        <a:pt x="21086" y="14979"/>
                      </a:cubicBezTo>
                      <a:cubicBezTo>
                        <a:pt x="21085" y="14825"/>
                        <a:pt x="21105" y="14721"/>
                        <a:pt x="21365" y="14615"/>
                      </a:cubicBezTo>
                      <a:cubicBezTo>
                        <a:pt x="21438" y="14585"/>
                        <a:pt x="21511" y="14569"/>
                        <a:pt x="21569" y="14558"/>
                      </a:cubicBezTo>
                      <a:cubicBezTo>
                        <a:pt x="21585" y="14512"/>
                        <a:pt x="21592" y="14474"/>
                        <a:pt x="21596" y="14449"/>
                      </a:cubicBezTo>
                      <a:cubicBezTo>
                        <a:pt x="21576" y="14428"/>
                        <a:pt x="21543" y="14400"/>
                        <a:pt x="21525" y="14389"/>
                      </a:cubicBezTo>
                      <a:cubicBezTo>
                        <a:pt x="21421" y="14330"/>
                        <a:pt x="21372" y="14258"/>
                        <a:pt x="21383" y="14177"/>
                      </a:cubicBezTo>
                      <a:cubicBezTo>
                        <a:pt x="21225" y="14103"/>
                        <a:pt x="21224" y="14006"/>
                        <a:pt x="21243" y="13950"/>
                      </a:cubicBezTo>
                      <a:cubicBezTo>
                        <a:pt x="21251" y="13930"/>
                        <a:pt x="21269" y="13898"/>
                        <a:pt x="21296" y="13858"/>
                      </a:cubicBezTo>
                      <a:cubicBezTo>
                        <a:pt x="21310" y="13837"/>
                        <a:pt x="21337" y="13797"/>
                        <a:pt x="21358" y="13760"/>
                      </a:cubicBezTo>
                      <a:cubicBezTo>
                        <a:pt x="21306" y="13749"/>
                        <a:pt x="21253" y="13737"/>
                        <a:pt x="21201" y="13718"/>
                      </a:cubicBezTo>
                      <a:cubicBezTo>
                        <a:pt x="21049" y="13660"/>
                        <a:pt x="20976" y="13570"/>
                        <a:pt x="20987" y="13450"/>
                      </a:cubicBezTo>
                      <a:cubicBezTo>
                        <a:pt x="20968" y="13423"/>
                        <a:pt x="20949" y="13386"/>
                        <a:pt x="20949" y="13341"/>
                      </a:cubicBezTo>
                      <a:cubicBezTo>
                        <a:pt x="20937" y="13336"/>
                        <a:pt x="20922" y="13330"/>
                        <a:pt x="20908" y="13323"/>
                      </a:cubicBezTo>
                      <a:cubicBezTo>
                        <a:pt x="20680" y="13224"/>
                        <a:pt x="20527" y="13152"/>
                        <a:pt x="20485" y="13045"/>
                      </a:cubicBezTo>
                      <a:cubicBezTo>
                        <a:pt x="20417" y="12873"/>
                        <a:pt x="20465" y="12746"/>
                        <a:pt x="20629" y="12668"/>
                      </a:cubicBezTo>
                      <a:cubicBezTo>
                        <a:pt x="20659" y="12654"/>
                        <a:pt x="20692" y="12640"/>
                        <a:pt x="20719" y="12626"/>
                      </a:cubicBezTo>
                      <a:cubicBezTo>
                        <a:pt x="20719" y="12625"/>
                        <a:pt x="20718" y="12625"/>
                        <a:pt x="20718" y="12625"/>
                      </a:cubicBezTo>
                      <a:cubicBezTo>
                        <a:pt x="20659" y="12583"/>
                        <a:pt x="20562" y="12513"/>
                        <a:pt x="20544" y="12421"/>
                      </a:cubicBezTo>
                      <a:cubicBezTo>
                        <a:pt x="20538" y="12390"/>
                        <a:pt x="20541" y="12357"/>
                        <a:pt x="20558" y="12321"/>
                      </a:cubicBezTo>
                      <a:cubicBezTo>
                        <a:pt x="20557" y="12212"/>
                        <a:pt x="20555" y="12089"/>
                        <a:pt x="20727" y="11996"/>
                      </a:cubicBezTo>
                      <a:cubicBezTo>
                        <a:pt x="20770" y="11973"/>
                        <a:pt x="20813" y="11956"/>
                        <a:pt x="20854" y="11942"/>
                      </a:cubicBezTo>
                      <a:cubicBezTo>
                        <a:pt x="20854" y="11941"/>
                        <a:pt x="20854" y="11940"/>
                        <a:pt x="20854" y="11940"/>
                      </a:cubicBezTo>
                      <a:lnTo>
                        <a:pt x="18829" y="2894"/>
                      </a:lnTo>
                      <a:cubicBezTo>
                        <a:pt x="18711" y="2808"/>
                        <a:pt x="18699" y="2714"/>
                        <a:pt x="18692" y="2650"/>
                      </a:cubicBezTo>
                      <a:cubicBezTo>
                        <a:pt x="18685" y="2594"/>
                        <a:pt x="18680" y="2546"/>
                        <a:pt x="18615" y="2478"/>
                      </a:cubicBezTo>
                      <a:cubicBezTo>
                        <a:pt x="18461" y="2316"/>
                        <a:pt x="18402" y="2215"/>
                        <a:pt x="18364" y="2149"/>
                      </a:cubicBezTo>
                      <a:lnTo>
                        <a:pt x="18336" y="2106"/>
                      </a:lnTo>
                      <a:cubicBezTo>
                        <a:pt x="18328" y="2099"/>
                        <a:pt x="18309" y="2086"/>
                        <a:pt x="18290" y="2071"/>
                      </a:cubicBezTo>
                      <a:cubicBezTo>
                        <a:pt x="18212" y="2013"/>
                        <a:pt x="18105" y="1934"/>
                        <a:pt x="18086" y="1830"/>
                      </a:cubicBezTo>
                      <a:cubicBezTo>
                        <a:pt x="17970" y="1788"/>
                        <a:pt x="17802" y="1712"/>
                        <a:pt x="17802" y="1575"/>
                      </a:cubicBezTo>
                      <a:cubicBezTo>
                        <a:pt x="17802" y="1498"/>
                        <a:pt x="17799" y="1449"/>
                        <a:pt x="17794" y="1418"/>
                      </a:cubicBezTo>
                      <a:cubicBezTo>
                        <a:pt x="17713" y="1408"/>
                        <a:pt x="17620" y="1388"/>
                        <a:pt x="17533" y="1344"/>
                      </a:cubicBezTo>
                      <a:cubicBezTo>
                        <a:pt x="17511" y="1333"/>
                        <a:pt x="17473" y="1318"/>
                        <a:pt x="17432" y="1302"/>
                      </a:cubicBezTo>
                      <a:cubicBezTo>
                        <a:pt x="17263" y="1235"/>
                        <a:pt x="17146" y="1185"/>
                        <a:pt x="17079" y="1116"/>
                      </a:cubicBezTo>
                      <a:cubicBezTo>
                        <a:pt x="16702" y="764"/>
                        <a:pt x="16567" y="570"/>
                        <a:pt x="16583" y="417"/>
                      </a:cubicBezTo>
                      <a:cubicBezTo>
                        <a:pt x="16591" y="347"/>
                        <a:pt x="16605" y="263"/>
                        <a:pt x="16618" y="178"/>
                      </a:cubicBezTo>
                      <a:cubicBezTo>
                        <a:pt x="16628" y="117"/>
                        <a:pt x="16638" y="55"/>
                        <a:pt x="16646" y="0"/>
                      </a:cubicBezTo>
                      <a:cubicBezTo>
                        <a:pt x="16566" y="6"/>
                        <a:pt x="16483" y="11"/>
                        <a:pt x="16403" y="17"/>
                      </a:cubicBezTo>
                      <a:cubicBezTo>
                        <a:pt x="15472" y="86"/>
                        <a:pt x="14532" y="153"/>
                        <a:pt x="13576" y="218"/>
                      </a:cubicBezTo>
                      <a:cubicBezTo>
                        <a:pt x="13500" y="223"/>
                        <a:pt x="13422" y="228"/>
                        <a:pt x="13345" y="233"/>
                      </a:cubicBezTo>
                      <a:cubicBezTo>
                        <a:pt x="12381" y="297"/>
                        <a:pt x="11402" y="359"/>
                        <a:pt x="10406" y="420"/>
                      </a:cubicBezTo>
                      <a:cubicBezTo>
                        <a:pt x="10348" y="423"/>
                        <a:pt x="10291" y="427"/>
                        <a:pt x="10233" y="430"/>
                      </a:cubicBezTo>
                      <a:cubicBezTo>
                        <a:pt x="9231" y="491"/>
                        <a:pt x="8207" y="548"/>
                        <a:pt x="7170" y="605"/>
                      </a:cubicBezTo>
                      <a:cubicBezTo>
                        <a:pt x="7043" y="612"/>
                        <a:pt x="6917" y="619"/>
                        <a:pt x="6790" y="626"/>
                      </a:cubicBezTo>
                      <a:cubicBezTo>
                        <a:pt x="5778" y="680"/>
                        <a:pt x="4744" y="732"/>
                        <a:pt x="3693" y="782"/>
                      </a:cubicBezTo>
                      <a:cubicBezTo>
                        <a:pt x="3606" y="787"/>
                        <a:pt x="3524" y="791"/>
                        <a:pt x="3436" y="795"/>
                      </a:cubicBezTo>
                      <a:lnTo>
                        <a:pt x="3446" y="820"/>
                      </a:lnTo>
                      <a:cubicBezTo>
                        <a:pt x="3605" y="863"/>
                        <a:pt x="3817" y="932"/>
                        <a:pt x="3937" y="1006"/>
                      </a:cubicBezTo>
                      <a:lnTo>
                        <a:pt x="4007" y="1047"/>
                      </a:lnTo>
                      <a:cubicBezTo>
                        <a:pt x="4117" y="1108"/>
                        <a:pt x="4322" y="1223"/>
                        <a:pt x="4245" y="1388"/>
                      </a:cubicBezTo>
                      <a:cubicBezTo>
                        <a:pt x="4236" y="1409"/>
                        <a:pt x="4222" y="1429"/>
                        <a:pt x="4206" y="1449"/>
                      </a:cubicBezTo>
                      <a:cubicBezTo>
                        <a:pt x="4258" y="1491"/>
                        <a:pt x="4308" y="1518"/>
                        <a:pt x="4396" y="1536"/>
                      </a:cubicBezTo>
                      <a:cubicBezTo>
                        <a:pt x="4494" y="1556"/>
                        <a:pt x="4595" y="1572"/>
                        <a:pt x="4689" y="1587"/>
                      </a:cubicBezTo>
                      <a:cubicBezTo>
                        <a:pt x="4903" y="1621"/>
                        <a:pt x="5089" y="1650"/>
                        <a:pt x="5225" y="1716"/>
                      </a:cubicBezTo>
                      <a:cubicBezTo>
                        <a:pt x="5284" y="1744"/>
                        <a:pt x="5328" y="1773"/>
                        <a:pt x="5361" y="1800"/>
                      </a:cubicBezTo>
                      <a:cubicBezTo>
                        <a:pt x="5465" y="1816"/>
                        <a:pt x="5574" y="1847"/>
                        <a:pt x="5643" y="1915"/>
                      </a:cubicBezTo>
                      <a:cubicBezTo>
                        <a:pt x="5698" y="1973"/>
                        <a:pt x="5700" y="2020"/>
                        <a:pt x="5704" y="2086"/>
                      </a:cubicBezTo>
                      <a:cubicBezTo>
                        <a:pt x="5706" y="2124"/>
                        <a:pt x="5711" y="2213"/>
                        <a:pt x="5733" y="2245"/>
                      </a:cubicBezTo>
                      <a:cubicBezTo>
                        <a:pt x="5754" y="2276"/>
                        <a:pt x="5776" y="2301"/>
                        <a:pt x="5796" y="2325"/>
                      </a:cubicBezTo>
                      <a:cubicBezTo>
                        <a:pt x="5862" y="2401"/>
                        <a:pt x="5944" y="2497"/>
                        <a:pt x="5881" y="2611"/>
                      </a:cubicBezTo>
                      <a:cubicBezTo>
                        <a:pt x="5867" y="2634"/>
                        <a:pt x="5847" y="2659"/>
                        <a:pt x="5824" y="2684"/>
                      </a:cubicBezTo>
                      <a:cubicBezTo>
                        <a:pt x="5873" y="2744"/>
                        <a:pt x="5900" y="2807"/>
                        <a:pt x="5898" y="2863"/>
                      </a:cubicBezTo>
                      <a:cubicBezTo>
                        <a:pt x="5895" y="2909"/>
                        <a:pt x="5875" y="2952"/>
                        <a:pt x="5842" y="3025"/>
                      </a:cubicBezTo>
                      <a:cubicBezTo>
                        <a:pt x="5822" y="3069"/>
                        <a:pt x="5797" y="3119"/>
                        <a:pt x="5789" y="3156"/>
                      </a:cubicBezTo>
                      <a:cubicBezTo>
                        <a:pt x="5802" y="3182"/>
                        <a:pt x="5846" y="3262"/>
                        <a:pt x="5766" y="3353"/>
                      </a:cubicBezTo>
                      <a:cubicBezTo>
                        <a:pt x="5708" y="3417"/>
                        <a:pt x="5613" y="3453"/>
                        <a:pt x="5482" y="3503"/>
                      </a:cubicBezTo>
                      <a:cubicBezTo>
                        <a:pt x="5419" y="3527"/>
                        <a:pt x="5346" y="3553"/>
                        <a:pt x="5303" y="3577"/>
                      </a:cubicBezTo>
                      <a:cubicBezTo>
                        <a:pt x="5250" y="3607"/>
                        <a:pt x="5219" y="3628"/>
                        <a:pt x="5202" y="3641"/>
                      </a:cubicBezTo>
                      <a:cubicBezTo>
                        <a:pt x="5222" y="3709"/>
                        <a:pt x="5231" y="3767"/>
                        <a:pt x="5197" y="3830"/>
                      </a:cubicBezTo>
                      <a:lnTo>
                        <a:pt x="5162" y="3892"/>
                      </a:lnTo>
                      <a:lnTo>
                        <a:pt x="5105" y="3924"/>
                      </a:lnTo>
                      <a:cubicBezTo>
                        <a:pt x="5100" y="3933"/>
                        <a:pt x="5097" y="3943"/>
                        <a:pt x="5093" y="3953"/>
                      </a:cubicBezTo>
                      <a:cubicBezTo>
                        <a:pt x="5149" y="4035"/>
                        <a:pt x="5235" y="4199"/>
                        <a:pt x="5022" y="4328"/>
                      </a:cubicBezTo>
                      <a:cubicBezTo>
                        <a:pt x="4923" y="4388"/>
                        <a:pt x="4808" y="4418"/>
                        <a:pt x="4725" y="4440"/>
                      </a:cubicBezTo>
                      <a:cubicBezTo>
                        <a:pt x="4690" y="4447"/>
                        <a:pt x="4675" y="4464"/>
                        <a:pt x="4658" y="4480"/>
                      </a:cubicBezTo>
                      <a:cubicBezTo>
                        <a:pt x="4572" y="4568"/>
                        <a:pt x="4464" y="4677"/>
                        <a:pt x="4236" y="4697"/>
                      </a:cubicBezTo>
                      <a:lnTo>
                        <a:pt x="4128" y="4700"/>
                      </a:lnTo>
                      <a:lnTo>
                        <a:pt x="3923" y="4697"/>
                      </a:lnTo>
                      <a:cubicBezTo>
                        <a:pt x="3884" y="4713"/>
                        <a:pt x="3851" y="4726"/>
                        <a:pt x="3817" y="4736"/>
                      </a:cubicBezTo>
                      <a:lnTo>
                        <a:pt x="3772" y="4750"/>
                      </a:lnTo>
                      <a:cubicBezTo>
                        <a:pt x="3686" y="4826"/>
                        <a:pt x="3543" y="4928"/>
                        <a:pt x="3348" y="4982"/>
                      </a:cubicBezTo>
                      <a:cubicBezTo>
                        <a:pt x="3186" y="5027"/>
                        <a:pt x="3027" y="5041"/>
                        <a:pt x="2921" y="5050"/>
                      </a:cubicBezTo>
                      <a:cubicBezTo>
                        <a:pt x="2853" y="5066"/>
                        <a:pt x="2761" y="5080"/>
                        <a:pt x="2667" y="5080"/>
                      </a:cubicBezTo>
                      <a:lnTo>
                        <a:pt x="2577" y="5079"/>
                      </a:lnTo>
                      <a:cubicBezTo>
                        <a:pt x="2496" y="5095"/>
                        <a:pt x="2444" y="5090"/>
                        <a:pt x="2337" y="5097"/>
                      </a:cubicBezTo>
                      <a:cubicBezTo>
                        <a:pt x="2225" y="5153"/>
                        <a:pt x="2039" y="5217"/>
                        <a:pt x="1836" y="5217"/>
                      </a:cubicBezTo>
                      <a:cubicBezTo>
                        <a:pt x="1766" y="5217"/>
                        <a:pt x="1703" y="5212"/>
                        <a:pt x="1651" y="5206"/>
                      </a:cubicBezTo>
                      <a:cubicBezTo>
                        <a:pt x="1650" y="5206"/>
                        <a:pt x="1648" y="5206"/>
                        <a:pt x="1648" y="5207"/>
                      </a:cubicBezTo>
                      <a:cubicBezTo>
                        <a:pt x="1641" y="5247"/>
                        <a:pt x="1624" y="5285"/>
                        <a:pt x="1588" y="5322"/>
                      </a:cubicBezTo>
                      <a:lnTo>
                        <a:pt x="1562" y="5347"/>
                      </a:lnTo>
                      <a:cubicBezTo>
                        <a:pt x="1573" y="5495"/>
                        <a:pt x="1558" y="5587"/>
                        <a:pt x="1489" y="5656"/>
                      </a:cubicBezTo>
                      <a:cubicBezTo>
                        <a:pt x="1475" y="5669"/>
                        <a:pt x="1456" y="5696"/>
                        <a:pt x="1440" y="5722"/>
                      </a:cubicBezTo>
                      <a:cubicBezTo>
                        <a:pt x="1514" y="5750"/>
                        <a:pt x="1582" y="5784"/>
                        <a:pt x="1634" y="5830"/>
                      </a:cubicBezTo>
                      <a:cubicBezTo>
                        <a:pt x="1638" y="5833"/>
                        <a:pt x="1642" y="5837"/>
                        <a:pt x="1646" y="5840"/>
                      </a:cubicBezTo>
                      <a:cubicBezTo>
                        <a:pt x="1657" y="5840"/>
                        <a:pt x="1668" y="5840"/>
                        <a:pt x="1680" y="5840"/>
                      </a:cubicBezTo>
                      <a:lnTo>
                        <a:pt x="1867" y="5840"/>
                      </a:lnTo>
                      <a:lnTo>
                        <a:pt x="2023" y="5935"/>
                      </a:lnTo>
                      <a:cubicBezTo>
                        <a:pt x="2296" y="6143"/>
                        <a:pt x="2368" y="6217"/>
                        <a:pt x="2378" y="6297"/>
                      </a:cubicBezTo>
                      <a:cubicBezTo>
                        <a:pt x="2380" y="6324"/>
                        <a:pt x="2379" y="6352"/>
                        <a:pt x="2378" y="6381"/>
                      </a:cubicBezTo>
                      <a:cubicBezTo>
                        <a:pt x="2377" y="6396"/>
                        <a:pt x="2375" y="6411"/>
                        <a:pt x="2377" y="6423"/>
                      </a:cubicBezTo>
                      <a:cubicBezTo>
                        <a:pt x="2441" y="6574"/>
                        <a:pt x="2451" y="6658"/>
                        <a:pt x="2415" y="6729"/>
                      </a:cubicBezTo>
                      <a:lnTo>
                        <a:pt x="2385" y="6781"/>
                      </a:lnTo>
                      <a:cubicBezTo>
                        <a:pt x="2421" y="6851"/>
                        <a:pt x="2433" y="6905"/>
                        <a:pt x="2409" y="6960"/>
                      </a:cubicBezTo>
                      <a:cubicBezTo>
                        <a:pt x="2418" y="6991"/>
                        <a:pt x="2420" y="7088"/>
                        <a:pt x="2285" y="7162"/>
                      </a:cubicBezTo>
                      <a:cubicBezTo>
                        <a:pt x="2254" y="7181"/>
                        <a:pt x="2211" y="7196"/>
                        <a:pt x="2158" y="7215"/>
                      </a:cubicBezTo>
                      <a:cubicBezTo>
                        <a:pt x="2131" y="7225"/>
                        <a:pt x="2095" y="7237"/>
                        <a:pt x="2068" y="7249"/>
                      </a:cubicBezTo>
                      <a:cubicBezTo>
                        <a:pt x="2075" y="7249"/>
                        <a:pt x="2065" y="7264"/>
                        <a:pt x="2055" y="7279"/>
                      </a:cubicBezTo>
                      <a:cubicBezTo>
                        <a:pt x="1989" y="7379"/>
                        <a:pt x="1939" y="7448"/>
                        <a:pt x="1851" y="7500"/>
                      </a:cubicBezTo>
                      <a:cubicBezTo>
                        <a:pt x="1840" y="7507"/>
                        <a:pt x="1829" y="7514"/>
                        <a:pt x="1819" y="7520"/>
                      </a:cubicBezTo>
                      <a:cubicBezTo>
                        <a:pt x="1843" y="7552"/>
                        <a:pt x="1858" y="7592"/>
                        <a:pt x="1847" y="7639"/>
                      </a:cubicBezTo>
                      <a:cubicBezTo>
                        <a:pt x="1837" y="7678"/>
                        <a:pt x="1817" y="7708"/>
                        <a:pt x="1786" y="7753"/>
                      </a:cubicBezTo>
                      <a:cubicBezTo>
                        <a:pt x="1772" y="7773"/>
                        <a:pt x="1756" y="7797"/>
                        <a:pt x="1744" y="7817"/>
                      </a:cubicBezTo>
                      <a:cubicBezTo>
                        <a:pt x="1774" y="7910"/>
                        <a:pt x="1806" y="8054"/>
                        <a:pt x="1658" y="8184"/>
                      </a:cubicBezTo>
                      <a:cubicBezTo>
                        <a:pt x="1482" y="8337"/>
                        <a:pt x="1099" y="8422"/>
                        <a:pt x="897" y="8432"/>
                      </a:cubicBezTo>
                      <a:cubicBezTo>
                        <a:pt x="816" y="8437"/>
                        <a:pt x="559" y="8478"/>
                        <a:pt x="491" y="8501"/>
                      </a:cubicBezTo>
                      <a:cubicBezTo>
                        <a:pt x="490" y="8503"/>
                        <a:pt x="474" y="8539"/>
                        <a:pt x="444" y="8574"/>
                      </a:cubicBezTo>
                      <a:cubicBezTo>
                        <a:pt x="440" y="8578"/>
                        <a:pt x="436" y="8582"/>
                        <a:pt x="433" y="8587"/>
                      </a:cubicBezTo>
                      <a:cubicBezTo>
                        <a:pt x="526" y="8648"/>
                        <a:pt x="601" y="8730"/>
                        <a:pt x="603" y="8831"/>
                      </a:cubicBezTo>
                      <a:cubicBezTo>
                        <a:pt x="604" y="8879"/>
                        <a:pt x="589" y="8922"/>
                        <a:pt x="570" y="8959"/>
                      </a:cubicBezTo>
                      <a:lnTo>
                        <a:pt x="761" y="8925"/>
                      </a:lnTo>
                      <a:lnTo>
                        <a:pt x="583" y="9112"/>
                      </a:lnTo>
                      <a:cubicBezTo>
                        <a:pt x="617" y="9183"/>
                        <a:pt x="624" y="9260"/>
                        <a:pt x="535" y="9336"/>
                      </a:cubicBezTo>
                      <a:cubicBezTo>
                        <a:pt x="499" y="9367"/>
                        <a:pt x="449" y="9391"/>
                        <a:pt x="395" y="9413"/>
                      </a:cubicBezTo>
                      <a:cubicBezTo>
                        <a:pt x="383" y="9418"/>
                        <a:pt x="370" y="9421"/>
                        <a:pt x="357" y="9425"/>
                      </a:cubicBezTo>
                      <a:cubicBezTo>
                        <a:pt x="323" y="9438"/>
                        <a:pt x="289" y="9450"/>
                        <a:pt x="253" y="9459"/>
                      </a:cubicBezTo>
                      <a:cubicBezTo>
                        <a:pt x="246" y="9467"/>
                        <a:pt x="241" y="9473"/>
                        <a:pt x="232" y="9481"/>
                      </a:cubicBezTo>
                      <a:cubicBezTo>
                        <a:pt x="219" y="9497"/>
                        <a:pt x="204" y="9517"/>
                        <a:pt x="189" y="9537"/>
                      </a:cubicBezTo>
                      <a:cubicBezTo>
                        <a:pt x="165" y="9567"/>
                        <a:pt x="143" y="9602"/>
                        <a:pt x="120" y="9638"/>
                      </a:cubicBezTo>
                      <a:cubicBezTo>
                        <a:pt x="106" y="9662"/>
                        <a:pt x="91" y="9687"/>
                        <a:pt x="78" y="9714"/>
                      </a:cubicBezTo>
                      <a:cubicBezTo>
                        <a:pt x="56" y="9757"/>
                        <a:pt x="42" y="9805"/>
                        <a:pt x="29" y="9854"/>
                      </a:cubicBezTo>
                      <a:cubicBezTo>
                        <a:pt x="22" y="9881"/>
                        <a:pt x="11" y="9906"/>
                        <a:pt x="8" y="9934"/>
                      </a:cubicBezTo>
                      <a:cubicBezTo>
                        <a:pt x="-4" y="10013"/>
                        <a:pt x="-4" y="10096"/>
                        <a:pt x="22" y="10183"/>
                      </a:cubicBezTo>
                      <a:cubicBezTo>
                        <a:pt x="100" y="10440"/>
                        <a:pt x="142" y="10499"/>
                        <a:pt x="146" y="10505"/>
                      </a:cubicBezTo>
                      <a:cubicBezTo>
                        <a:pt x="238" y="10550"/>
                        <a:pt x="219" y="10638"/>
                        <a:pt x="210" y="10680"/>
                      </a:cubicBezTo>
                      <a:cubicBezTo>
                        <a:pt x="213" y="10683"/>
                        <a:pt x="244" y="10704"/>
                        <a:pt x="286" y="10737"/>
                      </a:cubicBezTo>
                      <a:lnTo>
                        <a:pt x="418" y="10841"/>
                      </a:lnTo>
                      <a:cubicBezTo>
                        <a:pt x="572" y="10960"/>
                        <a:pt x="781" y="11121"/>
                        <a:pt x="580" y="11280"/>
                      </a:cubicBezTo>
                      <a:cubicBezTo>
                        <a:pt x="606" y="11290"/>
                        <a:pt x="633" y="11300"/>
                        <a:pt x="659" y="11310"/>
                      </a:cubicBezTo>
                      <a:cubicBezTo>
                        <a:pt x="806" y="11366"/>
                        <a:pt x="989" y="11435"/>
                        <a:pt x="1037" y="11562"/>
                      </a:cubicBezTo>
                      <a:cubicBezTo>
                        <a:pt x="1062" y="11624"/>
                        <a:pt x="1057" y="11690"/>
                        <a:pt x="1049" y="11750"/>
                      </a:cubicBezTo>
                      <a:cubicBezTo>
                        <a:pt x="1178" y="11800"/>
                        <a:pt x="1346" y="11868"/>
                        <a:pt x="1458" y="11928"/>
                      </a:cubicBezTo>
                      <a:cubicBezTo>
                        <a:pt x="1544" y="11975"/>
                        <a:pt x="1624" y="12025"/>
                        <a:pt x="1689" y="12066"/>
                      </a:cubicBezTo>
                      <a:cubicBezTo>
                        <a:pt x="1695" y="12070"/>
                        <a:pt x="1700" y="12073"/>
                        <a:pt x="1704" y="12076"/>
                      </a:cubicBezTo>
                      <a:cubicBezTo>
                        <a:pt x="2042" y="12099"/>
                        <a:pt x="2124" y="12234"/>
                        <a:pt x="2142" y="12278"/>
                      </a:cubicBezTo>
                      <a:cubicBezTo>
                        <a:pt x="2148" y="12292"/>
                        <a:pt x="2153" y="12307"/>
                        <a:pt x="2157" y="12324"/>
                      </a:cubicBezTo>
                      <a:cubicBezTo>
                        <a:pt x="2265" y="12326"/>
                        <a:pt x="2446" y="12339"/>
                        <a:pt x="2549" y="12441"/>
                      </a:cubicBezTo>
                      <a:lnTo>
                        <a:pt x="2590" y="12468"/>
                      </a:lnTo>
                      <a:cubicBezTo>
                        <a:pt x="2691" y="12542"/>
                        <a:pt x="2756" y="12590"/>
                        <a:pt x="2791" y="12632"/>
                      </a:cubicBezTo>
                      <a:cubicBezTo>
                        <a:pt x="2817" y="12660"/>
                        <a:pt x="2829" y="12689"/>
                        <a:pt x="2837" y="12713"/>
                      </a:cubicBezTo>
                      <a:cubicBezTo>
                        <a:pt x="2872" y="12722"/>
                        <a:pt x="2914" y="12733"/>
                        <a:pt x="2958" y="12744"/>
                      </a:cubicBezTo>
                      <a:cubicBezTo>
                        <a:pt x="3129" y="12788"/>
                        <a:pt x="3303" y="12834"/>
                        <a:pt x="3420" y="12881"/>
                      </a:cubicBezTo>
                      <a:cubicBezTo>
                        <a:pt x="3547" y="12933"/>
                        <a:pt x="4221" y="13220"/>
                        <a:pt x="4338" y="13284"/>
                      </a:cubicBezTo>
                      <a:cubicBezTo>
                        <a:pt x="4373" y="13303"/>
                        <a:pt x="4403" y="13321"/>
                        <a:pt x="4430" y="13338"/>
                      </a:cubicBezTo>
                      <a:cubicBezTo>
                        <a:pt x="4546" y="13360"/>
                        <a:pt x="4694" y="13419"/>
                        <a:pt x="4744" y="13570"/>
                      </a:cubicBezTo>
                      <a:cubicBezTo>
                        <a:pt x="4772" y="13654"/>
                        <a:pt x="4873" y="13880"/>
                        <a:pt x="4905" y="13925"/>
                      </a:cubicBezTo>
                      <a:cubicBezTo>
                        <a:pt x="5227" y="14135"/>
                        <a:pt x="5138" y="14266"/>
                        <a:pt x="5012" y="14343"/>
                      </a:cubicBezTo>
                      <a:cubicBezTo>
                        <a:pt x="5010" y="14344"/>
                        <a:pt x="5009" y="14345"/>
                        <a:pt x="5006" y="14347"/>
                      </a:cubicBezTo>
                      <a:cubicBezTo>
                        <a:pt x="5009" y="14348"/>
                        <a:pt x="5012" y="14350"/>
                        <a:pt x="5013" y="14352"/>
                      </a:cubicBezTo>
                      <a:cubicBezTo>
                        <a:pt x="5097" y="14413"/>
                        <a:pt x="5150" y="14453"/>
                        <a:pt x="5183" y="14495"/>
                      </a:cubicBezTo>
                      <a:cubicBezTo>
                        <a:pt x="5218" y="14539"/>
                        <a:pt x="5225" y="14581"/>
                        <a:pt x="5232" y="14621"/>
                      </a:cubicBezTo>
                      <a:cubicBezTo>
                        <a:pt x="5242" y="14676"/>
                        <a:pt x="5252" y="14719"/>
                        <a:pt x="5292" y="14738"/>
                      </a:cubicBezTo>
                      <a:lnTo>
                        <a:pt x="5362" y="14772"/>
                      </a:lnTo>
                      <a:cubicBezTo>
                        <a:pt x="5373" y="14777"/>
                        <a:pt x="5386" y="14783"/>
                        <a:pt x="5398" y="14789"/>
                      </a:cubicBezTo>
                      <a:cubicBezTo>
                        <a:pt x="5413" y="14796"/>
                        <a:pt x="5427" y="14803"/>
                        <a:pt x="5441" y="14810"/>
                      </a:cubicBezTo>
                      <a:cubicBezTo>
                        <a:pt x="5491" y="14779"/>
                        <a:pt x="5533" y="14745"/>
                        <a:pt x="5544" y="14728"/>
                      </a:cubicBezTo>
                      <a:cubicBezTo>
                        <a:pt x="5540" y="14684"/>
                        <a:pt x="5541" y="14566"/>
                        <a:pt x="5752" y="14489"/>
                      </a:cubicBezTo>
                      <a:cubicBezTo>
                        <a:pt x="5840" y="14455"/>
                        <a:pt x="5970" y="14406"/>
                        <a:pt x="6139" y="14406"/>
                      </a:cubicBezTo>
                      <a:lnTo>
                        <a:pt x="6256" y="14414"/>
                      </a:lnTo>
                      <a:cubicBezTo>
                        <a:pt x="6280" y="14417"/>
                        <a:pt x="6303" y="14421"/>
                        <a:pt x="6324" y="14424"/>
                      </a:cubicBezTo>
                      <a:cubicBezTo>
                        <a:pt x="6482" y="14416"/>
                        <a:pt x="6645" y="14458"/>
                        <a:pt x="6700" y="14475"/>
                      </a:cubicBezTo>
                      <a:lnTo>
                        <a:pt x="6792" y="14511"/>
                      </a:lnTo>
                      <a:cubicBezTo>
                        <a:pt x="6831" y="14528"/>
                        <a:pt x="6837" y="14531"/>
                        <a:pt x="6878" y="14533"/>
                      </a:cubicBezTo>
                      <a:lnTo>
                        <a:pt x="7094" y="14530"/>
                      </a:lnTo>
                      <a:cubicBezTo>
                        <a:pt x="7198" y="14530"/>
                        <a:pt x="7291" y="14544"/>
                        <a:pt x="7378" y="14574"/>
                      </a:cubicBezTo>
                      <a:cubicBezTo>
                        <a:pt x="7455" y="14602"/>
                        <a:pt x="7734" y="14695"/>
                        <a:pt x="7848" y="14725"/>
                      </a:cubicBezTo>
                      <a:cubicBezTo>
                        <a:pt x="8055" y="14775"/>
                        <a:pt x="8317" y="14837"/>
                        <a:pt x="8344" y="14999"/>
                      </a:cubicBezTo>
                      <a:cubicBezTo>
                        <a:pt x="8356" y="15075"/>
                        <a:pt x="8379" y="15213"/>
                        <a:pt x="8207" y="15324"/>
                      </a:cubicBezTo>
                      <a:cubicBezTo>
                        <a:pt x="8169" y="15349"/>
                        <a:pt x="8122" y="15374"/>
                        <a:pt x="8075" y="15399"/>
                      </a:cubicBezTo>
                      <a:cubicBezTo>
                        <a:pt x="8049" y="15412"/>
                        <a:pt x="8022" y="15425"/>
                        <a:pt x="8004" y="15438"/>
                      </a:cubicBezTo>
                      <a:cubicBezTo>
                        <a:pt x="7981" y="15476"/>
                        <a:pt x="7962" y="15506"/>
                        <a:pt x="7940" y="15531"/>
                      </a:cubicBezTo>
                      <a:cubicBezTo>
                        <a:pt x="8035" y="15604"/>
                        <a:pt x="8146" y="15724"/>
                        <a:pt x="8132" y="15878"/>
                      </a:cubicBezTo>
                      <a:cubicBezTo>
                        <a:pt x="8120" y="16031"/>
                        <a:pt x="7973" y="16161"/>
                        <a:pt x="7854" y="16266"/>
                      </a:cubicBezTo>
                      <a:cubicBezTo>
                        <a:pt x="7814" y="16302"/>
                        <a:pt x="7752" y="16356"/>
                        <a:pt x="7742" y="16376"/>
                      </a:cubicBezTo>
                      <a:cubicBezTo>
                        <a:pt x="7729" y="16413"/>
                        <a:pt x="7730" y="16454"/>
                        <a:pt x="7728" y="16493"/>
                      </a:cubicBezTo>
                      <a:cubicBezTo>
                        <a:pt x="7725" y="16593"/>
                        <a:pt x="7720" y="16718"/>
                        <a:pt x="7601" y="16826"/>
                      </a:cubicBezTo>
                      <a:lnTo>
                        <a:pt x="7554" y="16867"/>
                      </a:lnTo>
                      <a:cubicBezTo>
                        <a:pt x="7450" y="16956"/>
                        <a:pt x="7258" y="17120"/>
                        <a:pt x="7313" y="17259"/>
                      </a:cubicBezTo>
                      <a:cubicBezTo>
                        <a:pt x="7404" y="17485"/>
                        <a:pt x="7504" y="17530"/>
                        <a:pt x="7505" y="17530"/>
                      </a:cubicBezTo>
                      <a:cubicBezTo>
                        <a:pt x="7630" y="17525"/>
                        <a:pt x="7772" y="17570"/>
                        <a:pt x="7881" y="17672"/>
                      </a:cubicBezTo>
                      <a:cubicBezTo>
                        <a:pt x="7940" y="17728"/>
                        <a:pt x="8205" y="17874"/>
                        <a:pt x="8298" y="17902"/>
                      </a:cubicBezTo>
                      <a:lnTo>
                        <a:pt x="8369" y="17886"/>
                      </a:lnTo>
                      <a:cubicBezTo>
                        <a:pt x="8558" y="17886"/>
                        <a:pt x="8717" y="17946"/>
                        <a:pt x="8794" y="18047"/>
                      </a:cubicBezTo>
                      <a:cubicBezTo>
                        <a:pt x="8800" y="18056"/>
                        <a:pt x="8805" y="18063"/>
                        <a:pt x="8809" y="18071"/>
                      </a:cubicBezTo>
                      <a:cubicBezTo>
                        <a:pt x="8974" y="18094"/>
                        <a:pt x="9095" y="18119"/>
                        <a:pt x="9186" y="18171"/>
                      </a:cubicBezTo>
                      <a:lnTo>
                        <a:pt x="9239" y="18204"/>
                      </a:lnTo>
                      <a:cubicBezTo>
                        <a:pt x="9278" y="18218"/>
                        <a:pt x="9310" y="18231"/>
                        <a:pt x="9337" y="18244"/>
                      </a:cubicBezTo>
                      <a:cubicBezTo>
                        <a:pt x="9605" y="18220"/>
                        <a:pt x="9783" y="18277"/>
                        <a:pt x="9857" y="18329"/>
                      </a:cubicBezTo>
                      <a:cubicBezTo>
                        <a:pt x="9914" y="18368"/>
                        <a:pt x="9949" y="18414"/>
                        <a:pt x="9960" y="18462"/>
                      </a:cubicBezTo>
                      <a:cubicBezTo>
                        <a:pt x="10011" y="18451"/>
                        <a:pt x="10065" y="18445"/>
                        <a:pt x="10117" y="18445"/>
                      </a:cubicBezTo>
                      <a:lnTo>
                        <a:pt x="10200" y="18450"/>
                      </a:lnTo>
                      <a:cubicBezTo>
                        <a:pt x="10309" y="18462"/>
                        <a:pt x="10571" y="18540"/>
                        <a:pt x="10685" y="18647"/>
                      </a:cubicBezTo>
                      <a:cubicBezTo>
                        <a:pt x="10841" y="18678"/>
                        <a:pt x="11016" y="18726"/>
                        <a:pt x="11081" y="18757"/>
                      </a:cubicBezTo>
                      <a:cubicBezTo>
                        <a:pt x="11107" y="18769"/>
                        <a:pt x="11151" y="18787"/>
                        <a:pt x="11180" y="18796"/>
                      </a:cubicBezTo>
                      <a:cubicBezTo>
                        <a:pt x="11241" y="18801"/>
                        <a:pt x="11372" y="18848"/>
                        <a:pt x="11456" y="18922"/>
                      </a:cubicBezTo>
                      <a:cubicBezTo>
                        <a:pt x="11484" y="18947"/>
                        <a:pt x="11507" y="18974"/>
                        <a:pt x="11521" y="19004"/>
                      </a:cubicBezTo>
                      <a:cubicBezTo>
                        <a:pt x="11577" y="19013"/>
                        <a:pt x="11630" y="19028"/>
                        <a:pt x="11680" y="19049"/>
                      </a:cubicBezTo>
                      <a:cubicBezTo>
                        <a:pt x="11748" y="19077"/>
                        <a:pt x="11795" y="19108"/>
                        <a:pt x="11826" y="19128"/>
                      </a:cubicBezTo>
                      <a:cubicBezTo>
                        <a:pt x="12066" y="19160"/>
                        <a:pt x="12319" y="19191"/>
                        <a:pt x="12394" y="19337"/>
                      </a:cubicBezTo>
                      <a:lnTo>
                        <a:pt x="12412" y="19371"/>
                      </a:lnTo>
                      <a:lnTo>
                        <a:pt x="12410" y="19444"/>
                      </a:lnTo>
                      <a:cubicBezTo>
                        <a:pt x="12409" y="19461"/>
                        <a:pt x="12406" y="19498"/>
                        <a:pt x="12415" y="19511"/>
                      </a:cubicBezTo>
                      <a:lnTo>
                        <a:pt x="12466" y="19536"/>
                      </a:lnTo>
                      <a:cubicBezTo>
                        <a:pt x="12567" y="19593"/>
                        <a:pt x="12838" y="19744"/>
                        <a:pt x="12612" y="19915"/>
                      </a:cubicBezTo>
                      <a:cubicBezTo>
                        <a:pt x="12591" y="19931"/>
                        <a:pt x="12568" y="19945"/>
                        <a:pt x="12543" y="19957"/>
                      </a:cubicBezTo>
                      <a:cubicBezTo>
                        <a:pt x="12578" y="19997"/>
                        <a:pt x="12626" y="20041"/>
                        <a:pt x="12689" y="20081"/>
                      </a:cubicBezTo>
                      <a:cubicBezTo>
                        <a:pt x="12946" y="20244"/>
                        <a:pt x="13095" y="20366"/>
                        <a:pt x="13142" y="20539"/>
                      </a:cubicBezTo>
                      <a:cubicBezTo>
                        <a:pt x="13194" y="20740"/>
                        <a:pt x="13104" y="20890"/>
                        <a:pt x="12896" y="20953"/>
                      </a:cubicBezTo>
                      <a:lnTo>
                        <a:pt x="13051" y="21054"/>
                      </a:lnTo>
                      <a:cubicBezTo>
                        <a:pt x="13101" y="21110"/>
                        <a:pt x="13107" y="21170"/>
                        <a:pt x="13071" y="21233"/>
                      </a:cubicBezTo>
                      <a:lnTo>
                        <a:pt x="13114" y="21282"/>
                      </a:lnTo>
                      <a:cubicBezTo>
                        <a:pt x="13148" y="21326"/>
                        <a:pt x="13286" y="21445"/>
                        <a:pt x="13333" y="21473"/>
                      </a:cubicBezTo>
                      <a:cubicBezTo>
                        <a:pt x="13409" y="21507"/>
                        <a:pt x="13497" y="21547"/>
                        <a:pt x="13558" y="21600"/>
                      </a:cubicBezTo>
                      <a:cubicBezTo>
                        <a:pt x="13615" y="21591"/>
                        <a:pt x="13668" y="21587"/>
                        <a:pt x="13713" y="21584"/>
                      </a:cubicBezTo>
                      <a:lnTo>
                        <a:pt x="13739" y="21572"/>
                      </a:lnTo>
                      <a:lnTo>
                        <a:pt x="13928" y="21564"/>
                      </a:lnTo>
                      <a:cubicBezTo>
                        <a:pt x="13998" y="21564"/>
                        <a:pt x="14065" y="21572"/>
                        <a:pt x="14125" y="21587"/>
                      </a:cubicBezTo>
                      <a:cubicBezTo>
                        <a:pt x="14137" y="21570"/>
                        <a:pt x="14150" y="21557"/>
                        <a:pt x="14163" y="21542"/>
                      </a:cubicBezTo>
                      <a:cubicBezTo>
                        <a:pt x="14174" y="21530"/>
                        <a:pt x="14182" y="21520"/>
                        <a:pt x="14193" y="21509"/>
                      </a:cubicBezTo>
                      <a:cubicBezTo>
                        <a:pt x="14224" y="21477"/>
                        <a:pt x="14254" y="21448"/>
                        <a:pt x="14279" y="21431"/>
                      </a:cubicBezTo>
                      <a:cubicBezTo>
                        <a:pt x="14363" y="21371"/>
                        <a:pt x="14364" y="21368"/>
                        <a:pt x="14381" y="21342"/>
                      </a:cubicBezTo>
                      <a:cubicBezTo>
                        <a:pt x="14385" y="21337"/>
                        <a:pt x="14764" y="20832"/>
                        <a:pt x="15325" y="20832"/>
                      </a:cubicBezTo>
                      <a:close/>
                      <a:moveTo>
                        <a:pt x="15325" y="20832"/>
                      </a:moveTo>
                    </a:path>
                  </a:pathLst>
                </a:custGeom>
                <a:solidFill>
                  <a:schemeClr val="accent2">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513F3A"/>
                    </a:solidFill>
                    <a:effectLst/>
                    <a:uLnTx/>
                    <a:uFillTx/>
                    <a:latin typeface="Arial"/>
                    <a:ea typeface="Arial"/>
                    <a:cs typeface="Arial"/>
                    <a:sym typeface="Arial"/>
                  </a:endParaRPr>
                </a:p>
              </p:txBody>
            </p:sp>
            <p:sp>
              <p:nvSpPr>
                <p:cNvPr id="84" name="Google Shape;400;p54">
                  <a:extLst>
                    <a:ext uri="{FF2B5EF4-FFF2-40B4-BE49-F238E27FC236}">
                      <a16:creationId xmlns:a16="http://schemas.microsoft.com/office/drawing/2014/main" id="{CB464AEA-9A94-4760-A20F-86F465C7BBD4}"/>
                    </a:ext>
                  </a:extLst>
                </p:cNvPr>
                <p:cNvSpPr/>
                <p:nvPr/>
              </p:nvSpPr>
              <p:spPr>
                <a:xfrm>
                  <a:off x="5654008" y="2424241"/>
                  <a:ext cx="5076" cy="6102"/>
                </a:xfrm>
                <a:custGeom>
                  <a:avLst/>
                  <a:gdLst/>
                  <a:ahLst/>
                  <a:cxnLst/>
                  <a:rect l="l" t="t" r="r" b="b"/>
                  <a:pathLst>
                    <a:path w="21600" h="21600" extrusionOk="0">
                      <a:moveTo>
                        <a:pt x="0" y="13363"/>
                      </a:moveTo>
                      <a:cubicBezTo>
                        <a:pt x="1338" y="16128"/>
                        <a:pt x="2125" y="18899"/>
                        <a:pt x="2426" y="21600"/>
                      </a:cubicBezTo>
                      <a:cubicBezTo>
                        <a:pt x="4116" y="20162"/>
                        <a:pt x="5973" y="18782"/>
                        <a:pt x="8098" y="17481"/>
                      </a:cubicBezTo>
                      <a:cubicBezTo>
                        <a:pt x="11796" y="15184"/>
                        <a:pt x="15911" y="13363"/>
                        <a:pt x="20328" y="12029"/>
                      </a:cubicBezTo>
                      <a:cubicBezTo>
                        <a:pt x="20763" y="11456"/>
                        <a:pt x="21198" y="10871"/>
                        <a:pt x="21600" y="10312"/>
                      </a:cubicBezTo>
                      <a:lnTo>
                        <a:pt x="20763" y="0"/>
                      </a:lnTo>
                      <a:cubicBezTo>
                        <a:pt x="16279" y="4672"/>
                        <a:pt x="9520" y="10174"/>
                        <a:pt x="0" y="13363"/>
                      </a:cubicBezTo>
                      <a:close/>
                      <a:moveTo>
                        <a:pt x="0" y="13363"/>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85" name="Google Shape;401;p54">
                  <a:extLst>
                    <a:ext uri="{FF2B5EF4-FFF2-40B4-BE49-F238E27FC236}">
                      <a16:creationId xmlns:a16="http://schemas.microsoft.com/office/drawing/2014/main" id="{42E06B21-B9E6-44A0-8C6F-5E2B3962805B}"/>
                    </a:ext>
                  </a:extLst>
                </p:cNvPr>
                <p:cNvSpPr/>
                <p:nvPr/>
              </p:nvSpPr>
              <p:spPr>
                <a:xfrm>
                  <a:off x="4621239" y="2954913"/>
                  <a:ext cx="6642" cy="5616"/>
                </a:xfrm>
                <a:custGeom>
                  <a:avLst/>
                  <a:gdLst/>
                  <a:ahLst/>
                  <a:cxnLst/>
                  <a:rect l="l" t="t" r="r" b="b"/>
                  <a:pathLst>
                    <a:path w="21600" h="21600" extrusionOk="0">
                      <a:moveTo>
                        <a:pt x="21600" y="6636"/>
                      </a:moveTo>
                      <a:cubicBezTo>
                        <a:pt x="21334" y="3945"/>
                        <a:pt x="20766" y="1508"/>
                        <a:pt x="20162" y="0"/>
                      </a:cubicBezTo>
                      <a:lnTo>
                        <a:pt x="0" y="21600"/>
                      </a:lnTo>
                      <a:cubicBezTo>
                        <a:pt x="0" y="21600"/>
                        <a:pt x="21600" y="6636"/>
                        <a:pt x="21600" y="6636"/>
                      </a:cubicBezTo>
                      <a:close/>
                      <a:moveTo>
                        <a:pt x="21600" y="6636"/>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86" name="Google Shape;402;p54">
                  <a:extLst>
                    <a:ext uri="{FF2B5EF4-FFF2-40B4-BE49-F238E27FC236}">
                      <a16:creationId xmlns:a16="http://schemas.microsoft.com/office/drawing/2014/main" id="{65562FC4-0DC8-4A77-A9C9-BB1425662F8E}"/>
                    </a:ext>
                  </a:extLst>
                </p:cNvPr>
                <p:cNvSpPr/>
                <p:nvPr/>
              </p:nvSpPr>
              <p:spPr>
                <a:xfrm>
                  <a:off x="5641762" y="2444651"/>
                  <a:ext cx="6102" cy="20412"/>
                </a:xfrm>
                <a:custGeom>
                  <a:avLst/>
                  <a:gdLst/>
                  <a:ahLst/>
                  <a:cxnLst/>
                  <a:rect l="l" t="t" r="r" b="b"/>
                  <a:pathLst>
                    <a:path w="21600" h="21600" extrusionOk="0">
                      <a:moveTo>
                        <a:pt x="10132" y="6288"/>
                      </a:moveTo>
                      <a:cubicBezTo>
                        <a:pt x="9502" y="6895"/>
                        <a:pt x="8729" y="8213"/>
                        <a:pt x="7799" y="9581"/>
                      </a:cubicBezTo>
                      <a:cubicBezTo>
                        <a:pt x="5282" y="13185"/>
                        <a:pt x="3264" y="15846"/>
                        <a:pt x="0" y="18036"/>
                      </a:cubicBezTo>
                      <a:cubicBezTo>
                        <a:pt x="2897" y="19094"/>
                        <a:pt x="5387" y="20255"/>
                        <a:pt x="7065" y="21600"/>
                      </a:cubicBezTo>
                      <a:cubicBezTo>
                        <a:pt x="7235" y="21548"/>
                        <a:pt x="7458" y="21503"/>
                        <a:pt x="7681" y="21457"/>
                      </a:cubicBezTo>
                      <a:cubicBezTo>
                        <a:pt x="8677" y="21239"/>
                        <a:pt x="9725" y="21003"/>
                        <a:pt x="10800" y="20747"/>
                      </a:cubicBezTo>
                      <a:cubicBezTo>
                        <a:pt x="10014" y="19185"/>
                        <a:pt x="10289" y="17437"/>
                        <a:pt x="12648" y="15600"/>
                      </a:cubicBezTo>
                      <a:cubicBezTo>
                        <a:pt x="13867" y="14711"/>
                        <a:pt x="15256" y="13993"/>
                        <a:pt x="16698" y="13344"/>
                      </a:cubicBezTo>
                      <a:cubicBezTo>
                        <a:pt x="15650" y="12007"/>
                        <a:pt x="15584" y="10831"/>
                        <a:pt x="15767" y="10066"/>
                      </a:cubicBezTo>
                      <a:cubicBezTo>
                        <a:pt x="17157" y="5358"/>
                        <a:pt x="18939" y="2283"/>
                        <a:pt x="21600" y="0"/>
                      </a:cubicBezTo>
                      <a:cubicBezTo>
                        <a:pt x="16528" y="2651"/>
                        <a:pt x="11796" y="5188"/>
                        <a:pt x="10132" y="6288"/>
                      </a:cubicBezTo>
                      <a:close/>
                      <a:moveTo>
                        <a:pt x="10132" y="6288"/>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87" name="Google Shape;403;p54">
                  <a:extLst>
                    <a:ext uri="{FF2B5EF4-FFF2-40B4-BE49-F238E27FC236}">
                      <a16:creationId xmlns:a16="http://schemas.microsoft.com/office/drawing/2014/main" id="{7A50D641-D0F5-4F83-8817-A094A95B76AF}"/>
                    </a:ext>
                  </a:extLst>
                </p:cNvPr>
                <p:cNvSpPr/>
                <p:nvPr/>
              </p:nvSpPr>
              <p:spPr>
                <a:xfrm>
                  <a:off x="5956083" y="2236465"/>
                  <a:ext cx="2052" cy="8154"/>
                </a:xfrm>
                <a:custGeom>
                  <a:avLst/>
                  <a:gdLst/>
                  <a:ahLst/>
                  <a:cxnLst/>
                  <a:rect l="l" t="t" r="r" b="b"/>
                  <a:pathLst>
                    <a:path w="21600" h="21600" extrusionOk="0">
                      <a:moveTo>
                        <a:pt x="21444" y="21600"/>
                      </a:moveTo>
                      <a:cubicBezTo>
                        <a:pt x="21600" y="21600"/>
                        <a:pt x="21600" y="21600"/>
                        <a:pt x="21600" y="21600"/>
                      </a:cubicBezTo>
                      <a:lnTo>
                        <a:pt x="21600" y="0"/>
                      </a:lnTo>
                      <a:cubicBezTo>
                        <a:pt x="17733" y="40"/>
                        <a:pt x="9140" y="484"/>
                        <a:pt x="0" y="1885"/>
                      </a:cubicBezTo>
                      <a:cubicBezTo>
                        <a:pt x="0" y="1885"/>
                        <a:pt x="21444" y="21600"/>
                        <a:pt x="21444" y="21600"/>
                      </a:cubicBezTo>
                      <a:close/>
                      <a:moveTo>
                        <a:pt x="21444" y="21600"/>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88" name="Google Shape;404;p54">
                  <a:extLst>
                    <a:ext uri="{FF2B5EF4-FFF2-40B4-BE49-F238E27FC236}">
                      <a16:creationId xmlns:a16="http://schemas.microsoft.com/office/drawing/2014/main" id="{AA666703-49D7-4D49-B444-7D2057A4E5AB}"/>
                    </a:ext>
                  </a:extLst>
                </p:cNvPr>
                <p:cNvSpPr/>
                <p:nvPr/>
              </p:nvSpPr>
              <p:spPr>
                <a:xfrm>
                  <a:off x="3727262" y="2391074"/>
                  <a:ext cx="876096" cy="515376"/>
                </a:xfrm>
                <a:custGeom>
                  <a:avLst/>
                  <a:gdLst/>
                  <a:ahLst/>
                  <a:cxnLst/>
                  <a:rect l="l" t="t" r="r" b="b"/>
                  <a:pathLst>
                    <a:path w="21600" h="21600" extrusionOk="0">
                      <a:moveTo>
                        <a:pt x="317" y="6428"/>
                      </a:moveTo>
                      <a:lnTo>
                        <a:pt x="0" y="19232"/>
                      </a:lnTo>
                      <a:cubicBezTo>
                        <a:pt x="235" y="19248"/>
                        <a:pt x="467" y="19262"/>
                        <a:pt x="699" y="19276"/>
                      </a:cubicBezTo>
                      <a:cubicBezTo>
                        <a:pt x="972" y="19293"/>
                        <a:pt x="1246" y="19310"/>
                        <a:pt x="1515" y="19326"/>
                      </a:cubicBezTo>
                      <a:cubicBezTo>
                        <a:pt x="1758" y="19339"/>
                        <a:pt x="1995" y="19352"/>
                        <a:pt x="2235" y="19365"/>
                      </a:cubicBezTo>
                      <a:cubicBezTo>
                        <a:pt x="2523" y="19381"/>
                        <a:pt x="2812" y="19397"/>
                        <a:pt x="3096" y="19412"/>
                      </a:cubicBezTo>
                      <a:cubicBezTo>
                        <a:pt x="3314" y="19423"/>
                        <a:pt x="3527" y="19432"/>
                        <a:pt x="3743" y="19442"/>
                      </a:cubicBezTo>
                      <a:cubicBezTo>
                        <a:pt x="4040" y="19456"/>
                        <a:pt x="4339" y="19471"/>
                        <a:pt x="4633" y="19484"/>
                      </a:cubicBezTo>
                      <a:cubicBezTo>
                        <a:pt x="4844" y="19493"/>
                        <a:pt x="5050" y="19500"/>
                        <a:pt x="5259" y="19508"/>
                      </a:cubicBezTo>
                      <a:cubicBezTo>
                        <a:pt x="5550" y="19520"/>
                        <a:pt x="5842" y="19532"/>
                        <a:pt x="6129" y="19542"/>
                      </a:cubicBezTo>
                      <a:cubicBezTo>
                        <a:pt x="6356" y="19550"/>
                        <a:pt x="6578" y="19556"/>
                        <a:pt x="6803" y="19563"/>
                      </a:cubicBezTo>
                      <a:cubicBezTo>
                        <a:pt x="7067" y="19571"/>
                        <a:pt x="7333" y="19580"/>
                        <a:pt x="7594" y="19587"/>
                      </a:cubicBezTo>
                      <a:cubicBezTo>
                        <a:pt x="7835" y="19594"/>
                        <a:pt x="8072" y="19598"/>
                        <a:pt x="8310" y="19604"/>
                      </a:cubicBezTo>
                      <a:cubicBezTo>
                        <a:pt x="8552" y="19609"/>
                        <a:pt x="8795" y="19615"/>
                        <a:pt x="9034" y="19620"/>
                      </a:cubicBezTo>
                      <a:cubicBezTo>
                        <a:pt x="9285" y="19624"/>
                        <a:pt x="9533" y="19627"/>
                        <a:pt x="9782" y="19630"/>
                      </a:cubicBezTo>
                      <a:cubicBezTo>
                        <a:pt x="10004" y="19633"/>
                        <a:pt x="10226" y="19637"/>
                        <a:pt x="10445" y="19639"/>
                      </a:cubicBezTo>
                      <a:cubicBezTo>
                        <a:pt x="10911" y="19644"/>
                        <a:pt x="11372" y="19646"/>
                        <a:pt x="11831" y="19646"/>
                      </a:cubicBezTo>
                      <a:cubicBezTo>
                        <a:pt x="13205" y="19646"/>
                        <a:pt x="14568" y="19626"/>
                        <a:pt x="15883" y="19587"/>
                      </a:cubicBezTo>
                      <a:lnTo>
                        <a:pt x="16021" y="19583"/>
                      </a:lnTo>
                      <a:lnTo>
                        <a:pt x="16081" y="19795"/>
                      </a:lnTo>
                      <a:cubicBezTo>
                        <a:pt x="16105" y="19884"/>
                        <a:pt x="16140" y="19991"/>
                        <a:pt x="16154" y="20021"/>
                      </a:cubicBezTo>
                      <a:lnTo>
                        <a:pt x="16187" y="20021"/>
                      </a:lnTo>
                      <a:lnTo>
                        <a:pt x="16277" y="20113"/>
                      </a:lnTo>
                      <a:cubicBezTo>
                        <a:pt x="16281" y="20116"/>
                        <a:pt x="16305" y="20137"/>
                        <a:pt x="16331" y="20161"/>
                      </a:cubicBezTo>
                      <a:cubicBezTo>
                        <a:pt x="16436" y="20257"/>
                        <a:pt x="16490" y="20309"/>
                        <a:pt x="16528" y="20367"/>
                      </a:cubicBezTo>
                      <a:cubicBezTo>
                        <a:pt x="16533" y="20375"/>
                        <a:pt x="16537" y="20382"/>
                        <a:pt x="16540" y="20388"/>
                      </a:cubicBezTo>
                      <a:cubicBezTo>
                        <a:pt x="16637" y="20381"/>
                        <a:pt x="16713" y="20424"/>
                        <a:pt x="16774" y="20505"/>
                      </a:cubicBezTo>
                      <a:cubicBezTo>
                        <a:pt x="16821" y="20567"/>
                        <a:pt x="16873" y="20628"/>
                        <a:pt x="16901" y="20657"/>
                      </a:cubicBezTo>
                      <a:cubicBezTo>
                        <a:pt x="16948" y="20666"/>
                        <a:pt x="17010" y="20689"/>
                        <a:pt x="17066" y="20765"/>
                      </a:cubicBezTo>
                      <a:lnTo>
                        <a:pt x="17128" y="20872"/>
                      </a:lnTo>
                      <a:cubicBezTo>
                        <a:pt x="17152" y="20893"/>
                        <a:pt x="17269" y="21045"/>
                        <a:pt x="17324" y="21123"/>
                      </a:cubicBezTo>
                      <a:cubicBezTo>
                        <a:pt x="17344" y="21107"/>
                        <a:pt x="17364" y="21097"/>
                        <a:pt x="17382" y="21090"/>
                      </a:cubicBezTo>
                      <a:lnTo>
                        <a:pt x="17442" y="21078"/>
                      </a:lnTo>
                      <a:cubicBezTo>
                        <a:pt x="17469" y="21028"/>
                        <a:pt x="17486" y="20993"/>
                        <a:pt x="17492" y="20972"/>
                      </a:cubicBezTo>
                      <a:cubicBezTo>
                        <a:pt x="17490" y="20856"/>
                        <a:pt x="17496" y="20670"/>
                        <a:pt x="17598" y="20545"/>
                      </a:cubicBezTo>
                      <a:cubicBezTo>
                        <a:pt x="17654" y="20475"/>
                        <a:pt x="17812" y="20334"/>
                        <a:pt x="17965" y="20443"/>
                      </a:cubicBezTo>
                      <a:cubicBezTo>
                        <a:pt x="17997" y="20466"/>
                        <a:pt x="18028" y="20491"/>
                        <a:pt x="18055" y="20516"/>
                      </a:cubicBezTo>
                      <a:cubicBezTo>
                        <a:pt x="18072" y="20530"/>
                        <a:pt x="18088" y="20545"/>
                        <a:pt x="18101" y="20553"/>
                      </a:cubicBezTo>
                      <a:cubicBezTo>
                        <a:pt x="18179" y="20549"/>
                        <a:pt x="18222" y="20553"/>
                        <a:pt x="18246" y="20559"/>
                      </a:cubicBezTo>
                      <a:cubicBezTo>
                        <a:pt x="18301" y="20489"/>
                        <a:pt x="18378" y="20416"/>
                        <a:pt x="18475" y="20416"/>
                      </a:cubicBezTo>
                      <a:lnTo>
                        <a:pt x="18520" y="20416"/>
                      </a:lnTo>
                      <a:lnTo>
                        <a:pt x="18601" y="20461"/>
                      </a:lnTo>
                      <a:cubicBezTo>
                        <a:pt x="18618" y="20474"/>
                        <a:pt x="18634" y="20487"/>
                        <a:pt x="18650" y="20501"/>
                      </a:cubicBezTo>
                      <a:cubicBezTo>
                        <a:pt x="18697" y="20461"/>
                        <a:pt x="18751" y="20434"/>
                        <a:pt x="18805" y="20434"/>
                      </a:cubicBezTo>
                      <a:lnTo>
                        <a:pt x="18806" y="20434"/>
                      </a:lnTo>
                      <a:lnTo>
                        <a:pt x="18842" y="20442"/>
                      </a:lnTo>
                      <a:lnTo>
                        <a:pt x="18879" y="20451"/>
                      </a:lnTo>
                      <a:cubicBezTo>
                        <a:pt x="18887" y="20454"/>
                        <a:pt x="18898" y="20460"/>
                        <a:pt x="18910" y="20468"/>
                      </a:cubicBezTo>
                      <a:cubicBezTo>
                        <a:pt x="18995" y="20355"/>
                        <a:pt x="19124" y="20310"/>
                        <a:pt x="19240" y="20403"/>
                      </a:cubicBezTo>
                      <a:cubicBezTo>
                        <a:pt x="19242" y="20405"/>
                        <a:pt x="19245" y="20407"/>
                        <a:pt x="19247" y="20409"/>
                      </a:cubicBezTo>
                      <a:cubicBezTo>
                        <a:pt x="19284" y="20385"/>
                        <a:pt x="19324" y="20371"/>
                        <a:pt x="19365" y="20371"/>
                      </a:cubicBezTo>
                      <a:lnTo>
                        <a:pt x="19469" y="20404"/>
                      </a:lnTo>
                      <a:cubicBezTo>
                        <a:pt x="19483" y="20414"/>
                        <a:pt x="19501" y="20428"/>
                        <a:pt x="19518" y="20438"/>
                      </a:cubicBezTo>
                      <a:lnTo>
                        <a:pt x="19610" y="20432"/>
                      </a:lnTo>
                      <a:lnTo>
                        <a:pt x="19640" y="20456"/>
                      </a:lnTo>
                      <a:cubicBezTo>
                        <a:pt x="19803" y="20512"/>
                        <a:pt x="19839" y="20714"/>
                        <a:pt x="19847" y="20804"/>
                      </a:cubicBezTo>
                      <a:cubicBezTo>
                        <a:pt x="19902" y="20831"/>
                        <a:pt x="19959" y="20874"/>
                        <a:pt x="20005" y="20955"/>
                      </a:cubicBezTo>
                      <a:cubicBezTo>
                        <a:pt x="20103" y="20946"/>
                        <a:pt x="20169" y="20953"/>
                        <a:pt x="20224" y="20982"/>
                      </a:cubicBezTo>
                      <a:cubicBezTo>
                        <a:pt x="20255" y="20999"/>
                        <a:pt x="20282" y="21020"/>
                        <a:pt x="20304" y="21042"/>
                      </a:cubicBezTo>
                      <a:cubicBezTo>
                        <a:pt x="20317" y="21041"/>
                        <a:pt x="20327" y="21040"/>
                        <a:pt x="20336" y="21040"/>
                      </a:cubicBezTo>
                      <a:lnTo>
                        <a:pt x="20519" y="21040"/>
                      </a:lnTo>
                      <a:lnTo>
                        <a:pt x="20543" y="21185"/>
                      </a:lnTo>
                      <a:cubicBezTo>
                        <a:pt x="20545" y="21184"/>
                        <a:pt x="20546" y="21184"/>
                        <a:pt x="20547" y="21184"/>
                      </a:cubicBezTo>
                      <a:lnTo>
                        <a:pt x="20640" y="21217"/>
                      </a:lnTo>
                      <a:cubicBezTo>
                        <a:pt x="20654" y="21228"/>
                        <a:pt x="20697" y="21265"/>
                        <a:pt x="20738" y="21301"/>
                      </a:cubicBezTo>
                      <a:lnTo>
                        <a:pt x="20786" y="21341"/>
                      </a:lnTo>
                      <a:cubicBezTo>
                        <a:pt x="20952" y="21361"/>
                        <a:pt x="21021" y="21475"/>
                        <a:pt x="21049" y="21592"/>
                      </a:cubicBezTo>
                      <a:cubicBezTo>
                        <a:pt x="21051" y="21592"/>
                        <a:pt x="21054" y="21592"/>
                        <a:pt x="21057" y="21592"/>
                      </a:cubicBezTo>
                      <a:cubicBezTo>
                        <a:pt x="21077" y="21592"/>
                        <a:pt x="21097" y="21595"/>
                        <a:pt x="21116" y="21600"/>
                      </a:cubicBezTo>
                      <a:cubicBezTo>
                        <a:pt x="21114" y="21592"/>
                        <a:pt x="21115" y="21585"/>
                        <a:pt x="21114" y="21578"/>
                      </a:cubicBezTo>
                      <a:cubicBezTo>
                        <a:pt x="21109" y="21540"/>
                        <a:pt x="21106" y="21502"/>
                        <a:pt x="21106" y="21466"/>
                      </a:cubicBezTo>
                      <a:cubicBezTo>
                        <a:pt x="21106" y="21451"/>
                        <a:pt x="21105" y="21437"/>
                        <a:pt x="21106" y="21423"/>
                      </a:cubicBezTo>
                      <a:cubicBezTo>
                        <a:pt x="21108" y="21376"/>
                        <a:pt x="21114" y="21330"/>
                        <a:pt x="21129" y="21284"/>
                      </a:cubicBezTo>
                      <a:cubicBezTo>
                        <a:pt x="21129" y="21150"/>
                        <a:pt x="21157" y="21034"/>
                        <a:pt x="21214" y="20944"/>
                      </a:cubicBezTo>
                      <a:cubicBezTo>
                        <a:pt x="21226" y="20926"/>
                        <a:pt x="21238" y="20908"/>
                        <a:pt x="21251" y="20891"/>
                      </a:cubicBezTo>
                      <a:cubicBezTo>
                        <a:pt x="21260" y="20763"/>
                        <a:pt x="21289" y="20569"/>
                        <a:pt x="21401" y="20475"/>
                      </a:cubicBezTo>
                      <a:lnTo>
                        <a:pt x="21392" y="20409"/>
                      </a:lnTo>
                      <a:cubicBezTo>
                        <a:pt x="21379" y="20329"/>
                        <a:pt x="21348" y="20143"/>
                        <a:pt x="21422" y="19970"/>
                      </a:cubicBezTo>
                      <a:lnTo>
                        <a:pt x="21439" y="19935"/>
                      </a:lnTo>
                      <a:cubicBezTo>
                        <a:pt x="21427" y="19876"/>
                        <a:pt x="21420" y="19807"/>
                        <a:pt x="21424" y="19728"/>
                      </a:cubicBezTo>
                      <a:cubicBezTo>
                        <a:pt x="21428" y="19652"/>
                        <a:pt x="21443" y="19591"/>
                        <a:pt x="21463" y="19542"/>
                      </a:cubicBezTo>
                      <a:cubicBezTo>
                        <a:pt x="21417" y="19277"/>
                        <a:pt x="21477" y="19133"/>
                        <a:pt x="21544" y="19052"/>
                      </a:cubicBezTo>
                      <a:cubicBezTo>
                        <a:pt x="21557" y="19037"/>
                        <a:pt x="21568" y="19026"/>
                        <a:pt x="21580" y="19016"/>
                      </a:cubicBezTo>
                      <a:cubicBezTo>
                        <a:pt x="21582" y="18974"/>
                        <a:pt x="21588" y="18928"/>
                        <a:pt x="21600" y="18882"/>
                      </a:cubicBezTo>
                      <a:cubicBezTo>
                        <a:pt x="21588" y="18851"/>
                        <a:pt x="21577" y="18817"/>
                        <a:pt x="21569" y="18778"/>
                      </a:cubicBezTo>
                      <a:cubicBezTo>
                        <a:pt x="21557" y="18718"/>
                        <a:pt x="21553" y="18660"/>
                        <a:pt x="21550" y="18585"/>
                      </a:cubicBezTo>
                      <a:lnTo>
                        <a:pt x="21521" y="18585"/>
                      </a:lnTo>
                      <a:lnTo>
                        <a:pt x="21481" y="18504"/>
                      </a:lnTo>
                      <a:cubicBezTo>
                        <a:pt x="21443" y="18503"/>
                        <a:pt x="21371" y="18486"/>
                        <a:pt x="21313" y="18383"/>
                      </a:cubicBezTo>
                      <a:lnTo>
                        <a:pt x="21250" y="18271"/>
                      </a:lnTo>
                      <a:lnTo>
                        <a:pt x="21249" y="18086"/>
                      </a:lnTo>
                      <a:cubicBezTo>
                        <a:pt x="21249" y="18086"/>
                        <a:pt x="21249" y="18086"/>
                        <a:pt x="21249" y="18086"/>
                      </a:cubicBezTo>
                      <a:cubicBezTo>
                        <a:pt x="21210" y="17997"/>
                        <a:pt x="21202" y="17891"/>
                        <a:pt x="21206" y="17810"/>
                      </a:cubicBezTo>
                      <a:cubicBezTo>
                        <a:pt x="21179" y="17493"/>
                        <a:pt x="21281" y="17368"/>
                        <a:pt x="21339" y="17324"/>
                      </a:cubicBezTo>
                      <a:cubicBezTo>
                        <a:pt x="21340" y="17315"/>
                        <a:pt x="21341" y="17306"/>
                        <a:pt x="21341" y="17298"/>
                      </a:cubicBezTo>
                      <a:cubicBezTo>
                        <a:pt x="21343" y="17280"/>
                        <a:pt x="21345" y="17262"/>
                        <a:pt x="21347" y="17243"/>
                      </a:cubicBezTo>
                      <a:cubicBezTo>
                        <a:pt x="21321" y="17216"/>
                        <a:pt x="21295" y="17179"/>
                        <a:pt x="21274" y="17129"/>
                      </a:cubicBezTo>
                      <a:lnTo>
                        <a:pt x="21170" y="17129"/>
                      </a:lnTo>
                      <a:lnTo>
                        <a:pt x="21129" y="16744"/>
                      </a:lnTo>
                      <a:cubicBezTo>
                        <a:pt x="21120" y="16682"/>
                        <a:pt x="21102" y="16534"/>
                        <a:pt x="21149" y="16386"/>
                      </a:cubicBezTo>
                      <a:lnTo>
                        <a:pt x="21156" y="16367"/>
                      </a:lnTo>
                      <a:cubicBezTo>
                        <a:pt x="21155" y="16307"/>
                        <a:pt x="21157" y="16257"/>
                        <a:pt x="21157" y="16257"/>
                      </a:cubicBezTo>
                      <a:lnTo>
                        <a:pt x="21166" y="15920"/>
                      </a:lnTo>
                      <a:lnTo>
                        <a:pt x="21449" y="15908"/>
                      </a:lnTo>
                      <a:cubicBezTo>
                        <a:pt x="21478" y="15906"/>
                        <a:pt x="21508" y="15904"/>
                        <a:pt x="21537" y="15903"/>
                      </a:cubicBezTo>
                      <a:lnTo>
                        <a:pt x="21288" y="4265"/>
                      </a:lnTo>
                      <a:cubicBezTo>
                        <a:pt x="21261" y="4140"/>
                        <a:pt x="21222" y="4005"/>
                        <a:pt x="21201" y="3969"/>
                      </a:cubicBezTo>
                      <a:cubicBezTo>
                        <a:pt x="21174" y="3930"/>
                        <a:pt x="21144" y="3913"/>
                        <a:pt x="21111" y="3895"/>
                      </a:cubicBezTo>
                      <a:cubicBezTo>
                        <a:pt x="21081" y="3879"/>
                        <a:pt x="21048" y="3860"/>
                        <a:pt x="21014" y="3821"/>
                      </a:cubicBezTo>
                      <a:lnTo>
                        <a:pt x="20962" y="3748"/>
                      </a:lnTo>
                      <a:cubicBezTo>
                        <a:pt x="20954" y="3747"/>
                        <a:pt x="20943" y="3747"/>
                        <a:pt x="20931" y="3747"/>
                      </a:cubicBezTo>
                      <a:lnTo>
                        <a:pt x="20886" y="3747"/>
                      </a:lnTo>
                      <a:cubicBezTo>
                        <a:pt x="20841" y="3747"/>
                        <a:pt x="20768" y="3747"/>
                        <a:pt x="20701" y="3668"/>
                      </a:cubicBezTo>
                      <a:cubicBezTo>
                        <a:pt x="20696" y="3663"/>
                        <a:pt x="20434" y="3283"/>
                        <a:pt x="20434" y="2975"/>
                      </a:cubicBezTo>
                      <a:cubicBezTo>
                        <a:pt x="20435" y="2972"/>
                        <a:pt x="20427" y="2928"/>
                        <a:pt x="20372" y="2804"/>
                      </a:cubicBezTo>
                      <a:cubicBezTo>
                        <a:pt x="20336" y="2723"/>
                        <a:pt x="20296" y="2640"/>
                        <a:pt x="20260" y="2566"/>
                      </a:cubicBezTo>
                      <a:cubicBezTo>
                        <a:pt x="20151" y="2342"/>
                        <a:pt x="20101" y="2239"/>
                        <a:pt x="20101" y="2077"/>
                      </a:cubicBezTo>
                      <a:cubicBezTo>
                        <a:pt x="20101" y="1902"/>
                        <a:pt x="20122" y="1657"/>
                        <a:pt x="20221" y="1486"/>
                      </a:cubicBezTo>
                      <a:cubicBezTo>
                        <a:pt x="20273" y="1398"/>
                        <a:pt x="20330" y="1346"/>
                        <a:pt x="20372" y="1309"/>
                      </a:cubicBezTo>
                      <a:cubicBezTo>
                        <a:pt x="20388" y="1294"/>
                        <a:pt x="20410" y="1274"/>
                        <a:pt x="20416" y="1265"/>
                      </a:cubicBezTo>
                      <a:cubicBezTo>
                        <a:pt x="20427" y="1246"/>
                        <a:pt x="20438" y="1224"/>
                        <a:pt x="20449" y="1202"/>
                      </a:cubicBezTo>
                      <a:cubicBezTo>
                        <a:pt x="20493" y="1111"/>
                        <a:pt x="20554" y="988"/>
                        <a:pt x="20654" y="922"/>
                      </a:cubicBezTo>
                      <a:cubicBezTo>
                        <a:pt x="20686" y="866"/>
                        <a:pt x="20694" y="796"/>
                        <a:pt x="20722" y="712"/>
                      </a:cubicBezTo>
                      <a:cubicBezTo>
                        <a:pt x="20743" y="651"/>
                        <a:pt x="20771" y="594"/>
                        <a:pt x="20805" y="528"/>
                      </a:cubicBezTo>
                      <a:cubicBezTo>
                        <a:pt x="20819" y="500"/>
                        <a:pt x="20836" y="471"/>
                        <a:pt x="20848" y="444"/>
                      </a:cubicBezTo>
                      <a:cubicBezTo>
                        <a:pt x="20849" y="410"/>
                        <a:pt x="20850" y="360"/>
                        <a:pt x="20852" y="307"/>
                      </a:cubicBezTo>
                      <a:cubicBezTo>
                        <a:pt x="20852" y="277"/>
                        <a:pt x="20853" y="247"/>
                        <a:pt x="20854" y="215"/>
                      </a:cubicBezTo>
                      <a:cubicBezTo>
                        <a:pt x="20576" y="229"/>
                        <a:pt x="20292" y="239"/>
                        <a:pt x="20012" y="252"/>
                      </a:cubicBezTo>
                      <a:cubicBezTo>
                        <a:pt x="19664" y="268"/>
                        <a:pt x="19317" y="286"/>
                        <a:pt x="18965" y="299"/>
                      </a:cubicBezTo>
                      <a:cubicBezTo>
                        <a:pt x="18618" y="313"/>
                        <a:pt x="18266" y="322"/>
                        <a:pt x="17915" y="333"/>
                      </a:cubicBezTo>
                      <a:cubicBezTo>
                        <a:pt x="17593" y="344"/>
                        <a:pt x="17274" y="356"/>
                        <a:pt x="16949" y="364"/>
                      </a:cubicBezTo>
                      <a:cubicBezTo>
                        <a:pt x="16545" y="374"/>
                        <a:pt x="16136" y="380"/>
                        <a:pt x="15728" y="387"/>
                      </a:cubicBezTo>
                      <a:cubicBezTo>
                        <a:pt x="15454" y="392"/>
                        <a:pt x="15182" y="399"/>
                        <a:pt x="14906" y="403"/>
                      </a:cubicBezTo>
                      <a:cubicBezTo>
                        <a:pt x="14227" y="412"/>
                        <a:pt x="13545" y="416"/>
                        <a:pt x="12861" y="416"/>
                      </a:cubicBezTo>
                      <a:cubicBezTo>
                        <a:pt x="12855" y="416"/>
                        <a:pt x="12850" y="416"/>
                        <a:pt x="12844" y="416"/>
                      </a:cubicBezTo>
                      <a:cubicBezTo>
                        <a:pt x="12844" y="416"/>
                        <a:pt x="12844" y="416"/>
                        <a:pt x="12844" y="416"/>
                      </a:cubicBezTo>
                      <a:cubicBezTo>
                        <a:pt x="12345" y="416"/>
                        <a:pt x="11844" y="414"/>
                        <a:pt x="11341" y="410"/>
                      </a:cubicBezTo>
                      <a:cubicBezTo>
                        <a:pt x="11207" y="408"/>
                        <a:pt x="11071" y="406"/>
                        <a:pt x="10935" y="404"/>
                      </a:cubicBezTo>
                      <a:cubicBezTo>
                        <a:pt x="10566" y="400"/>
                        <a:pt x="10197" y="396"/>
                        <a:pt x="9825" y="390"/>
                      </a:cubicBezTo>
                      <a:cubicBezTo>
                        <a:pt x="9669" y="387"/>
                        <a:pt x="9511" y="383"/>
                        <a:pt x="9353" y="380"/>
                      </a:cubicBezTo>
                      <a:cubicBezTo>
                        <a:pt x="9003" y="373"/>
                        <a:pt x="8652" y="366"/>
                        <a:pt x="8298" y="357"/>
                      </a:cubicBezTo>
                      <a:cubicBezTo>
                        <a:pt x="8122" y="352"/>
                        <a:pt x="7944" y="346"/>
                        <a:pt x="7767" y="341"/>
                      </a:cubicBezTo>
                      <a:cubicBezTo>
                        <a:pt x="7430" y="331"/>
                        <a:pt x="7093" y="322"/>
                        <a:pt x="6753" y="311"/>
                      </a:cubicBezTo>
                      <a:cubicBezTo>
                        <a:pt x="6563" y="305"/>
                        <a:pt x="6371" y="296"/>
                        <a:pt x="6181" y="289"/>
                      </a:cubicBezTo>
                      <a:cubicBezTo>
                        <a:pt x="5852" y="277"/>
                        <a:pt x="5524" y="265"/>
                        <a:pt x="5193" y="251"/>
                      </a:cubicBezTo>
                      <a:cubicBezTo>
                        <a:pt x="4990" y="243"/>
                        <a:pt x="4786" y="233"/>
                        <a:pt x="4583" y="224"/>
                      </a:cubicBezTo>
                      <a:cubicBezTo>
                        <a:pt x="4257" y="209"/>
                        <a:pt x="3932" y="195"/>
                        <a:pt x="3604" y="178"/>
                      </a:cubicBezTo>
                      <a:cubicBezTo>
                        <a:pt x="3399" y="168"/>
                        <a:pt x="3191" y="156"/>
                        <a:pt x="2985" y="145"/>
                      </a:cubicBezTo>
                      <a:cubicBezTo>
                        <a:pt x="2656" y="128"/>
                        <a:pt x="2328" y="111"/>
                        <a:pt x="1996" y="92"/>
                      </a:cubicBezTo>
                      <a:cubicBezTo>
                        <a:pt x="1782" y="80"/>
                        <a:pt x="1564" y="66"/>
                        <a:pt x="1347" y="53"/>
                      </a:cubicBezTo>
                      <a:cubicBezTo>
                        <a:pt x="1059" y="35"/>
                        <a:pt x="772" y="19"/>
                        <a:pt x="481" y="0"/>
                      </a:cubicBezTo>
                      <a:lnTo>
                        <a:pt x="415" y="2558"/>
                      </a:lnTo>
                      <a:lnTo>
                        <a:pt x="326" y="5995"/>
                      </a:lnTo>
                      <a:lnTo>
                        <a:pt x="326" y="6071"/>
                      </a:lnTo>
                      <a:lnTo>
                        <a:pt x="324" y="6428"/>
                      </a:lnTo>
                      <a:cubicBezTo>
                        <a:pt x="324" y="6428"/>
                        <a:pt x="317" y="6428"/>
                        <a:pt x="317" y="6428"/>
                      </a:cubicBezTo>
                      <a:close/>
                      <a:moveTo>
                        <a:pt x="317" y="6428"/>
                      </a:moveTo>
                    </a:path>
                  </a:pathLst>
                </a:custGeom>
                <a:solidFill>
                  <a:schemeClr val="accent1">
                    <a:lumMod val="40000"/>
                    <a:lumOff val="6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2400"/>
                    <a:buFontTx/>
                    <a:buNone/>
                    <a:tabLst/>
                    <a:defRPr/>
                  </a:pPr>
                  <a:endParaRPr kumimoji="0" sz="1800" b="1"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89" name="Google Shape;405;p54">
                  <a:extLst>
                    <a:ext uri="{FF2B5EF4-FFF2-40B4-BE49-F238E27FC236}">
                      <a16:creationId xmlns:a16="http://schemas.microsoft.com/office/drawing/2014/main" id="{47AA86C9-C74E-4C41-A22C-81FAA722159D}"/>
                    </a:ext>
                  </a:extLst>
                </p:cNvPr>
                <p:cNvSpPr/>
                <p:nvPr/>
              </p:nvSpPr>
              <p:spPr>
                <a:xfrm>
                  <a:off x="5009039" y="2191561"/>
                  <a:ext cx="627098" cy="691902"/>
                </a:xfrm>
                <a:custGeom>
                  <a:avLst/>
                  <a:gdLst/>
                  <a:ahLst/>
                  <a:cxnLst/>
                  <a:rect l="l" t="t" r="r" b="b"/>
                  <a:pathLst>
                    <a:path w="21598" h="21600" extrusionOk="0">
                      <a:moveTo>
                        <a:pt x="706" y="11172"/>
                      </a:moveTo>
                      <a:cubicBezTo>
                        <a:pt x="751" y="11193"/>
                        <a:pt x="796" y="11216"/>
                        <a:pt x="837" y="11242"/>
                      </a:cubicBezTo>
                      <a:cubicBezTo>
                        <a:pt x="946" y="11312"/>
                        <a:pt x="1089" y="11429"/>
                        <a:pt x="1160" y="11488"/>
                      </a:cubicBezTo>
                      <a:cubicBezTo>
                        <a:pt x="1204" y="11501"/>
                        <a:pt x="1265" y="11524"/>
                        <a:pt x="1323" y="11573"/>
                      </a:cubicBezTo>
                      <a:cubicBezTo>
                        <a:pt x="1371" y="11613"/>
                        <a:pt x="1401" y="11659"/>
                        <a:pt x="1420" y="11707"/>
                      </a:cubicBezTo>
                      <a:cubicBezTo>
                        <a:pt x="1469" y="11718"/>
                        <a:pt x="1516" y="11736"/>
                        <a:pt x="1559" y="11768"/>
                      </a:cubicBezTo>
                      <a:cubicBezTo>
                        <a:pt x="1587" y="11789"/>
                        <a:pt x="1610" y="11812"/>
                        <a:pt x="1629" y="11837"/>
                      </a:cubicBezTo>
                      <a:cubicBezTo>
                        <a:pt x="1680" y="11839"/>
                        <a:pt x="1762" y="11847"/>
                        <a:pt x="1835" y="11855"/>
                      </a:cubicBezTo>
                      <a:lnTo>
                        <a:pt x="1926" y="11865"/>
                      </a:lnTo>
                      <a:cubicBezTo>
                        <a:pt x="1954" y="11861"/>
                        <a:pt x="2002" y="11870"/>
                        <a:pt x="2052" y="11879"/>
                      </a:cubicBezTo>
                      <a:cubicBezTo>
                        <a:pt x="2210" y="11877"/>
                        <a:pt x="2359" y="11869"/>
                        <a:pt x="2486" y="11930"/>
                      </a:cubicBezTo>
                      <a:cubicBezTo>
                        <a:pt x="2633" y="11999"/>
                        <a:pt x="2709" y="12104"/>
                        <a:pt x="2711" y="12242"/>
                      </a:cubicBezTo>
                      <a:cubicBezTo>
                        <a:pt x="2736" y="12283"/>
                        <a:pt x="2781" y="12333"/>
                        <a:pt x="2918" y="12429"/>
                      </a:cubicBezTo>
                      <a:cubicBezTo>
                        <a:pt x="2998" y="12485"/>
                        <a:pt x="3072" y="12497"/>
                        <a:pt x="3206" y="12515"/>
                      </a:cubicBezTo>
                      <a:cubicBezTo>
                        <a:pt x="3302" y="12528"/>
                        <a:pt x="3412" y="12543"/>
                        <a:pt x="3533" y="12584"/>
                      </a:cubicBezTo>
                      <a:cubicBezTo>
                        <a:pt x="3732" y="12650"/>
                        <a:pt x="4176" y="12849"/>
                        <a:pt x="4301" y="13008"/>
                      </a:cubicBezTo>
                      <a:cubicBezTo>
                        <a:pt x="4368" y="13094"/>
                        <a:pt x="4385" y="13178"/>
                        <a:pt x="4382" y="13249"/>
                      </a:cubicBezTo>
                      <a:cubicBezTo>
                        <a:pt x="4392" y="13258"/>
                        <a:pt x="4401" y="13268"/>
                        <a:pt x="4410" y="13279"/>
                      </a:cubicBezTo>
                      <a:cubicBezTo>
                        <a:pt x="4496" y="13386"/>
                        <a:pt x="4513" y="13492"/>
                        <a:pt x="4519" y="13569"/>
                      </a:cubicBezTo>
                      <a:cubicBezTo>
                        <a:pt x="4533" y="13580"/>
                        <a:pt x="4548" y="13591"/>
                        <a:pt x="4564" y="13604"/>
                      </a:cubicBezTo>
                      <a:cubicBezTo>
                        <a:pt x="4621" y="13649"/>
                        <a:pt x="4688" y="13702"/>
                        <a:pt x="4753" y="13767"/>
                      </a:cubicBezTo>
                      <a:cubicBezTo>
                        <a:pt x="4793" y="13807"/>
                        <a:pt x="4890" y="13832"/>
                        <a:pt x="4954" y="13848"/>
                      </a:cubicBezTo>
                      <a:cubicBezTo>
                        <a:pt x="5026" y="13867"/>
                        <a:pt x="5094" y="13884"/>
                        <a:pt x="5157" y="13931"/>
                      </a:cubicBezTo>
                      <a:cubicBezTo>
                        <a:pt x="5196" y="13960"/>
                        <a:pt x="5223" y="13991"/>
                        <a:pt x="5243" y="14020"/>
                      </a:cubicBezTo>
                      <a:cubicBezTo>
                        <a:pt x="5321" y="14048"/>
                        <a:pt x="5384" y="14101"/>
                        <a:pt x="5437" y="14177"/>
                      </a:cubicBezTo>
                      <a:cubicBezTo>
                        <a:pt x="5495" y="14218"/>
                        <a:pt x="5639" y="14304"/>
                        <a:pt x="5684" y="14324"/>
                      </a:cubicBezTo>
                      <a:cubicBezTo>
                        <a:pt x="5731" y="14334"/>
                        <a:pt x="6053" y="14377"/>
                        <a:pt x="6118" y="14381"/>
                      </a:cubicBezTo>
                      <a:cubicBezTo>
                        <a:pt x="6118" y="14381"/>
                        <a:pt x="6118" y="14381"/>
                        <a:pt x="6118" y="14381"/>
                      </a:cubicBezTo>
                      <a:cubicBezTo>
                        <a:pt x="6282" y="14381"/>
                        <a:pt x="6390" y="14493"/>
                        <a:pt x="6527" y="14636"/>
                      </a:cubicBezTo>
                      <a:lnTo>
                        <a:pt x="6602" y="14712"/>
                      </a:lnTo>
                      <a:cubicBezTo>
                        <a:pt x="6653" y="14760"/>
                        <a:pt x="6787" y="14910"/>
                        <a:pt x="6902" y="15039"/>
                      </a:cubicBezTo>
                      <a:cubicBezTo>
                        <a:pt x="6963" y="15107"/>
                        <a:pt x="7018" y="15169"/>
                        <a:pt x="7047" y="15200"/>
                      </a:cubicBezTo>
                      <a:cubicBezTo>
                        <a:pt x="7133" y="15265"/>
                        <a:pt x="7156" y="15365"/>
                        <a:pt x="7174" y="15440"/>
                      </a:cubicBezTo>
                      <a:lnTo>
                        <a:pt x="7202" y="15507"/>
                      </a:lnTo>
                      <a:cubicBezTo>
                        <a:pt x="7231" y="15544"/>
                        <a:pt x="7256" y="15581"/>
                        <a:pt x="7274" y="15619"/>
                      </a:cubicBezTo>
                      <a:cubicBezTo>
                        <a:pt x="7332" y="15736"/>
                        <a:pt x="7302" y="15853"/>
                        <a:pt x="7279" y="15947"/>
                      </a:cubicBezTo>
                      <a:lnTo>
                        <a:pt x="7259" y="16028"/>
                      </a:lnTo>
                      <a:cubicBezTo>
                        <a:pt x="7248" y="16090"/>
                        <a:pt x="7241" y="16162"/>
                        <a:pt x="7235" y="16223"/>
                      </a:cubicBezTo>
                      <a:cubicBezTo>
                        <a:pt x="7249" y="16237"/>
                        <a:pt x="7262" y="16253"/>
                        <a:pt x="7273" y="16272"/>
                      </a:cubicBezTo>
                      <a:cubicBezTo>
                        <a:pt x="7304" y="16321"/>
                        <a:pt x="7330" y="16388"/>
                        <a:pt x="7321" y="16467"/>
                      </a:cubicBezTo>
                      <a:cubicBezTo>
                        <a:pt x="7329" y="16473"/>
                        <a:pt x="7336" y="16478"/>
                        <a:pt x="7343" y="16483"/>
                      </a:cubicBezTo>
                      <a:cubicBezTo>
                        <a:pt x="7395" y="16523"/>
                        <a:pt x="7461" y="16595"/>
                        <a:pt x="7462" y="16707"/>
                      </a:cubicBezTo>
                      <a:cubicBezTo>
                        <a:pt x="7463" y="16744"/>
                        <a:pt x="7456" y="16786"/>
                        <a:pt x="7440" y="16832"/>
                      </a:cubicBezTo>
                      <a:cubicBezTo>
                        <a:pt x="7482" y="16875"/>
                        <a:pt x="7506" y="16922"/>
                        <a:pt x="7522" y="16965"/>
                      </a:cubicBezTo>
                      <a:cubicBezTo>
                        <a:pt x="7522" y="16966"/>
                        <a:pt x="7523" y="16966"/>
                        <a:pt x="7523" y="16966"/>
                      </a:cubicBezTo>
                      <a:lnTo>
                        <a:pt x="7579" y="17017"/>
                      </a:lnTo>
                      <a:lnTo>
                        <a:pt x="7587" y="17252"/>
                      </a:lnTo>
                      <a:cubicBezTo>
                        <a:pt x="7584" y="17271"/>
                        <a:pt x="7581" y="17288"/>
                        <a:pt x="7577" y="17303"/>
                      </a:cubicBezTo>
                      <a:cubicBezTo>
                        <a:pt x="7638" y="17382"/>
                        <a:pt x="7691" y="17467"/>
                        <a:pt x="7700" y="17563"/>
                      </a:cubicBezTo>
                      <a:cubicBezTo>
                        <a:pt x="7704" y="17595"/>
                        <a:pt x="7702" y="17628"/>
                        <a:pt x="7694" y="17662"/>
                      </a:cubicBezTo>
                      <a:cubicBezTo>
                        <a:pt x="7881" y="17737"/>
                        <a:pt x="8098" y="17849"/>
                        <a:pt x="8181" y="17992"/>
                      </a:cubicBezTo>
                      <a:cubicBezTo>
                        <a:pt x="8193" y="18014"/>
                        <a:pt x="8208" y="18030"/>
                        <a:pt x="8220" y="18045"/>
                      </a:cubicBezTo>
                      <a:cubicBezTo>
                        <a:pt x="8271" y="18108"/>
                        <a:pt x="8405" y="18276"/>
                        <a:pt x="8288" y="18472"/>
                      </a:cubicBezTo>
                      <a:cubicBezTo>
                        <a:pt x="8248" y="18535"/>
                        <a:pt x="8196" y="18580"/>
                        <a:pt x="8146" y="18623"/>
                      </a:cubicBezTo>
                      <a:cubicBezTo>
                        <a:pt x="8119" y="18645"/>
                        <a:pt x="8076" y="18683"/>
                        <a:pt x="8065" y="18700"/>
                      </a:cubicBezTo>
                      <a:cubicBezTo>
                        <a:pt x="8055" y="18799"/>
                        <a:pt x="8035" y="18936"/>
                        <a:pt x="7916" y="19052"/>
                      </a:cubicBezTo>
                      <a:cubicBezTo>
                        <a:pt x="7934" y="19118"/>
                        <a:pt x="7942" y="19180"/>
                        <a:pt x="7933" y="19239"/>
                      </a:cubicBezTo>
                      <a:cubicBezTo>
                        <a:pt x="7936" y="19240"/>
                        <a:pt x="7940" y="19248"/>
                        <a:pt x="7945" y="19259"/>
                      </a:cubicBezTo>
                      <a:cubicBezTo>
                        <a:pt x="7961" y="19295"/>
                        <a:pt x="7988" y="19369"/>
                        <a:pt x="8010" y="19433"/>
                      </a:cubicBezTo>
                      <a:lnTo>
                        <a:pt x="8044" y="19535"/>
                      </a:lnTo>
                      <a:cubicBezTo>
                        <a:pt x="8054" y="19564"/>
                        <a:pt x="8065" y="19585"/>
                        <a:pt x="8074" y="19602"/>
                      </a:cubicBezTo>
                      <a:cubicBezTo>
                        <a:pt x="8100" y="19651"/>
                        <a:pt x="8139" y="19725"/>
                        <a:pt x="8139" y="19836"/>
                      </a:cubicBezTo>
                      <a:cubicBezTo>
                        <a:pt x="8139" y="19855"/>
                        <a:pt x="8138" y="19875"/>
                        <a:pt x="8135" y="19895"/>
                      </a:cubicBezTo>
                      <a:cubicBezTo>
                        <a:pt x="8200" y="19928"/>
                        <a:pt x="8265" y="19975"/>
                        <a:pt x="8317" y="20060"/>
                      </a:cubicBezTo>
                      <a:cubicBezTo>
                        <a:pt x="8369" y="20148"/>
                        <a:pt x="8378" y="20234"/>
                        <a:pt x="8381" y="20289"/>
                      </a:cubicBezTo>
                      <a:cubicBezTo>
                        <a:pt x="8406" y="20328"/>
                        <a:pt x="8419" y="20364"/>
                        <a:pt x="8428" y="20390"/>
                      </a:cubicBezTo>
                      <a:cubicBezTo>
                        <a:pt x="8463" y="20459"/>
                        <a:pt x="8466" y="20510"/>
                        <a:pt x="8468" y="20544"/>
                      </a:cubicBezTo>
                      <a:cubicBezTo>
                        <a:pt x="8471" y="20578"/>
                        <a:pt x="8474" y="20625"/>
                        <a:pt x="8619" y="20707"/>
                      </a:cubicBezTo>
                      <a:cubicBezTo>
                        <a:pt x="8846" y="20836"/>
                        <a:pt x="8895" y="20844"/>
                        <a:pt x="9103" y="20877"/>
                      </a:cubicBezTo>
                      <a:lnTo>
                        <a:pt x="9554" y="20955"/>
                      </a:lnTo>
                      <a:cubicBezTo>
                        <a:pt x="9738" y="20987"/>
                        <a:pt x="9815" y="21000"/>
                        <a:pt x="9905" y="21048"/>
                      </a:cubicBezTo>
                      <a:cubicBezTo>
                        <a:pt x="10022" y="21111"/>
                        <a:pt x="10076" y="21216"/>
                        <a:pt x="10129" y="21316"/>
                      </a:cubicBezTo>
                      <a:cubicBezTo>
                        <a:pt x="10147" y="21350"/>
                        <a:pt x="10164" y="21387"/>
                        <a:pt x="10186" y="21414"/>
                      </a:cubicBezTo>
                      <a:cubicBezTo>
                        <a:pt x="10202" y="21436"/>
                        <a:pt x="10225" y="21460"/>
                        <a:pt x="10247" y="21484"/>
                      </a:cubicBezTo>
                      <a:cubicBezTo>
                        <a:pt x="10276" y="21515"/>
                        <a:pt x="10306" y="21550"/>
                        <a:pt x="10335" y="21587"/>
                      </a:cubicBezTo>
                      <a:cubicBezTo>
                        <a:pt x="10340" y="21592"/>
                        <a:pt x="10343" y="21595"/>
                        <a:pt x="10346" y="21600"/>
                      </a:cubicBezTo>
                      <a:cubicBezTo>
                        <a:pt x="10596" y="21581"/>
                        <a:pt x="10841" y="21562"/>
                        <a:pt x="11088" y="21543"/>
                      </a:cubicBezTo>
                      <a:cubicBezTo>
                        <a:pt x="11304" y="21527"/>
                        <a:pt x="11523" y="21510"/>
                        <a:pt x="11738" y="21493"/>
                      </a:cubicBezTo>
                      <a:cubicBezTo>
                        <a:pt x="12034" y="21470"/>
                        <a:pt x="12326" y="21446"/>
                        <a:pt x="12619" y="21422"/>
                      </a:cubicBezTo>
                      <a:cubicBezTo>
                        <a:pt x="12815" y="21406"/>
                        <a:pt x="13014" y="21390"/>
                        <a:pt x="13209" y="21373"/>
                      </a:cubicBezTo>
                      <a:cubicBezTo>
                        <a:pt x="13610" y="21340"/>
                        <a:pt x="14005" y="21305"/>
                        <a:pt x="14399" y="21270"/>
                      </a:cubicBezTo>
                      <a:cubicBezTo>
                        <a:pt x="14558" y="21256"/>
                        <a:pt x="14716" y="21242"/>
                        <a:pt x="14873" y="21228"/>
                      </a:cubicBezTo>
                      <a:cubicBezTo>
                        <a:pt x="15268" y="21192"/>
                        <a:pt x="15662" y="21156"/>
                        <a:pt x="16050" y="21119"/>
                      </a:cubicBezTo>
                      <a:cubicBezTo>
                        <a:pt x="16212" y="21104"/>
                        <a:pt x="16369" y="21088"/>
                        <a:pt x="16530" y="21072"/>
                      </a:cubicBezTo>
                      <a:cubicBezTo>
                        <a:pt x="16834" y="21043"/>
                        <a:pt x="17139" y="21013"/>
                        <a:pt x="17440" y="20983"/>
                      </a:cubicBezTo>
                      <a:cubicBezTo>
                        <a:pt x="17615" y="20966"/>
                        <a:pt x="17786" y="20947"/>
                        <a:pt x="17959" y="20929"/>
                      </a:cubicBezTo>
                      <a:cubicBezTo>
                        <a:pt x="18241" y="20900"/>
                        <a:pt x="18522" y="20871"/>
                        <a:pt x="18801" y="20842"/>
                      </a:cubicBezTo>
                      <a:cubicBezTo>
                        <a:pt x="18983" y="20822"/>
                        <a:pt x="19162" y="20802"/>
                        <a:pt x="19342" y="20782"/>
                      </a:cubicBezTo>
                      <a:cubicBezTo>
                        <a:pt x="19609" y="20753"/>
                        <a:pt x="19876" y="20724"/>
                        <a:pt x="20141" y="20694"/>
                      </a:cubicBezTo>
                      <a:cubicBezTo>
                        <a:pt x="20330" y="20673"/>
                        <a:pt x="20518" y="20651"/>
                        <a:pt x="20706" y="20629"/>
                      </a:cubicBezTo>
                      <a:cubicBezTo>
                        <a:pt x="20895" y="20607"/>
                        <a:pt x="21083" y="20585"/>
                        <a:pt x="21271" y="20563"/>
                      </a:cubicBezTo>
                      <a:cubicBezTo>
                        <a:pt x="21229" y="20506"/>
                        <a:pt x="21217" y="20446"/>
                        <a:pt x="21217" y="20395"/>
                      </a:cubicBezTo>
                      <a:cubicBezTo>
                        <a:pt x="21217" y="20367"/>
                        <a:pt x="21219" y="20340"/>
                        <a:pt x="21223" y="20313"/>
                      </a:cubicBezTo>
                      <a:cubicBezTo>
                        <a:pt x="21201" y="20222"/>
                        <a:pt x="21164" y="20104"/>
                        <a:pt x="21216" y="19973"/>
                      </a:cubicBezTo>
                      <a:lnTo>
                        <a:pt x="21529" y="19983"/>
                      </a:lnTo>
                      <a:lnTo>
                        <a:pt x="21529" y="19982"/>
                      </a:lnTo>
                      <a:lnTo>
                        <a:pt x="21530" y="19983"/>
                      </a:lnTo>
                      <a:lnTo>
                        <a:pt x="21244" y="19905"/>
                      </a:lnTo>
                      <a:cubicBezTo>
                        <a:pt x="21233" y="19849"/>
                        <a:pt x="21221" y="19741"/>
                        <a:pt x="21276" y="19641"/>
                      </a:cubicBezTo>
                      <a:cubicBezTo>
                        <a:pt x="21249" y="19565"/>
                        <a:pt x="21230" y="19485"/>
                        <a:pt x="21249" y="19404"/>
                      </a:cubicBezTo>
                      <a:cubicBezTo>
                        <a:pt x="21046" y="19234"/>
                        <a:pt x="20870" y="19056"/>
                        <a:pt x="20870" y="18849"/>
                      </a:cubicBezTo>
                      <a:cubicBezTo>
                        <a:pt x="20870" y="18796"/>
                        <a:pt x="20875" y="18742"/>
                        <a:pt x="20881" y="18689"/>
                      </a:cubicBezTo>
                      <a:cubicBezTo>
                        <a:pt x="20885" y="18647"/>
                        <a:pt x="20891" y="18583"/>
                        <a:pt x="20887" y="18562"/>
                      </a:cubicBezTo>
                      <a:cubicBezTo>
                        <a:pt x="20887" y="18574"/>
                        <a:pt x="20854" y="18555"/>
                        <a:pt x="20821" y="18533"/>
                      </a:cubicBezTo>
                      <a:cubicBezTo>
                        <a:pt x="20695" y="18448"/>
                        <a:pt x="20432" y="18272"/>
                        <a:pt x="20535" y="18010"/>
                      </a:cubicBezTo>
                      <a:cubicBezTo>
                        <a:pt x="20554" y="17961"/>
                        <a:pt x="20579" y="17920"/>
                        <a:pt x="20603" y="17886"/>
                      </a:cubicBezTo>
                      <a:cubicBezTo>
                        <a:pt x="20538" y="17810"/>
                        <a:pt x="20456" y="17697"/>
                        <a:pt x="20484" y="17547"/>
                      </a:cubicBezTo>
                      <a:lnTo>
                        <a:pt x="20500" y="17477"/>
                      </a:lnTo>
                      <a:cubicBezTo>
                        <a:pt x="20420" y="17353"/>
                        <a:pt x="20287" y="17163"/>
                        <a:pt x="20366" y="16923"/>
                      </a:cubicBezTo>
                      <a:lnTo>
                        <a:pt x="20413" y="16756"/>
                      </a:lnTo>
                      <a:cubicBezTo>
                        <a:pt x="20413" y="16739"/>
                        <a:pt x="20410" y="16713"/>
                        <a:pt x="20407" y="16682"/>
                      </a:cubicBezTo>
                      <a:cubicBezTo>
                        <a:pt x="20389" y="16465"/>
                        <a:pt x="20383" y="16289"/>
                        <a:pt x="20473" y="16158"/>
                      </a:cubicBezTo>
                      <a:lnTo>
                        <a:pt x="20510" y="16106"/>
                      </a:lnTo>
                      <a:cubicBezTo>
                        <a:pt x="20609" y="15967"/>
                        <a:pt x="20663" y="15876"/>
                        <a:pt x="20671" y="15836"/>
                      </a:cubicBezTo>
                      <a:lnTo>
                        <a:pt x="20654" y="15799"/>
                      </a:lnTo>
                      <a:cubicBezTo>
                        <a:pt x="20616" y="15668"/>
                        <a:pt x="20566" y="15488"/>
                        <a:pt x="20658" y="15310"/>
                      </a:cubicBezTo>
                      <a:cubicBezTo>
                        <a:pt x="20716" y="15199"/>
                        <a:pt x="20852" y="14842"/>
                        <a:pt x="20863" y="14760"/>
                      </a:cubicBezTo>
                      <a:cubicBezTo>
                        <a:pt x="20862" y="14722"/>
                        <a:pt x="20855" y="14661"/>
                        <a:pt x="20850" y="14610"/>
                      </a:cubicBezTo>
                      <a:cubicBezTo>
                        <a:pt x="20844" y="14556"/>
                        <a:pt x="20840" y="14509"/>
                        <a:pt x="20840" y="14480"/>
                      </a:cubicBezTo>
                      <a:cubicBezTo>
                        <a:pt x="20838" y="14466"/>
                        <a:pt x="20821" y="14415"/>
                        <a:pt x="20809" y="14397"/>
                      </a:cubicBezTo>
                      <a:cubicBezTo>
                        <a:pt x="20722" y="14297"/>
                        <a:pt x="20561" y="13931"/>
                        <a:pt x="20588" y="13728"/>
                      </a:cubicBezTo>
                      <a:cubicBezTo>
                        <a:pt x="20596" y="13664"/>
                        <a:pt x="20622" y="13555"/>
                        <a:pt x="20647" y="13456"/>
                      </a:cubicBezTo>
                      <a:cubicBezTo>
                        <a:pt x="20663" y="13391"/>
                        <a:pt x="20679" y="13332"/>
                        <a:pt x="20683" y="13302"/>
                      </a:cubicBezTo>
                      <a:cubicBezTo>
                        <a:pt x="20676" y="13169"/>
                        <a:pt x="20677" y="13042"/>
                        <a:pt x="20742" y="12936"/>
                      </a:cubicBezTo>
                      <a:lnTo>
                        <a:pt x="20783" y="12875"/>
                      </a:lnTo>
                      <a:cubicBezTo>
                        <a:pt x="20790" y="12865"/>
                        <a:pt x="20797" y="12855"/>
                        <a:pt x="20804" y="12846"/>
                      </a:cubicBezTo>
                      <a:cubicBezTo>
                        <a:pt x="20787" y="12747"/>
                        <a:pt x="20775" y="12604"/>
                        <a:pt x="20888" y="12464"/>
                      </a:cubicBezTo>
                      <a:cubicBezTo>
                        <a:pt x="20934" y="12406"/>
                        <a:pt x="20997" y="12360"/>
                        <a:pt x="21078" y="12301"/>
                      </a:cubicBezTo>
                      <a:cubicBezTo>
                        <a:pt x="21136" y="12259"/>
                        <a:pt x="21255" y="12171"/>
                        <a:pt x="21279" y="12131"/>
                      </a:cubicBezTo>
                      <a:cubicBezTo>
                        <a:pt x="21267" y="12154"/>
                        <a:pt x="21223" y="12059"/>
                        <a:pt x="21195" y="11998"/>
                      </a:cubicBezTo>
                      <a:cubicBezTo>
                        <a:pt x="21110" y="11810"/>
                        <a:pt x="21011" y="11598"/>
                        <a:pt x="21091" y="11404"/>
                      </a:cubicBezTo>
                      <a:cubicBezTo>
                        <a:pt x="21112" y="11351"/>
                        <a:pt x="21111" y="11343"/>
                        <a:pt x="21106" y="11317"/>
                      </a:cubicBezTo>
                      <a:lnTo>
                        <a:pt x="21089" y="11169"/>
                      </a:lnTo>
                      <a:cubicBezTo>
                        <a:pt x="21063" y="10988"/>
                        <a:pt x="21048" y="10814"/>
                        <a:pt x="21136" y="10677"/>
                      </a:cubicBezTo>
                      <a:cubicBezTo>
                        <a:pt x="21163" y="10633"/>
                        <a:pt x="21163" y="10628"/>
                        <a:pt x="21163" y="10567"/>
                      </a:cubicBezTo>
                      <a:lnTo>
                        <a:pt x="21160" y="10501"/>
                      </a:lnTo>
                      <a:cubicBezTo>
                        <a:pt x="21151" y="10373"/>
                        <a:pt x="21141" y="10213"/>
                        <a:pt x="21221" y="10079"/>
                      </a:cubicBezTo>
                      <a:lnTo>
                        <a:pt x="21256" y="10021"/>
                      </a:lnTo>
                      <a:cubicBezTo>
                        <a:pt x="21303" y="9944"/>
                        <a:pt x="21414" y="9764"/>
                        <a:pt x="21436" y="9693"/>
                      </a:cubicBezTo>
                      <a:cubicBezTo>
                        <a:pt x="21482" y="9545"/>
                        <a:pt x="21590" y="9147"/>
                        <a:pt x="21598" y="9070"/>
                      </a:cubicBezTo>
                      <a:cubicBezTo>
                        <a:pt x="21597" y="9058"/>
                        <a:pt x="21597" y="9047"/>
                        <a:pt x="21597" y="9035"/>
                      </a:cubicBezTo>
                      <a:cubicBezTo>
                        <a:pt x="21571" y="9041"/>
                        <a:pt x="21541" y="9045"/>
                        <a:pt x="21509" y="9045"/>
                      </a:cubicBezTo>
                      <a:lnTo>
                        <a:pt x="21192" y="9048"/>
                      </a:lnTo>
                      <a:cubicBezTo>
                        <a:pt x="21189" y="9048"/>
                        <a:pt x="21185" y="9048"/>
                        <a:pt x="21182" y="9048"/>
                      </a:cubicBezTo>
                      <a:cubicBezTo>
                        <a:pt x="21133" y="9096"/>
                        <a:pt x="21048" y="9131"/>
                        <a:pt x="20944" y="9136"/>
                      </a:cubicBezTo>
                      <a:cubicBezTo>
                        <a:pt x="20923" y="9174"/>
                        <a:pt x="20901" y="9216"/>
                        <a:pt x="20877" y="9259"/>
                      </a:cubicBezTo>
                      <a:cubicBezTo>
                        <a:pt x="20817" y="9368"/>
                        <a:pt x="20756" y="9480"/>
                        <a:pt x="20720" y="9540"/>
                      </a:cubicBezTo>
                      <a:cubicBezTo>
                        <a:pt x="20669" y="9626"/>
                        <a:pt x="20666" y="9657"/>
                        <a:pt x="20664" y="9680"/>
                      </a:cubicBezTo>
                      <a:cubicBezTo>
                        <a:pt x="20661" y="9721"/>
                        <a:pt x="20644" y="9814"/>
                        <a:pt x="20635" y="9858"/>
                      </a:cubicBezTo>
                      <a:cubicBezTo>
                        <a:pt x="20629" y="9966"/>
                        <a:pt x="20574" y="10097"/>
                        <a:pt x="20438" y="10179"/>
                      </a:cubicBezTo>
                      <a:cubicBezTo>
                        <a:pt x="20376" y="10217"/>
                        <a:pt x="20149" y="10372"/>
                        <a:pt x="20065" y="10435"/>
                      </a:cubicBezTo>
                      <a:cubicBezTo>
                        <a:pt x="20079" y="10544"/>
                        <a:pt x="20006" y="10633"/>
                        <a:pt x="19956" y="10678"/>
                      </a:cubicBezTo>
                      <a:cubicBezTo>
                        <a:pt x="19896" y="10825"/>
                        <a:pt x="19760" y="10913"/>
                        <a:pt x="19582" y="10913"/>
                      </a:cubicBezTo>
                      <a:cubicBezTo>
                        <a:pt x="19449" y="10913"/>
                        <a:pt x="19133" y="10848"/>
                        <a:pt x="19006" y="10724"/>
                      </a:cubicBezTo>
                      <a:lnTo>
                        <a:pt x="18917" y="10638"/>
                      </a:lnTo>
                      <a:lnTo>
                        <a:pt x="18918" y="10504"/>
                      </a:lnTo>
                      <a:cubicBezTo>
                        <a:pt x="18919" y="10449"/>
                        <a:pt x="18917" y="10356"/>
                        <a:pt x="18997" y="10261"/>
                      </a:cubicBezTo>
                      <a:lnTo>
                        <a:pt x="19003" y="10253"/>
                      </a:lnTo>
                      <a:cubicBezTo>
                        <a:pt x="18987" y="10194"/>
                        <a:pt x="18990" y="10127"/>
                        <a:pt x="19014" y="10058"/>
                      </a:cubicBezTo>
                      <a:lnTo>
                        <a:pt x="19028" y="9949"/>
                      </a:lnTo>
                      <a:cubicBezTo>
                        <a:pt x="19029" y="9933"/>
                        <a:pt x="19027" y="9909"/>
                        <a:pt x="19025" y="9885"/>
                      </a:cubicBezTo>
                      <a:cubicBezTo>
                        <a:pt x="19018" y="9770"/>
                        <a:pt x="19008" y="9612"/>
                        <a:pt x="19122" y="9488"/>
                      </a:cubicBezTo>
                      <a:lnTo>
                        <a:pt x="19168" y="9439"/>
                      </a:lnTo>
                      <a:cubicBezTo>
                        <a:pt x="19236" y="9331"/>
                        <a:pt x="19241" y="9302"/>
                        <a:pt x="19243" y="9296"/>
                      </a:cubicBezTo>
                      <a:cubicBezTo>
                        <a:pt x="19233" y="9258"/>
                        <a:pt x="19208" y="9112"/>
                        <a:pt x="19346" y="8980"/>
                      </a:cubicBezTo>
                      <a:lnTo>
                        <a:pt x="19398" y="8932"/>
                      </a:lnTo>
                      <a:cubicBezTo>
                        <a:pt x="19418" y="8914"/>
                        <a:pt x="19438" y="8898"/>
                        <a:pt x="19452" y="8880"/>
                      </a:cubicBezTo>
                      <a:lnTo>
                        <a:pt x="19469" y="8852"/>
                      </a:lnTo>
                      <a:cubicBezTo>
                        <a:pt x="19394" y="8770"/>
                        <a:pt x="19369" y="8671"/>
                        <a:pt x="19403" y="8566"/>
                      </a:cubicBezTo>
                      <a:cubicBezTo>
                        <a:pt x="19454" y="8409"/>
                        <a:pt x="19642" y="8254"/>
                        <a:pt x="19883" y="8170"/>
                      </a:cubicBezTo>
                      <a:cubicBezTo>
                        <a:pt x="19960" y="8144"/>
                        <a:pt x="20066" y="8116"/>
                        <a:pt x="20166" y="8090"/>
                      </a:cubicBezTo>
                      <a:cubicBezTo>
                        <a:pt x="20186" y="8085"/>
                        <a:pt x="20205" y="8080"/>
                        <a:pt x="20224" y="8075"/>
                      </a:cubicBezTo>
                      <a:cubicBezTo>
                        <a:pt x="20192" y="8013"/>
                        <a:pt x="20185" y="7948"/>
                        <a:pt x="20201" y="7874"/>
                      </a:cubicBezTo>
                      <a:cubicBezTo>
                        <a:pt x="20195" y="7872"/>
                        <a:pt x="20194" y="7867"/>
                        <a:pt x="20189" y="7865"/>
                      </a:cubicBezTo>
                      <a:cubicBezTo>
                        <a:pt x="20133" y="7841"/>
                        <a:pt x="20085" y="7810"/>
                        <a:pt x="20049" y="7761"/>
                      </a:cubicBezTo>
                      <a:lnTo>
                        <a:pt x="20198" y="7482"/>
                      </a:lnTo>
                      <a:lnTo>
                        <a:pt x="19995" y="7681"/>
                      </a:lnTo>
                      <a:cubicBezTo>
                        <a:pt x="19875" y="7618"/>
                        <a:pt x="19728" y="7540"/>
                        <a:pt x="19691" y="7382"/>
                      </a:cubicBezTo>
                      <a:cubicBezTo>
                        <a:pt x="19662" y="7259"/>
                        <a:pt x="19734" y="6907"/>
                        <a:pt x="19778" y="6736"/>
                      </a:cubicBezTo>
                      <a:cubicBezTo>
                        <a:pt x="19773" y="6736"/>
                        <a:pt x="19768" y="6736"/>
                        <a:pt x="19763" y="6737"/>
                      </a:cubicBezTo>
                      <a:lnTo>
                        <a:pt x="19680" y="6735"/>
                      </a:lnTo>
                      <a:cubicBezTo>
                        <a:pt x="19628" y="6772"/>
                        <a:pt x="19553" y="6808"/>
                        <a:pt x="19454" y="6808"/>
                      </a:cubicBezTo>
                      <a:lnTo>
                        <a:pt x="19352" y="6795"/>
                      </a:lnTo>
                      <a:cubicBezTo>
                        <a:pt x="19313" y="6797"/>
                        <a:pt x="19229" y="6795"/>
                        <a:pt x="19146" y="6752"/>
                      </a:cubicBezTo>
                      <a:cubicBezTo>
                        <a:pt x="19119" y="6738"/>
                        <a:pt x="19091" y="6719"/>
                        <a:pt x="19066" y="6694"/>
                      </a:cubicBezTo>
                      <a:lnTo>
                        <a:pt x="18981" y="6610"/>
                      </a:lnTo>
                      <a:lnTo>
                        <a:pt x="18979" y="6470"/>
                      </a:lnTo>
                      <a:cubicBezTo>
                        <a:pt x="18983" y="6395"/>
                        <a:pt x="19010" y="6339"/>
                        <a:pt x="19025" y="6306"/>
                      </a:cubicBezTo>
                      <a:cubicBezTo>
                        <a:pt x="19030" y="6299"/>
                        <a:pt x="19035" y="6299"/>
                        <a:pt x="19038" y="6302"/>
                      </a:cubicBezTo>
                      <a:cubicBezTo>
                        <a:pt x="18921" y="6125"/>
                        <a:pt x="19027" y="5978"/>
                        <a:pt x="19064" y="5935"/>
                      </a:cubicBezTo>
                      <a:cubicBezTo>
                        <a:pt x="19083" y="5913"/>
                        <a:pt x="19115" y="5883"/>
                        <a:pt x="19153" y="5848"/>
                      </a:cubicBezTo>
                      <a:cubicBezTo>
                        <a:pt x="19174" y="5829"/>
                        <a:pt x="19211" y="5795"/>
                        <a:pt x="19237" y="5767"/>
                      </a:cubicBezTo>
                      <a:cubicBezTo>
                        <a:pt x="19230" y="5756"/>
                        <a:pt x="19219" y="5742"/>
                        <a:pt x="19201" y="5719"/>
                      </a:cubicBezTo>
                      <a:lnTo>
                        <a:pt x="19034" y="5655"/>
                      </a:lnTo>
                      <a:lnTo>
                        <a:pt x="18994" y="5302"/>
                      </a:lnTo>
                      <a:lnTo>
                        <a:pt x="19108" y="5236"/>
                      </a:lnTo>
                      <a:cubicBezTo>
                        <a:pt x="18956" y="5098"/>
                        <a:pt x="18979" y="4969"/>
                        <a:pt x="19012" y="4895"/>
                      </a:cubicBezTo>
                      <a:cubicBezTo>
                        <a:pt x="18962" y="4872"/>
                        <a:pt x="18909" y="4835"/>
                        <a:pt x="18869" y="4776"/>
                      </a:cubicBezTo>
                      <a:cubicBezTo>
                        <a:pt x="18828" y="4793"/>
                        <a:pt x="18776" y="4806"/>
                        <a:pt x="18717" y="4806"/>
                      </a:cubicBezTo>
                      <a:lnTo>
                        <a:pt x="18593" y="4806"/>
                      </a:lnTo>
                      <a:lnTo>
                        <a:pt x="18476" y="4716"/>
                      </a:lnTo>
                      <a:cubicBezTo>
                        <a:pt x="18471" y="4712"/>
                        <a:pt x="18465" y="4706"/>
                        <a:pt x="18458" y="4699"/>
                      </a:cubicBezTo>
                      <a:cubicBezTo>
                        <a:pt x="18403" y="4720"/>
                        <a:pt x="18337" y="4738"/>
                        <a:pt x="18263" y="4738"/>
                      </a:cubicBezTo>
                      <a:lnTo>
                        <a:pt x="18184" y="4738"/>
                      </a:lnTo>
                      <a:lnTo>
                        <a:pt x="18063" y="4691"/>
                      </a:lnTo>
                      <a:cubicBezTo>
                        <a:pt x="17943" y="4631"/>
                        <a:pt x="17668" y="4466"/>
                        <a:pt x="17698" y="4248"/>
                      </a:cubicBezTo>
                      <a:cubicBezTo>
                        <a:pt x="17706" y="4185"/>
                        <a:pt x="17734" y="4139"/>
                        <a:pt x="17772" y="4096"/>
                      </a:cubicBezTo>
                      <a:cubicBezTo>
                        <a:pt x="17735" y="4045"/>
                        <a:pt x="17725" y="3993"/>
                        <a:pt x="17723" y="3957"/>
                      </a:cubicBezTo>
                      <a:cubicBezTo>
                        <a:pt x="17722" y="3957"/>
                        <a:pt x="17720" y="3956"/>
                        <a:pt x="17719" y="3955"/>
                      </a:cubicBezTo>
                      <a:cubicBezTo>
                        <a:pt x="17675" y="3975"/>
                        <a:pt x="17624" y="3989"/>
                        <a:pt x="17563" y="3989"/>
                      </a:cubicBezTo>
                      <a:lnTo>
                        <a:pt x="17481" y="3989"/>
                      </a:lnTo>
                      <a:lnTo>
                        <a:pt x="17391" y="3946"/>
                      </a:lnTo>
                      <a:cubicBezTo>
                        <a:pt x="17360" y="3952"/>
                        <a:pt x="17326" y="3955"/>
                        <a:pt x="17290" y="3955"/>
                      </a:cubicBezTo>
                      <a:lnTo>
                        <a:pt x="17172" y="3943"/>
                      </a:lnTo>
                      <a:cubicBezTo>
                        <a:pt x="17109" y="3929"/>
                        <a:pt x="17048" y="3902"/>
                        <a:pt x="16976" y="3870"/>
                      </a:cubicBezTo>
                      <a:cubicBezTo>
                        <a:pt x="16975" y="3869"/>
                        <a:pt x="16973" y="3868"/>
                        <a:pt x="16972" y="3868"/>
                      </a:cubicBezTo>
                      <a:cubicBezTo>
                        <a:pt x="16925" y="3891"/>
                        <a:pt x="16867" y="3908"/>
                        <a:pt x="16801" y="3908"/>
                      </a:cubicBezTo>
                      <a:lnTo>
                        <a:pt x="16661" y="3881"/>
                      </a:lnTo>
                      <a:cubicBezTo>
                        <a:pt x="16641" y="3872"/>
                        <a:pt x="16617" y="3860"/>
                        <a:pt x="16589" y="3846"/>
                      </a:cubicBezTo>
                      <a:cubicBezTo>
                        <a:pt x="16560" y="3852"/>
                        <a:pt x="16529" y="3856"/>
                        <a:pt x="16497" y="3856"/>
                      </a:cubicBezTo>
                      <a:lnTo>
                        <a:pt x="16340" y="3856"/>
                      </a:lnTo>
                      <a:lnTo>
                        <a:pt x="16274" y="3780"/>
                      </a:lnTo>
                      <a:cubicBezTo>
                        <a:pt x="16273" y="3781"/>
                        <a:pt x="16272" y="3781"/>
                        <a:pt x="16271" y="3781"/>
                      </a:cubicBezTo>
                      <a:cubicBezTo>
                        <a:pt x="16227" y="3851"/>
                        <a:pt x="16149" y="3943"/>
                        <a:pt x="16003" y="3958"/>
                      </a:cubicBezTo>
                      <a:cubicBezTo>
                        <a:pt x="15976" y="3960"/>
                        <a:pt x="15931" y="3965"/>
                        <a:pt x="15885" y="3965"/>
                      </a:cubicBezTo>
                      <a:cubicBezTo>
                        <a:pt x="15702" y="3965"/>
                        <a:pt x="15603" y="3894"/>
                        <a:pt x="15552" y="3833"/>
                      </a:cubicBezTo>
                      <a:cubicBezTo>
                        <a:pt x="15509" y="3849"/>
                        <a:pt x="15462" y="3857"/>
                        <a:pt x="15412" y="3857"/>
                      </a:cubicBezTo>
                      <a:lnTo>
                        <a:pt x="15282" y="3840"/>
                      </a:lnTo>
                      <a:lnTo>
                        <a:pt x="15165" y="3882"/>
                      </a:lnTo>
                      <a:lnTo>
                        <a:pt x="15062" y="3814"/>
                      </a:lnTo>
                      <a:lnTo>
                        <a:pt x="13979" y="3374"/>
                      </a:lnTo>
                      <a:lnTo>
                        <a:pt x="9807" y="2747"/>
                      </a:lnTo>
                      <a:lnTo>
                        <a:pt x="9752" y="2588"/>
                      </a:lnTo>
                      <a:cubicBezTo>
                        <a:pt x="9731" y="2526"/>
                        <a:pt x="9698" y="2450"/>
                        <a:pt x="9684" y="2429"/>
                      </a:cubicBezTo>
                      <a:cubicBezTo>
                        <a:pt x="9674" y="2417"/>
                        <a:pt x="9661" y="2403"/>
                        <a:pt x="9650" y="2392"/>
                      </a:cubicBezTo>
                      <a:cubicBezTo>
                        <a:pt x="9618" y="2358"/>
                        <a:pt x="9569" y="2307"/>
                        <a:pt x="9546" y="2230"/>
                      </a:cubicBezTo>
                      <a:cubicBezTo>
                        <a:pt x="9538" y="2204"/>
                        <a:pt x="9527" y="2179"/>
                        <a:pt x="9522" y="2171"/>
                      </a:cubicBezTo>
                      <a:cubicBezTo>
                        <a:pt x="9509" y="2153"/>
                        <a:pt x="9444" y="2074"/>
                        <a:pt x="9386" y="2008"/>
                      </a:cubicBezTo>
                      <a:cubicBezTo>
                        <a:pt x="9384" y="2008"/>
                        <a:pt x="9381" y="2008"/>
                        <a:pt x="9378" y="2008"/>
                      </a:cubicBezTo>
                      <a:lnTo>
                        <a:pt x="9183" y="2008"/>
                      </a:lnTo>
                      <a:lnTo>
                        <a:pt x="9151" y="1956"/>
                      </a:lnTo>
                      <a:lnTo>
                        <a:pt x="9053" y="1956"/>
                      </a:lnTo>
                      <a:lnTo>
                        <a:pt x="9002" y="1895"/>
                      </a:lnTo>
                      <a:cubicBezTo>
                        <a:pt x="8967" y="1907"/>
                        <a:pt x="8927" y="1916"/>
                        <a:pt x="8880" y="1916"/>
                      </a:cubicBezTo>
                      <a:lnTo>
                        <a:pt x="8775" y="1916"/>
                      </a:lnTo>
                      <a:lnTo>
                        <a:pt x="8679" y="1852"/>
                      </a:lnTo>
                      <a:cubicBezTo>
                        <a:pt x="8645" y="1826"/>
                        <a:pt x="8616" y="1790"/>
                        <a:pt x="8589" y="1752"/>
                      </a:cubicBezTo>
                      <a:cubicBezTo>
                        <a:pt x="8587" y="1748"/>
                        <a:pt x="8583" y="1746"/>
                        <a:pt x="8581" y="1742"/>
                      </a:cubicBezTo>
                      <a:cubicBezTo>
                        <a:pt x="8500" y="1730"/>
                        <a:pt x="8443" y="1719"/>
                        <a:pt x="8390" y="1698"/>
                      </a:cubicBezTo>
                      <a:lnTo>
                        <a:pt x="8391" y="1687"/>
                      </a:lnTo>
                      <a:cubicBezTo>
                        <a:pt x="8320" y="1702"/>
                        <a:pt x="8269" y="1710"/>
                        <a:pt x="8221" y="1710"/>
                      </a:cubicBezTo>
                      <a:lnTo>
                        <a:pt x="8146" y="1703"/>
                      </a:lnTo>
                      <a:cubicBezTo>
                        <a:pt x="8023" y="1680"/>
                        <a:pt x="7698" y="1459"/>
                        <a:pt x="7612" y="1399"/>
                      </a:cubicBezTo>
                      <a:cubicBezTo>
                        <a:pt x="7612" y="1400"/>
                        <a:pt x="7611" y="1401"/>
                        <a:pt x="7611" y="1401"/>
                      </a:cubicBezTo>
                      <a:cubicBezTo>
                        <a:pt x="7557" y="1449"/>
                        <a:pt x="7489" y="1484"/>
                        <a:pt x="7393" y="1532"/>
                      </a:cubicBezTo>
                      <a:cubicBezTo>
                        <a:pt x="7342" y="1558"/>
                        <a:pt x="7282" y="1588"/>
                        <a:pt x="7226" y="1621"/>
                      </a:cubicBezTo>
                      <a:cubicBezTo>
                        <a:pt x="7190" y="1642"/>
                        <a:pt x="7166" y="1661"/>
                        <a:pt x="7147" y="1678"/>
                      </a:cubicBezTo>
                      <a:cubicBezTo>
                        <a:pt x="7083" y="1728"/>
                        <a:pt x="6987" y="1804"/>
                        <a:pt x="6812" y="1814"/>
                      </a:cubicBezTo>
                      <a:cubicBezTo>
                        <a:pt x="6810" y="1814"/>
                        <a:pt x="6809" y="1814"/>
                        <a:pt x="6808" y="1814"/>
                      </a:cubicBezTo>
                      <a:cubicBezTo>
                        <a:pt x="6555" y="1814"/>
                        <a:pt x="6457" y="1701"/>
                        <a:pt x="6425" y="1652"/>
                      </a:cubicBezTo>
                      <a:lnTo>
                        <a:pt x="6337" y="1522"/>
                      </a:lnTo>
                      <a:lnTo>
                        <a:pt x="6416" y="1336"/>
                      </a:lnTo>
                      <a:cubicBezTo>
                        <a:pt x="6426" y="1319"/>
                        <a:pt x="6436" y="1303"/>
                        <a:pt x="6447" y="1290"/>
                      </a:cubicBezTo>
                      <a:cubicBezTo>
                        <a:pt x="6443" y="1202"/>
                        <a:pt x="6449" y="1047"/>
                        <a:pt x="6613" y="950"/>
                      </a:cubicBezTo>
                      <a:cubicBezTo>
                        <a:pt x="6627" y="942"/>
                        <a:pt x="6642" y="933"/>
                        <a:pt x="6655" y="923"/>
                      </a:cubicBezTo>
                      <a:cubicBezTo>
                        <a:pt x="6594" y="838"/>
                        <a:pt x="6552" y="742"/>
                        <a:pt x="6580" y="629"/>
                      </a:cubicBezTo>
                      <a:cubicBezTo>
                        <a:pt x="6610" y="505"/>
                        <a:pt x="6645" y="358"/>
                        <a:pt x="6777" y="270"/>
                      </a:cubicBezTo>
                      <a:cubicBezTo>
                        <a:pt x="6791" y="260"/>
                        <a:pt x="6808" y="250"/>
                        <a:pt x="6827" y="240"/>
                      </a:cubicBezTo>
                      <a:cubicBezTo>
                        <a:pt x="6865" y="131"/>
                        <a:pt x="6894" y="56"/>
                        <a:pt x="6918" y="2"/>
                      </a:cubicBezTo>
                      <a:cubicBezTo>
                        <a:pt x="6918" y="1"/>
                        <a:pt x="6917" y="0"/>
                        <a:pt x="6916" y="0"/>
                      </a:cubicBezTo>
                      <a:lnTo>
                        <a:pt x="6872" y="71"/>
                      </a:lnTo>
                      <a:lnTo>
                        <a:pt x="6685" y="93"/>
                      </a:lnTo>
                      <a:cubicBezTo>
                        <a:pt x="6652" y="92"/>
                        <a:pt x="6620" y="91"/>
                        <a:pt x="6594" y="87"/>
                      </a:cubicBezTo>
                      <a:cubicBezTo>
                        <a:pt x="6568" y="117"/>
                        <a:pt x="6537" y="144"/>
                        <a:pt x="6501" y="166"/>
                      </a:cubicBezTo>
                      <a:cubicBezTo>
                        <a:pt x="6455" y="264"/>
                        <a:pt x="6370" y="332"/>
                        <a:pt x="6248" y="367"/>
                      </a:cubicBezTo>
                      <a:cubicBezTo>
                        <a:pt x="6233" y="371"/>
                        <a:pt x="6216" y="375"/>
                        <a:pt x="6200" y="379"/>
                      </a:cubicBezTo>
                      <a:cubicBezTo>
                        <a:pt x="6149" y="450"/>
                        <a:pt x="6071" y="514"/>
                        <a:pt x="5961" y="532"/>
                      </a:cubicBezTo>
                      <a:cubicBezTo>
                        <a:pt x="5896" y="594"/>
                        <a:pt x="5814" y="628"/>
                        <a:pt x="5720" y="629"/>
                      </a:cubicBezTo>
                      <a:lnTo>
                        <a:pt x="5605" y="611"/>
                      </a:lnTo>
                      <a:cubicBezTo>
                        <a:pt x="5539" y="677"/>
                        <a:pt x="5444" y="713"/>
                        <a:pt x="5324" y="717"/>
                      </a:cubicBezTo>
                      <a:cubicBezTo>
                        <a:pt x="5242" y="814"/>
                        <a:pt x="5182" y="877"/>
                        <a:pt x="5097" y="911"/>
                      </a:cubicBezTo>
                      <a:lnTo>
                        <a:pt x="5042" y="934"/>
                      </a:lnTo>
                      <a:lnTo>
                        <a:pt x="4873" y="973"/>
                      </a:lnTo>
                      <a:cubicBezTo>
                        <a:pt x="4523" y="1151"/>
                        <a:pt x="4467" y="1174"/>
                        <a:pt x="4373" y="1174"/>
                      </a:cubicBezTo>
                      <a:cubicBezTo>
                        <a:pt x="4350" y="1174"/>
                        <a:pt x="4323" y="1176"/>
                        <a:pt x="4309" y="1178"/>
                      </a:cubicBezTo>
                      <a:cubicBezTo>
                        <a:pt x="4308" y="1180"/>
                        <a:pt x="4240" y="1206"/>
                        <a:pt x="4157" y="1237"/>
                      </a:cubicBezTo>
                      <a:cubicBezTo>
                        <a:pt x="4008" y="1293"/>
                        <a:pt x="3799" y="1370"/>
                        <a:pt x="3744" y="1397"/>
                      </a:cubicBezTo>
                      <a:cubicBezTo>
                        <a:pt x="3747" y="1397"/>
                        <a:pt x="3728" y="1413"/>
                        <a:pt x="3707" y="1430"/>
                      </a:cubicBezTo>
                      <a:cubicBezTo>
                        <a:pt x="3592" y="1522"/>
                        <a:pt x="3473" y="1617"/>
                        <a:pt x="3317" y="1617"/>
                      </a:cubicBezTo>
                      <a:lnTo>
                        <a:pt x="3228" y="1616"/>
                      </a:lnTo>
                      <a:cubicBezTo>
                        <a:pt x="3173" y="1616"/>
                        <a:pt x="3132" y="1620"/>
                        <a:pt x="3107" y="1629"/>
                      </a:cubicBezTo>
                      <a:cubicBezTo>
                        <a:pt x="3085" y="1636"/>
                        <a:pt x="3061" y="1641"/>
                        <a:pt x="3037" y="1647"/>
                      </a:cubicBezTo>
                      <a:lnTo>
                        <a:pt x="3214" y="1918"/>
                      </a:lnTo>
                      <a:lnTo>
                        <a:pt x="2725" y="1660"/>
                      </a:lnTo>
                      <a:cubicBezTo>
                        <a:pt x="2691" y="1653"/>
                        <a:pt x="2656" y="1644"/>
                        <a:pt x="2623" y="1630"/>
                      </a:cubicBezTo>
                      <a:cubicBezTo>
                        <a:pt x="2586" y="1613"/>
                        <a:pt x="2534" y="1599"/>
                        <a:pt x="2500" y="1589"/>
                      </a:cubicBezTo>
                      <a:lnTo>
                        <a:pt x="2442" y="1572"/>
                      </a:lnTo>
                      <a:cubicBezTo>
                        <a:pt x="2370" y="1548"/>
                        <a:pt x="2308" y="1518"/>
                        <a:pt x="2258" y="1480"/>
                      </a:cubicBezTo>
                      <a:cubicBezTo>
                        <a:pt x="2254" y="1483"/>
                        <a:pt x="2248" y="1486"/>
                        <a:pt x="2244" y="1489"/>
                      </a:cubicBezTo>
                      <a:cubicBezTo>
                        <a:pt x="2226" y="1680"/>
                        <a:pt x="2020" y="1822"/>
                        <a:pt x="1860" y="1876"/>
                      </a:cubicBezTo>
                      <a:lnTo>
                        <a:pt x="2103" y="4624"/>
                      </a:lnTo>
                      <a:lnTo>
                        <a:pt x="1975" y="4712"/>
                      </a:lnTo>
                      <a:cubicBezTo>
                        <a:pt x="1975" y="4712"/>
                        <a:pt x="1947" y="4731"/>
                        <a:pt x="1920" y="4749"/>
                      </a:cubicBezTo>
                      <a:cubicBezTo>
                        <a:pt x="1902" y="4829"/>
                        <a:pt x="1858" y="4904"/>
                        <a:pt x="1813" y="4976"/>
                      </a:cubicBezTo>
                      <a:lnTo>
                        <a:pt x="1727" y="5114"/>
                      </a:lnTo>
                      <a:lnTo>
                        <a:pt x="1526" y="5146"/>
                      </a:lnTo>
                      <a:cubicBezTo>
                        <a:pt x="1503" y="5146"/>
                        <a:pt x="1481" y="5143"/>
                        <a:pt x="1462" y="5140"/>
                      </a:cubicBezTo>
                      <a:cubicBezTo>
                        <a:pt x="1450" y="5165"/>
                        <a:pt x="1436" y="5189"/>
                        <a:pt x="1418" y="5212"/>
                      </a:cubicBezTo>
                      <a:lnTo>
                        <a:pt x="1330" y="5329"/>
                      </a:lnTo>
                      <a:lnTo>
                        <a:pt x="1130" y="5352"/>
                      </a:lnTo>
                      <a:cubicBezTo>
                        <a:pt x="1117" y="5352"/>
                        <a:pt x="1105" y="5351"/>
                        <a:pt x="1093" y="5350"/>
                      </a:cubicBezTo>
                      <a:cubicBezTo>
                        <a:pt x="1027" y="5445"/>
                        <a:pt x="928" y="5476"/>
                        <a:pt x="873" y="5494"/>
                      </a:cubicBezTo>
                      <a:cubicBezTo>
                        <a:pt x="843" y="5503"/>
                        <a:pt x="799" y="5517"/>
                        <a:pt x="730" y="5550"/>
                      </a:cubicBezTo>
                      <a:cubicBezTo>
                        <a:pt x="622" y="5602"/>
                        <a:pt x="517" y="5681"/>
                        <a:pt x="460" y="5727"/>
                      </a:cubicBezTo>
                      <a:cubicBezTo>
                        <a:pt x="456" y="5741"/>
                        <a:pt x="453" y="5755"/>
                        <a:pt x="452" y="5764"/>
                      </a:cubicBezTo>
                      <a:cubicBezTo>
                        <a:pt x="445" y="5825"/>
                        <a:pt x="421" y="5876"/>
                        <a:pt x="395" y="5918"/>
                      </a:cubicBezTo>
                      <a:cubicBezTo>
                        <a:pt x="420" y="6008"/>
                        <a:pt x="408" y="6120"/>
                        <a:pt x="313" y="6211"/>
                      </a:cubicBezTo>
                      <a:cubicBezTo>
                        <a:pt x="308" y="6239"/>
                        <a:pt x="300" y="6274"/>
                        <a:pt x="287" y="6316"/>
                      </a:cubicBezTo>
                      <a:cubicBezTo>
                        <a:pt x="234" y="6468"/>
                        <a:pt x="108" y="6546"/>
                        <a:pt x="32" y="6592"/>
                      </a:cubicBezTo>
                      <a:cubicBezTo>
                        <a:pt x="29" y="6594"/>
                        <a:pt x="28" y="6595"/>
                        <a:pt x="26" y="6596"/>
                      </a:cubicBezTo>
                      <a:cubicBezTo>
                        <a:pt x="24" y="6626"/>
                        <a:pt x="21" y="6661"/>
                        <a:pt x="13" y="6705"/>
                      </a:cubicBezTo>
                      <a:cubicBezTo>
                        <a:pt x="-2" y="6790"/>
                        <a:pt x="-1" y="6871"/>
                        <a:pt x="2" y="6913"/>
                      </a:cubicBezTo>
                      <a:lnTo>
                        <a:pt x="99" y="6904"/>
                      </a:lnTo>
                      <a:cubicBezTo>
                        <a:pt x="202" y="6904"/>
                        <a:pt x="289" y="6940"/>
                        <a:pt x="340" y="6962"/>
                      </a:cubicBezTo>
                      <a:cubicBezTo>
                        <a:pt x="476" y="7015"/>
                        <a:pt x="624" y="7157"/>
                        <a:pt x="650" y="7324"/>
                      </a:cubicBezTo>
                      <a:cubicBezTo>
                        <a:pt x="666" y="7341"/>
                        <a:pt x="681" y="7360"/>
                        <a:pt x="698" y="7382"/>
                      </a:cubicBezTo>
                      <a:cubicBezTo>
                        <a:pt x="730" y="7428"/>
                        <a:pt x="768" y="7449"/>
                        <a:pt x="818" y="7474"/>
                      </a:cubicBezTo>
                      <a:cubicBezTo>
                        <a:pt x="1019" y="7575"/>
                        <a:pt x="1020" y="7787"/>
                        <a:pt x="1020" y="7888"/>
                      </a:cubicBezTo>
                      <a:cubicBezTo>
                        <a:pt x="1035" y="7961"/>
                        <a:pt x="1041" y="8091"/>
                        <a:pt x="896" y="8209"/>
                      </a:cubicBezTo>
                      <a:cubicBezTo>
                        <a:pt x="882" y="8250"/>
                        <a:pt x="858" y="8285"/>
                        <a:pt x="832" y="8313"/>
                      </a:cubicBezTo>
                      <a:cubicBezTo>
                        <a:pt x="845" y="8442"/>
                        <a:pt x="772" y="8532"/>
                        <a:pt x="684" y="8641"/>
                      </a:cubicBezTo>
                      <a:lnTo>
                        <a:pt x="643" y="8692"/>
                      </a:lnTo>
                      <a:lnTo>
                        <a:pt x="657" y="8739"/>
                      </a:lnTo>
                      <a:lnTo>
                        <a:pt x="650" y="8764"/>
                      </a:lnTo>
                      <a:cubicBezTo>
                        <a:pt x="667" y="8799"/>
                        <a:pt x="682" y="8843"/>
                        <a:pt x="688" y="8896"/>
                      </a:cubicBezTo>
                      <a:cubicBezTo>
                        <a:pt x="692" y="8930"/>
                        <a:pt x="693" y="8993"/>
                        <a:pt x="664" y="9059"/>
                      </a:cubicBezTo>
                      <a:cubicBezTo>
                        <a:pt x="692" y="9130"/>
                        <a:pt x="689" y="9194"/>
                        <a:pt x="683" y="9236"/>
                      </a:cubicBezTo>
                      <a:cubicBezTo>
                        <a:pt x="714" y="9293"/>
                        <a:pt x="738" y="9343"/>
                        <a:pt x="751" y="9401"/>
                      </a:cubicBezTo>
                      <a:cubicBezTo>
                        <a:pt x="783" y="9539"/>
                        <a:pt x="707" y="9645"/>
                        <a:pt x="632" y="9724"/>
                      </a:cubicBezTo>
                      <a:cubicBezTo>
                        <a:pt x="666" y="9757"/>
                        <a:pt x="692" y="9793"/>
                        <a:pt x="709" y="9838"/>
                      </a:cubicBezTo>
                      <a:cubicBezTo>
                        <a:pt x="747" y="9932"/>
                        <a:pt x="725" y="10019"/>
                        <a:pt x="714" y="10066"/>
                      </a:cubicBezTo>
                      <a:cubicBezTo>
                        <a:pt x="712" y="10070"/>
                        <a:pt x="730" y="10100"/>
                        <a:pt x="747" y="10130"/>
                      </a:cubicBezTo>
                      <a:cubicBezTo>
                        <a:pt x="785" y="10200"/>
                        <a:pt x="822" y="10267"/>
                        <a:pt x="835" y="10339"/>
                      </a:cubicBezTo>
                      <a:cubicBezTo>
                        <a:pt x="855" y="10437"/>
                        <a:pt x="822" y="10525"/>
                        <a:pt x="779" y="10593"/>
                      </a:cubicBezTo>
                      <a:cubicBezTo>
                        <a:pt x="829" y="10733"/>
                        <a:pt x="778" y="10900"/>
                        <a:pt x="738" y="10995"/>
                      </a:cubicBezTo>
                      <a:cubicBezTo>
                        <a:pt x="732" y="11073"/>
                        <a:pt x="726" y="11124"/>
                        <a:pt x="706" y="11172"/>
                      </a:cubicBezTo>
                      <a:close/>
                      <a:moveTo>
                        <a:pt x="706" y="11172"/>
                      </a:moveTo>
                    </a:path>
                  </a:pathLst>
                </a:custGeom>
                <a:solidFill>
                  <a:schemeClr val="accent2">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513F3A"/>
                    </a:solidFill>
                    <a:effectLst/>
                    <a:uLnTx/>
                    <a:uFillTx/>
                    <a:latin typeface="Arial"/>
                    <a:ea typeface="Arial"/>
                    <a:cs typeface="Arial"/>
                    <a:sym typeface="Arial"/>
                  </a:endParaRPr>
                </a:p>
              </p:txBody>
            </p:sp>
            <p:sp>
              <p:nvSpPr>
                <p:cNvPr id="90" name="Google Shape;406;p54">
                  <a:extLst>
                    <a:ext uri="{FF2B5EF4-FFF2-40B4-BE49-F238E27FC236}">
                      <a16:creationId xmlns:a16="http://schemas.microsoft.com/office/drawing/2014/main" id="{93596AC1-E86F-4FC0-84BD-C920046140D1}"/>
                    </a:ext>
                  </a:extLst>
                </p:cNvPr>
                <p:cNvSpPr/>
                <p:nvPr/>
              </p:nvSpPr>
              <p:spPr>
                <a:xfrm>
                  <a:off x="4731457" y="3220250"/>
                  <a:ext cx="845478" cy="711828"/>
                </a:xfrm>
                <a:custGeom>
                  <a:avLst/>
                  <a:gdLst/>
                  <a:ahLst/>
                  <a:cxnLst/>
                  <a:rect l="l" t="t" r="r" b="b"/>
                  <a:pathLst>
                    <a:path w="21600" h="21600" extrusionOk="0">
                      <a:moveTo>
                        <a:pt x="21587" y="17015"/>
                      </a:moveTo>
                      <a:cubicBezTo>
                        <a:pt x="21591" y="16985"/>
                        <a:pt x="21595" y="16946"/>
                        <a:pt x="21599" y="16906"/>
                      </a:cubicBezTo>
                      <a:cubicBezTo>
                        <a:pt x="21599" y="16901"/>
                        <a:pt x="21599" y="16897"/>
                        <a:pt x="21600" y="16891"/>
                      </a:cubicBezTo>
                      <a:lnTo>
                        <a:pt x="21505" y="16874"/>
                      </a:lnTo>
                      <a:cubicBezTo>
                        <a:pt x="21481" y="16866"/>
                        <a:pt x="21452" y="16852"/>
                        <a:pt x="21424" y="16828"/>
                      </a:cubicBezTo>
                      <a:lnTo>
                        <a:pt x="21269" y="16850"/>
                      </a:lnTo>
                      <a:cubicBezTo>
                        <a:pt x="21168" y="16850"/>
                        <a:pt x="21087" y="16786"/>
                        <a:pt x="20994" y="16711"/>
                      </a:cubicBezTo>
                      <a:cubicBezTo>
                        <a:pt x="20932" y="16664"/>
                        <a:pt x="20923" y="16661"/>
                        <a:pt x="20901" y="16655"/>
                      </a:cubicBezTo>
                      <a:cubicBezTo>
                        <a:pt x="20865" y="16644"/>
                        <a:pt x="20805" y="16627"/>
                        <a:pt x="20743" y="16564"/>
                      </a:cubicBezTo>
                      <a:cubicBezTo>
                        <a:pt x="20639" y="16458"/>
                        <a:pt x="20639" y="16316"/>
                        <a:pt x="20652" y="16225"/>
                      </a:cubicBezTo>
                      <a:cubicBezTo>
                        <a:pt x="20642" y="16214"/>
                        <a:pt x="20632" y="16203"/>
                        <a:pt x="20623" y="16192"/>
                      </a:cubicBezTo>
                      <a:cubicBezTo>
                        <a:pt x="20547" y="16105"/>
                        <a:pt x="20434" y="15893"/>
                        <a:pt x="20398" y="15797"/>
                      </a:cubicBezTo>
                      <a:cubicBezTo>
                        <a:pt x="20375" y="15747"/>
                        <a:pt x="20345" y="15679"/>
                        <a:pt x="20331" y="15599"/>
                      </a:cubicBezTo>
                      <a:cubicBezTo>
                        <a:pt x="20225" y="15527"/>
                        <a:pt x="20076" y="15362"/>
                        <a:pt x="20150" y="15027"/>
                      </a:cubicBezTo>
                      <a:cubicBezTo>
                        <a:pt x="20186" y="14854"/>
                        <a:pt x="20292" y="14773"/>
                        <a:pt x="20380" y="14732"/>
                      </a:cubicBezTo>
                      <a:cubicBezTo>
                        <a:pt x="20371" y="14678"/>
                        <a:pt x="20350" y="14619"/>
                        <a:pt x="20221" y="14449"/>
                      </a:cubicBezTo>
                      <a:cubicBezTo>
                        <a:pt x="20047" y="14219"/>
                        <a:pt x="19949" y="13883"/>
                        <a:pt x="19979" y="13736"/>
                      </a:cubicBezTo>
                      <a:cubicBezTo>
                        <a:pt x="19985" y="13706"/>
                        <a:pt x="19994" y="13680"/>
                        <a:pt x="20005" y="13658"/>
                      </a:cubicBezTo>
                      <a:cubicBezTo>
                        <a:pt x="19968" y="13584"/>
                        <a:pt x="19952" y="13506"/>
                        <a:pt x="19945" y="13439"/>
                      </a:cubicBezTo>
                      <a:cubicBezTo>
                        <a:pt x="19824" y="13401"/>
                        <a:pt x="19762" y="13339"/>
                        <a:pt x="19725" y="13292"/>
                      </a:cubicBezTo>
                      <a:cubicBezTo>
                        <a:pt x="19719" y="13293"/>
                        <a:pt x="19713" y="13294"/>
                        <a:pt x="19707" y="13294"/>
                      </a:cubicBezTo>
                      <a:lnTo>
                        <a:pt x="19657" y="13294"/>
                      </a:lnTo>
                      <a:lnTo>
                        <a:pt x="19592" y="13263"/>
                      </a:lnTo>
                      <a:cubicBezTo>
                        <a:pt x="19485" y="13200"/>
                        <a:pt x="19443" y="13071"/>
                        <a:pt x="19429" y="12963"/>
                      </a:cubicBezTo>
                      <a:cubicBezTo>
                        <a:pt x="19399" y="12942"/>
                        <a:pt x="19363" y="12913"/>
                        <a:pt x="19318" y="12871"/>
                      </a:cubicBezTo>
                      <a:cubicBezTo>
                        <a:pt x="19308" y="12865"/>
                        <a:pt x="19228" y="12827"/>
                        <a:pt x="19192" y="12813"/>
                      </a:cubicBezTo>
                      <a:cubicBezTo>
                        <a:pt x="19110" y="12799"/>
                        <a:pt x="19058" y="12739"/>
                        <a:pt x="19025" y="12684"/>
                      </a:cubicBezTo>
                      <a:cubicBezTo>
                        <a:pt x="18953" y="12751"/>
                        <a:pt x="18858" y="12800"/>
                        <a:pt x="18762" y="12800"/>
                      </a:cubicBezTo>
                      <a:lnTo>
                        <a:pt x="18652" y="12778"/>
                      </a:lnTo>
                      <a:cubicBezTo>
                        <a:pt x="18484" y="12709"/>
                        <a:pt x="18386" y="12466"/>
                        <a:pt x="18364" y="12329"/>
                      </a:cubicBezTo>
                      <a:cubicBezTo>
                        <a:pt x="18319" y="12296"/>
                        <a:pt x="18291" y="12254"/>
                        <a:pt x="18278" y="12235"/>
                      </a:cubicBezTo>
                      <a:cubicBezTo>
                        <a:pt x="18240" y="12207"/>
                        <a:pt x="18200" y="12178"/>
                        <a:pt x="18167" y="12131"/>
                      </a:cubicBezTo>
                      <a:cubicBezTo>
                        <a:pt x="18144" y="12124"/>
                        <a:pt x="18118" y="12118"/>
                        <a:pt x="18094" y="12112"/>
                      </a:cubicBezTo>
                      <a:lnTo>
                        <a:pt x="18045" y="12099"/>
                      </a:lnTo>
                      <a:cubicBezTo>
                        <a:pt x="17996" y="12086"/>
                        <a:pt x="17895" y="12043"/>
                        <a:pt x="17851" y="11916"/>
                      </a:cubicBezTo>
                      <a:cubicBezTo>
                        <a:pt x="17812" y="11908"/>
                        <a:pt x="17774" y="11893"/>
                        <a:pt x="17738" y="11871"/>
                      </a:cubicBezTo>
                      <a:cubicBezTo>
                        <a:pt x="17617" y="11793"/>
                        <a:pt x="17440" y="11589"/>
                        <a:pt x="17351" y="11449"/>
                      </a:cubicBezTo>
                      <a:cubicBezTo>
                        <a:pt x="17325" y="11441"/>
                        <a:pt x="17295" y="11429"/>
                        <a:pt x="17263" y="11408"/>
                      </a:cubicBezTo>
                      <a:cubicBezTo>
                        <a:pt x="17109" y="11309"/>
                        <a:pt x="17000" y="11087"/>
                        <a:pt x="16931" y="10728"/>
                      </a:cubicBezTo>
                      <a:cubicBezTo>
                        <a:pt x="16855" y="10335"/>
                        <a:pt x="17045" y="9997"/>
                        <a:pt x="17137" y="9835"/>
                      </a:cubicBezTo>
                      <a:cubicBezTo>
                        <a:pt x="17163" y="9778"/>
                        <a:pt x="17165" y="9704"/>
                        <a:pt x="17166" y="9654"/>
                      </a:cubicBezTo>
                      <a:cubicBezTo>
                        <a:pt x="17167" y="9574"/>
                        <a:pt x="17169" y="9492"/>
                        <a:pt x="17182" y="9418"/>
                      </a:cubicBezTo>
                      <a:cubicBezTo>
                        <a:pt x="17200" y="9303"/>
                        <a:pt x="17256" y="9198"/>
                        <a:pt x="17311" y="9098"/>
                      </a:cubicBezTo>
                      <a:cubicBezTo>
                        <a:pt x="17348" y="9030"/>
                        <a:pt x="17404" y="8928"/>
                        <a:pt x="17405" y="8880"/>
                      </a:cubicBezTo>
                      <a:cubicBezTo>
                        <a:pt x="17408" y="8823"/>
                        <a:pt x="17365" y="8759"/>
                        <a:pt x="17333" y="8712"/>
                      </a:cubicBezTo>
                      <a:cubicBezTo>
                        <a:pt x="17307" y="8672"/>
                        <a:pt x="17279" y="8631"/>
                        <a:pt x="17263" y="8574"/>
                      </a:cubicBezTo>
                      <a:cubicBezTo>
                        <a:pt x="17239" y="8484"/>
                        <a:pt x="17234" y="8350"/>
                        <a:pt x="17354" y="8212"/>
                      </a:cubicBezTo>
                      <a:cubicBezTo>
                        <a:pt x="17362" y="8166"/>
                        <a:pt x="17379" y="8117"/>
                        <a:pt x="17398" y="8080"/>
                      </a:cubicBezTo>
                      <a:cubicBezTo>
                        <a:pt x="17423" y="8031"/>
                        <a:pt x="17454" y="7992"/>
                        <a:pt x="17487" y="7955"/>
                      </a:cubicBezTo>
                      <a:cubicBezTo>
                        <a:pt x="17418" y="7916"/>
                        <a:pt x="17278" y="7821"/>
                        <a:pt x="17204" y="7768"/>
                      </a:cubicBezTo>
                      <a:cubicBezTo>
                        <a:pt x="17183" y="7770"/>
                        <a:pt x="17163" y="7771"/>
                        <a:pt x="17142" y="7772"/>
                      </a:cubicBezTo>
                      <a:cubicBezTo>
                        <a:pt x="17120" y="7772"/>
                        <a:pt x="17096" y="7771"/>
                        <a:pt x="17068" y="7768"/>
                      </a:cubicBezTo>
                      <a:cubicBezTo>
                        <a:pt x="16918" y="7754"/>
                        <a:pt x="16830" y="7677"/>
                        <a:pt x="16786" y="7636"/>
                      </a:cubicBezTo>
                      <a:lnTo>
                        <a:pt x="16777" y="7636"/>
                      </a:lnTo>
                      <a:cubicBezTo>
                        <a:pt x="16764" y="7636"/>
                        <a:pt x="16751" y="7636"/>
                        <a:pt x="16738" y="7634"/>
                      </a:cubicBezTo>
                      <a:cubicBezTo>
                        <a:pt x="16698" y="7797"/>
                        <a:pt x="16568" y="7979"/>
                        <a:pt x="16454" y="8072"/>
                      </a:cubicBezTo>
                      <a:cubicBezTo>
                        <a:pt x="16395" y="8120"/>
                        <a:pt x="16330" y="8144"/>
                        <a:pt x="16262" y="8144"/>
                      </a:cubicBezTo>
                      <a:cubicBezTo>
                        <a:pt x="16119" y="8144"/>
                        <a:pt x="16016" y="8040"/>
                        <a:pt x="15917" y="7938"/>
                      </a:cubicBezTo>
                      <a:lnTo>
                        <a:pt x="15879" y="7900"/>
                      </a:lnTo>
                      <a:cubicBezTo>
                        <a:pt x="15716" y="7737"/>
                        <a:pt x="15696" y="7512"/>
                        <a:pt x="15687" y="7405"/>
                      </a:cubicBezTo>
                      <a:cubicBezTo>
                        <a:pt x="15689" y="7403"/>
                        <a:pt x="15668" y="7373"/>
                        <a:pt x="15648" y="7342"/>
                      </a:cubicBezTo>
                      <a:cubicBezTo>
                        <a:pt x="15600" y="7268"/>
                        <a:pt x="15569" y="7219"/>
                        <a:pt x="15548" y="7168"/>
                      </a:cubicBezTo>
                      <a:cubicBezTo>
                        <a:pt x="15493" y="7038"/>
                        <a:pt x="15528" y="6904"/>
                        <a:pt x="15578" y="6800"/>
                      </a:cubicBezTo>
                      <a:cubicBezTo>
                        <a:pt x="15556" y="6766"/>
                        <a:pt x="15539" y="6733"/>
                        <a:pt x="15526" y="6697"/>
                      </a:cubicBezTo>
                      <a:cubicBezTo>
                        <a:pt x="15493" y="6604"/>
                        <a:pt x="15441" y="6357"/>
                        <a:pt x="15415" y="6221"/>
                      </a:cubicBezTo>
                      <a:cubicBezTo>
                        <a:pt x="15380" y="6194"/>
                        <a:pt x="15356" y="6163"/>
                        <a:pt x="15335" y="6136"/>
                      </a:cubicBezTo>
                      <a:cubicBezTo>
                        <a:pt x="15323" y="6120"/>
                        <a:pt x="15310" y="6101"/>
                        <a:pt x="15293" y="6082"/>
                      </a:cubicBezTo>
                      <a:cubicBezTo>
                        <a:pt x="15247" y="6031"/>
                        <a:pt x="14893" y="5714"/>
                        <a:pt x="14796" y="5631"/>
                      </a:cubicBezTo>
                      <a:cubicBezTo>
                        <a:pt x="14752" y="5594"/>
                        <a:pt x="14668" y="5552"/>
                        <a:pt x="14597" y="5513"/>
                      </a:cubicBezTo>
                      <a:cubicBezTo>
                        <a:pt x="14530" y="5477"/>
                        <a:pt x="14469" y="5444"/>
                        <a:pt x="14437" y="5420"/>
                      </a:cubicBezTo>
                      <a:cubicBezTo>
                        <a:pt x="14299" y="5322"/>
                        <a:pt x="14280" y="5161"/>
                        <a:pt x="14273" y="5101"/>
                      </a:cubicBezTo>
                      <a:lnTo>
                        <a:pt x="14272" y="5101"/>
                      </a:lnTo>
                      <a:cubicBezTo>
                        <a:pt x="14269" y="5101"/>
                        <a:pt x="14248" y="5070"/>
                        <a:pt x="14227" y="5039"/>
                      </a:cubicBezTo>
                      <a:cubicBezTo>
                        <a:pt x="14181" y="5035"/>
                        <a:pt x="14135" y="5028"/>
                        <a:pt x="14088" y="5009"/>
                      </a:cubicBezTo>
                      <a:cubicBezTo>
                        <a:pt x="13957" y="4955"/>
                        <a:pt x="13907" y="4825"/>
                        <a:pt x="13885" y="4719"/>
                      </a:cubicBezTo>
                      <a:cubicBezTo>
                        <a:pt x="13811" y="4698"/>
                        <a:pt x="13765" y="4636"/>
                        <a:pt x="13698" y="4549"/>
                      </a:cubicBezTo>
                      <a:cubicBezTo>
                        <a:pt x="13666" y="4507"/>
                        <a:pt x="13627" y="4456"/>
                        <a:pt x="13586" y="4408"/>
                      </a:cubicBezTo>
                      <a:cubicBezTo>
                        <a:pt x="13528" y="4344"/>
                        <a:pt x="13439" y="4274"/>
                        <a:pt x="13378" y="4225"/>
                      </a:cubicBezTo>
                      <a:cubicBezTo>
                        <a:pt x="13317" y="4176"/>
                        <a:pt x="13289" y="4153"/>
                        <a:pt x="13265" y="4121"/>
                      </a:cubicBezTo>
                      <a:cubicBezTo>
                        <a:pt x="13188" y="4029"/>
                        <a:pt x="13196" y="3910"/>
                        <a:pt x="13203" y="3795"/>
                      </a:cubicBezTo>
                      <a:cubicBezTo>
                        <a:pt x="13205" y="3777"/>
                        <a:pt x="13206" y="3752"/>
                        <a:pt x="13207" y="3728"/>
                      </a:cubicBezTo>
                      <a:cubicBezTo>
                        <a:pt x="13196" y="3720"/>
                        <a:pt x="13184" y="3710"/>
                        <a:pt x="13171" y="3701"/>
                      </a:cubicBezTo>
                      <a:cubicBezTo>
                        <a:pt x="13109" y="3651"/>
                        <a:pt x="13031" y="3590"/>
                        <a:pt x="12966" y="3500"/>
                      </a:cubicBezTo>
                      <a:cubicBezTo>
                        <a:pt x="12897" y="3406"/>
                        <a:pt x="12865" y="3304"/>
                        <a:pt x="12872" y="3199"/>
                      </a:cubicBezTo>
                      <a:cubicBezTo>
                        <a:pt x="12877" y="3122"/>
                        <a:pt x="12900" y="3060"/>
                        <a:pt x="12929" y="3013"/>
                      </a:cubicBezTo>
                      <a:cubicBezTo>
                        <a:pt x="12925" y="3007"/>
                        <a:pt x="12921" y="3001"/>
                        <a:pt x="12917" y="2995"/>
                      </a:cubicBezTo>
                      <a:lnTo>
                        <a:pt x="12836" y="2864"/>
                      </a:lnTo>
                      <a:cubicBezTo>
                        <a:pt x="12757" y="2733"/>
                        <a:pt x="12702" y="2643"/>
                        <a:pt x="12706" y="2479"/>
                      </a:cubicBezTo>
                      <a:cubicBezTo>
                        <a:pt x="12675" y="2395"/>
                        <a:pt x="12643" y="2249"/>
                        <a:pt x="12601" y="1958"/>
                      </a:cubicBezTo>
                      <a:cubicBezTo>
                        <a:pt x="12588" y="1868"/>
                        <a:pt x="12584" y="1781"/>
                        <a:pt x="12582" y="1696"/>
                      </a:cubicBezTo>
                      <a:cubicBezTo>
                        <a:pt x="12582" y="1670"/>
                        <a:pt x="12583" y="1645"/>
                        <a:pt x="12584" y="1618"/>
                      </a:cubicBezTo>
                      <a:cubicBezTo>
                        <a:pt x="12585" y="1560"/>
                        <a:pt x="12588" y="1503"/>
                        <a:pt x="12594" y="1448"/>
                      </a:cubicBezTo>
                      <a:cubicBezTo>
                        <a:pt x="12596" y="1421"/>
                        <a:pt x="12599" y="1396"/>
                        <a:pt x="12602" y="1371"/>
                      </a:cubicBezTo>
                      <a:cubicBezTo>
                        <a:pt x="12609" y="1315"/>
                        <a:pt x="12619" y="1264"/>
                        <a:pt x="12629" y="1213"/>
                      </a:cubicBezTo>
                      <a:cubicBezTo>
                        <a:pt x="12633" y="1193"/>
                        <a:pt x="12637" y="1173"/>
                        <a:pt x="12641" y="1154"/>
                      </a:cubicBezTo>
                      <a:cubicBezTo>
                        <a:pt x="12656" y="1088"/>
                        <a:pt x="12673" y="1026"/>
                        <a:pt x="12691" y="970"/>
                      </a:cubicBezTo>
                      <a:cubicBezTo>
                        <a:pt x="12692" y="968"/>
                        <a:pt x="12692" y="966"/>
                        <a:pt x="12693" y="964"/>
                      </a:cubicBezTo>
                      <a:cubicBezTo>
                        <a:pt x="12687" y="958"/>
                        <a:pt x="12680" y="952"/>
                        <a:pt x="12675" y="946"/>
                      </a:cubicBezTo>
                      <a:lnTo>
                        <a:pt x="12624" y="940"/>
                      </a:lnTo>
                      <a:lnTo>
                        <a:pt x="12528" y="815"/>
                      </a:lnTo>
                      <a:cubicBezTo>
                        <a:pt x="12509" y="780"/>
                        <a:pt x="12498" y="744"/>
                        <a:pt x="12490" y="706"/>
                      </a:cubicBezTo>
                      <a:lnTo>
                        <a:pt x="12430" y="706"/>
                      </a:lnTo>
                      <a:lnTo>
                        <a:pt x="12323" y="581"/>
                      </a:lnTo>
                      <a:cubicBezTo>
                        <a:pt x="12295" y="536"/>
                        <a:pt x="12283" y="487"/>
                        <a:pt x="12276" y="451"/>
                      </a:cubicBezTo>
                      <a:cubicBezTo>
                        <a:pt x="12231" y="421"/>
                        <a:pt x="12173" y="375"/>
                        <a:pt x="12143" y="296"/>
                      </a:cubicBezTo>
                      <a:cubicBezTo>
                        <a:pt x="11976" y="270"/>
                        <a:pt x="11933" y="134"/>
                        <a:pt x="11923" y="72"/>
                      </a:cubicBezTo>
                      <a:cubicBezTo>
                        <a:pt x="11921" y="64"/>
                        <a:pt x="11920" y="53"/>
                        <a:pt x="11918" y="42"/>
                      </a:cubicBezTo>
                      <a:cubicBezTo>
                        <a:pt x="11903" y="30"/>
                        <a:pt x="11888" y="17"/>
                        <a:pt x="11873" y="0"/>
                      </a:cubicBezTo>
                      <a:cubicBezTo>
                        <a:pt x="11416" y="72"/>
                        <a:pt x="10953" y="141"/>
                        <a:pt x="10486" y="206"/>
                      </a:cubicBezTo>
                      <a:cubicBezTo>
                        <a:pt x="10321" y="229"/>
                        <a:pt x="10154" y="249"/>
                        <a:pt x="9988" y="271"/>
                      </a:cubicBezTo>
                      <a:cubicBezTo>
                        <a:pt x="9682" y="312"/>
                        <a:pt x="9377" y="353"/>
                        <a:pt x="9067" y="391"/>
                      </a:cubicBezTo>
                      <a:cubicBezTo>
                        <a:pt x="8868" y="415"/>
                        <a:pt x="8664" y="437"/>
                        <a:pt x="8462" y="460"/>
                      </a:cubicBezTo>
                      <a:cubicBezTo>
                        <a:pt x="8181" y="492"/>
                        <a:pt x="7901" y="525"/>
                        <a:pt x="7615" y="555"/>
                      </a:cubicBezTo>
                      <a:cubicBezTo>
                        <a:pt x="7398" y="578"/>
                        <a:pt x="7176" y="598"/>
                        <a:pt x="6956" y="620"/>
                      </a:cubicBezTo>
                      <a:cubicBezTo>
                        <a:pt x="6681" y="647"/>
                        <a:pt x="6407" y="674"/>
                        <a:pt x="6128" y="699"/>
                      </a:cubicBezTo>
                      <a:cubicBezTo>
                        <a:pt x="5898" y="720"/>
                        <a:pt x="5664" y="738"/>
                        <a:pt x="5432" y="757"/>
                      </a:cubicBezTo>
                      <a:cubicBezTo>
                        <a:pt x="5156" y="779"/>
                        <a:pt x="4880" y="802"/>
                        <a:pt x="4600" y="823"/>
                      </a:cubicBezTo>
                      <a:cubicBezTo>
                        <a:pt x="4360" y="841"/>
                        <a:pt x="4116" y="856"/>
                        <a:pt x="3874" y="873"/>
                      </a:cubicBezTo>
                      <a:cubicBezTo>
                        <a:pt x="3595" y="891"/>
                        <a:pt x="3317" y="910"/>
                        <a:pt x="3035" y="927"/>
                      </a:cubicBezTo>
                      <a:cubicBezTo>
                        <a:pt x="2785" y="942"/>
                        <a:pt x="2530" y="955"/>
                        <a:pt x="2276" y="968"/>
                      </a:cubicBezTo>
                      <a:cubicBezTo>
                        <a:pt x="1993" y="983"/>
                        <a:pt x="1710" y="998"/>
                        <a:pt x="1423" y="1011"/>
                      </a:cubicBezTo>
                      <a:cubicBezTo>
                        <a:pt x="1164" y="1023"/>
                        <a:pt x="900" y="1033"/>
                        <a:pt x="638" y="1043"/>
                      </a:cubicBezTo>
                      <a:cubicBezTo>
                        <a:pt x="439" y="1051"/>
                        <a:pt x="245" y="1061"/>
                        <a:pt x="45" y="1068"/>
                      </a:cubicBezTo>
                      <a:cubicBezTo>
                        <a:pt x="47" y="1090"/>
                        <a:pt x="47" y="1111"/>
                        <a:pt x="46" y="1127"/>
                      </a:cubicBezTo>
                      <a:cubicBezTo>
                        <a:pt x="43" y="1190"/>
                        <a:pt x="24" y="1241"/>
                        <a:pt x="0" y="1283"/>
                      </a:cubicBezTo>
                      <a:cubicBezTo>
                        <a:pt x="46" y="1334"/>
                        <a:pt x="92" y="1419"/>
                        <a:pt x="92" y="1561"/>
                      </a:cubicBezTo>
                      <a:lnTo>
                        <a:pt x="92" y="1686"/>
                      </a:lnTo>
                      <a:cubicBezTo>
                        <a:pt x="107" y="1728"/>
                        <a:pt x="113" y="1770"/>
                        <a:pt x="115" y="1806"/>
                      </a:cubicBezTo>
                      <a:cubicBezTo>
                        <a:pt x="142" y="1841"/>
                        <a:pt x="167" y="1889"/>
                        <a:pt x="177" y="1950"/>
                      </a:cubicBezTo>
                      <a:cubicBezTo>
                        <a:pt x="239" y="1979"/>
                        <a:pt x="285" y="2014"/>
                        <a:pt x="305" y="2032"/>
                      </a:cubicBezTo>
                      <a:cubicBezTo>
                        <a:pt x="356" y="2080"/>
                        <a:pt x="381" y="2137"/>
                        <a:pt x="393" y="2192"/>
                      </a:cubicBezTo>
                      <a:cubicBezTo>
                        <a:pt x="509" y="2212"/>
                        <a:pt x="596" y="2280"/>
                        <a:pt x="652" y="2395"/>
                      </a:cubicBezTo>
                      <a:cubicBezTo>
                        <a:pt x="698" y="2488"/>
                        <a:pt x="693" y="2581"/>
                        <a:pt x="675" y="2655"/>
                      </a:cubicBezTo>
                      <a:lnTo>
                        <a:pt x="731" y="2713"/>
                      </a:lnTo>
                      <a:cubicBezTo>
                        <a:pt x="751" y="2743"/>
                        <a:pt x="764" y="2772"/>
                        <a:pt x="773" y="2799"/>
                      </a:cubicBezTo>
                      <a:lnTo>
                        <a:pt x="806" y="2814"/>
                      </a:lnTo>
                      <a:cubicBezTo>
                        <a:pt x="938" y="2900"/>
                        <a:pt x="951" y="3117"/>
                        <a:pt x="941" y="3266"/>
                      </a:cubicBezTo>
                      <a:cubicBezTo>
                        <a:pt x="973" y="3282"/>
                        <a:pt x="1002" y="3302"/>
                        <a:pt x="1027" y="3319"/>
                      </a:cubicBezTo>
                      <a:cubicBezTo>
                        <a:pt x="1047" y="3332"/>
                        <a:pt x="1061" y="3351"/>
                        <a:pt x="1078" y="3367"/>
                      </a:cubicBezTo>
                      <a:lnTo>
                        <a:pt x="1124" y="3365"/>
                      </a:lnTo>
                      <a:lnTo>
                        <a:pt x="1185" y="3529"/>
                      </a:lnTo>
                      <a:cubicBezTo>
                        <a:pt x="1188" y="3537"/>
                        <a:pt x="1190" y="3544"/>
                        <a:pt x="1193" y="3551"/>
                      </a:cubicBezTo>
                      <a:cubicBezTo>
                        <a:pt x="1233" y="3570"/>
                        <a:pt x="1275" y="3595"/>
                        <a:pt x="1310" y="3641"/>
                      </a:cubicBezTo>
                      <a:cubicBezTo>
                        <a:pt x="1465" y="3657"/>
                        <a:pt x="1527" y="3745"/>
                        <a:pt x="1556" y="3822"/>
                      </a:cubicBezTo>
                      <a:cubicBezTo>
                        <a:pt x="1580" y="3829"/>
                        <a:pt x="1603" y="3841"/>
                        <a:pt x="1625" y="3857"/>
                      </a:cubicBezTo>
                      <a:lnTo>
                        <a:pt x="1727" y="3960"/>
                      </a:lnTo>
                      <a:cubicBezTo>
                        <a:pt x="1763" y="3897"/>
                        <a:pt x="1830" y="3835"/>
                        <a:pt x="1957" y="3835"/>
                      </a:cubicBezTo>
                      <a:lnTo>
                        <a:pt x="2008" y="3825"/>
                      </a:lnTo>
                      <a:cubicBezTo>
                        <a:pt x="2171" y="3761"/>
                        <a:pt x="2292" y="3812"/>
                        <a:pt x="2375" y="3921"/>
                      </a:cubicBezTo>
                      <a:cubicBezTo>
                        <a:pt x="2428" y="3990"/>
                        <a:pt x="2448" y="4072"/>
                        <a:pt x="2444" y="4154"/>
                      </a:cubicBezTo>
                      <a:cubicBezTo>
                        <a:pt x="2510" y="4185"/>
                        <a:pt x="2562" y="4242"/>
                        <a:pt x="2593" y="4318"/>
                      </a:cubicBezTo>
                      <a:cubicBezTo>
                        <a:pt x="2621" y="4386"/>
                        <a:pt x="2625" y="4455"/>
                        <a:pt x="2620" y="4513"/>
                      </a:cubicBezTo>
                      <a:cubicBezTo>
                        <a:pt x="2660" y="4568"/>
                        <a:pt x="2685" y="4644"/>
                        <a:pt x="2685" y="4742"/>
                      </a:cubicBezTo>
                      <a:cubicBezTo>
                        <a:pt x="2685" y="4864"/>
                        <a:pt x="2619" y="4986"/>
                        <a:pt x="2564" y="5067"/>
                      </a:cubicBezTo>
                      <a:lnTo>
                        <a:pt x="2497" y="5164"/>
                      </a:lnTo>
                      <a:lnTo>
                        <a:pt x="2352" y="5179"/>
                      </a:lnTo>
                      <a:cubicBezTo>
                        <a:pt x="2348" y="5179"/>
                        <a:pt x="2344" y="5179"/>
                        <a:pt x="2339" y="5179"/>
                      </a:cubicBezTo>
                      <a:cubicBezTo>
                        <a:pt x="2331" y="5238"/>
                        <a:pt x="2320" y="5265"/>
                        <a:pt x="2313" y="5283"/>
                      </a:cubicBezTo>
                      <a:cubicBezTo>
                        <a:pt x="2271" y="5391"/>
                        <a:pt x="2191" y="5429"/>
                        <a:pt x="2123" y="5443"/>
                      </a:cubicBezTo>
                      <a:lnTo>
                        <a:pt x="2122" y="5445"/>
                      </a:lnTo>
                      <a:cubicBezTo>
                        <a:pt x="2126" y="5457"/>
                        <a:pt x="2129" y="5469"/>
                        <a:pt x="2132" y="5483"/>
                      </a:cubicBezTo>
                      <a:cubicBezTo>
                        <a:pt x="2150" y="5570"/>
                        <a:pt x="2147" y="5697"/>
                        <a:pt x="2041" y="5832"/>
                      </a:cubicBezTo>
                      <a:cubicBezTo>
                        <a:pt x="2043" y="5833"/>
                        <a:pt x="2043" y="5834"/>
                        <a:pt x="2045" y="5835"/>
                      </a:cubicBezTo>
                      <a:cubicBezTo>
                        <a:pt x="2102" y="5891"/>
                        <a:pt x="2135" y="5965"/>
                        <a:pt x="2143" y="6056"/>
                      </a:cubicBezTo>
                      <a:cubicBezTo>
                        <a:pt x="2156" y="6057"/>
                        <a:pt x="2166" y="6058"/>
                        <a:pt x="2174" y="6060"/>
                      </a:cubicBezTo>
                      <a:cubicBezTo>
                        <a:pt x="2256" y="6078"/>
                        <a:pt x="2317" y="6138"/>
                        <a:pt x="2353" y="6238"/>
                      </a:cubicBezTo>
                      <a:lnTo>
                        <a:pt x="2369" y="6246"/>
                      </a:lnTo>
                      <a:cubicBezTo>
                        <a:pt x="2378" y="6253"/>
                        <a:pt x="2391" y="6263"/>
                        <a:pt x="2404" y="6278"/>
                      </a:cubicBezTo>
                      <a:lnTo>
                        <a:pt x="2414" y="6277"/>
                      </a:lnTo>
                      <a:cubicBezTo>
                        <a:pt x="2588" y="6277"/>
                        <a:pt x="2714" y="6498"/>
                        <a:pt x="2714" y="6647"/>
                      </a:cubicBezTo>
                      <a:cubicBezTo>
                        <a:pt x="2714" y="6750"/>
                        <a:pt x="2670" y="6820"/>
                        <a:pt x="2626" y="6867"/>
                      </a:cubicBezTo>
                      <a:cubicBezTo>
                        <a:pt x="2630" y="6886"/>
                        <a:pt x="2635" y="6903"/>
                        <a:pt x="2639" y="6913"/>
                      </a:cubicBezTo>
                      <a:cubicBezTo>
                        <a:pt x="2632" y="6893"/>
                        <a:pt x="2653" y="6904"/>
                        <a:pt x="2672" y="6915"/>
                      </a:cubicBezTo>
                      <a:cubicBezTo>
                        <a:pt x="2732" y="6950"/>
                        <a:pt x="2800" y="6991"/>
                        <a:pt x="2847" y="7070"/>
                      </a:cubicBezTo>
                      <a:cubicBezTo>
                        <a:pt x="2876" y="7118"/>
                        <a:pt x="2894" y="7163"/>
                        <a:pt x="2903" y="7209"/>
                      </a:cubicBezTo>
                      <a:cubicBezTo>
                        <a:pt x="2958" y="7236"/>
                        <a:pt x="2996" y="7285"/>
                        <a:pt x="3022" y="7330"/>
                      </a:cubicBezTo>
                      <a:cubicBezTo>
                        <a:pt x="3118" y="7262"/>
                        <a:pt x="3269" y="7249"/>
                        <a:pt x="3365" y="7383"/>
                      </a:cubicBezTo>
                      <a:lnTo>
                        <a:pt x="3394" y="7382"/>
                      </a:lnTo>
                      <a:cubicBezTo>
                        <a:pt x="3426" y="7382"/>
                        <a:pt x="3458" y="7389"/>
                        <a:pt x="3487" y="7401"/>
                      </a:cubicBezTo>
                      <a:cubicBezTo>
                        <a:pt x="3576" y="7438"/>
                        <a:pt x="3646" y="7527"/>
                        <a:pt x="3674" y="7646"/>
                      </a:cubicBezTo>
                      <a:cubicBezTo>
                        <a:pt x="3685" y="7695"/>
                        <a:pt x="3686" y="7742"/>
                        <a:pt x="3679" y="7787"/>
                      </a:cubicBezTo>
                      <a:cubicBezTo>
                        <a:pt x="3671" y="7832"/>
                        <a:pt x="3657" y="7873"/>
                        <a:pt x="3637" y="7911"/>
                      </a:cubicBezTo>
                      <a:lnTo>
                        <a:pt x="4085" y="18359"/>
                      </a:lnTo>
                      <a:lnTo>
                        <a:pt x="4083" y="18361"/>
                      </a:lnTo>
                      <a:lnTo>
                        <a:pt x="4190" y="20456"/>
                      </a:lnTo>
                      <a:cubicBezTo>
                        <a:pt x="4726" y="20424"/>
                        <a:pt x="5266" y="20389"/>
                        <a:pt x="5810" y="20352"/>
                      </a:cubicBezTo>
                      <a:cubicBezTo>
                        <a:pt x="5869" y="20349"/>
                        <a:pt x="5929" y="20344"/>
                        <a:pt x="5988" y="20340"/>
                      </a:cubicBezTo>
                      <a:cubicBezTo>
                        <a:pt x="6475" y="20306"/>
                        <a:pt x="6963" y="20271"/>
                        <a:pt x="7460" y="20233"/>
                      </a:cubicBezTo>
                      <a:cubicBezTo>
                        <a:pt x="7605" y="20222"/>
                        <a:pt x="7754" y="20209"/>
                        <a:pt x="7899" y="20198"/>
                      </a:cubicBezTo>
                      <a:cubicBezTo>
                        <a:pt x="8316" y="20165"/>
                        <a:pt x="8733" y="20132"/>
                        <a:pt x="9157" y="20096"/>
                      </a:cubicBezTo>
                      <a:cubicBezTo>
                        <a:pt x="9369" y="20078"/>
                        <a:pt x="9587" y="20058"/>
                        <a:pt x="9802" y="20039"/>
                      </a:cubicBezTo>
                      <a:cubicBezTo>
                        <a:pt x="10170" y="20007"/>
                        <a:pt x="10536" y="19975"/>
                        <a:pt x="10911" y="19940"/>
                      </a:cubicBezTo>
                      <a:cubicBezTo>
                        <a:pt x="11171" y="19916"/>
                        <a:pt x="11439" y="19889"/>
                        <a:pt x="11703" y="19864"/>
                      </a:cubicBezTo>
                      <a:cubicBezTo>
                        <a:pt x="12042" y="19831"/>
                        <a:pt x="12378" y="19800"/>
                        <a:pt x="12723" y="19765"/>
                      </a:cubicBezTo>
                      <a:cubicBezTo>
                        <a:pt x="13020" y="19735"/>
                        <a:pt x="13326" y="19702"/>
                        <a:pt x="13627" y="19671"/>
                      </a:cubicBezTo>
                      <a:cubicBezTo>
                        <a:pt x="13952" y="19638"/>
                        <a:pt x="14272" y="19605"/>
                        <a:pt x="14604" y="19570"/>
                      </a:cubicBezTo>
                      <a:cubicBezTo>
                        <a:pt x="14926" y="19535"/>
                        <a:pt x="15261" y="19497"/>
                        <a:pt x="15590" y="19460"/>
                      </a:cubicBezTo>
                      <a:cubicBezTo>
                        <a:pt x="15912" y="19425"/>
                        <a:pt x="16227" y="19391"/>
                        <a:pt x="16554" y="19354"/>
                      </a:cubicBezTo>
                      <a:cubicBezTo>
                        <a:pt x="17215" y="19278"/>
                        <a:pt x="17888" y="19199"/>
                        <a:pt x="18576" y="19117"/>
                      </a:cubicBezTo>
                      <a:lnTo>
                        <a:pt x="18752" y="19096"/>
                      </a:lnTo>
                      <a:lnTo>
                        <a:pt x="18808" y="19295"/>
                      </a:lnTo>
                      <a:cubicBezTo>
                        <a:pt x="18809" y="19298"/>
                        <a:pt x="18824" y="19352"/>
                        <a:pt x="18836" y="19380"/>
                      </a:cubicBezTo>
                      <a:cubicBezTo>
                        <a:pt x="18857" y="19411"/>
                        <a:pt x="18893" y="19489"/>
                        <a:pt x="18906" y="19568"/>
                      </a:cubicBezTo>
                      <a:cubicBezTo>
                        <a:pt x="19017" y="19590"/>
                        <a:pt x="19126" y="19694"/>
                        <a:pt x="19172" y="19790"/>
                      </a:cubicBezTo>
                      <a:lnTo>
                        <a:pt x="19235" y="19925"/>
                      </a:lnTo>
                      <a:lnTo>
                        <a:pt x="19171" y="20088"/>
                      </a:lnTo>
                      <a:cubicBezTo>
                        <a:pt x="19215" y="20181"/>
                        <a:pt x="19252" y="20292"/>
                        <a:pt x="19216" y="20414"/>
                      </a:cubicBezTo>
                      <a:cubicBezTo>
                        <a:pt x="19185" y="20516"/>
                        <a:pt x="19119" y="20583"/>
                        <a:pt x="19048" y="20654"/>
                      </a:cubicBezTo>
                      <a:lnTo>
                        <a:pt x="19048" y="20655"/>
                      </a:lnTo>
                      <a:cubicBezTo>
                        <a:pt x="19039" y="20722"/>
                        <a:pt x="19023" y="20793"/>
                        <a:pt x="18970" y="20851"/>
                      </a:cubicBezTo>
                      <a:cubicBezTo>
                        <a:pt x="18959" y="20863"/>
                        <a:pt x="18936" y="20883"/>
                        <a:pt x="18903" y="20908"/>
                      </a:cubicBezTo>
                      <a:cubicBezTo>
                        <a:pt x="18876" y="20929"/>
                        <a:pt x="18836" y="20960"/>
                        <a:pt x="18805" y="20987"/>
                      </a:cubicBezTo>
                      <a:lnTo>
                        <a:pt x="18786" y="21122"/>
                      </a:lnTo>
                      <a:lnTo>
                        <a:pt x="18730" y="21141"/>
                      </a:lnTo>
                      <a:cubicBezTo>
                        <a:pt x="18726" y="21224"/>
                        <a:pt x="18706" y="21313"/>
                        <a:pt x="18633" y="21380"/>
                      </a:cubicBezTo>
                      <a:cubicBezTo>
                        <a:pt x="18622" y="21390"/>
                        <a:pt x="18596" y="21409"/>
                        <a:pt x="18564" y="21431"/>
                      </a:cubicBezTo>
                      <a:cubicBezTo>
                        <a:pt x="18545" y="21444"/>
                        <a:pt x="18520" y="21460"/>
                        <a:pt x="18500" y="21476"/>
                      </a:cubicBezTo>
                      <a:cubicBezTo>
                        <a:pt x="18492" y="21504"/>
                        <a:pt x="18483" y="21540"/>
                        <a:pt x="18473" y="21578"/>
                      </a:cubicBezTo>
                      <a:cubicBezTo>
                        <a:pt x="18471" y="21585"/>
                        <a:pt x="18469" y="21593"/>
                        <a:pt x="18467" y="21600"/>
                      </a:cubicBezTo>
                      <a:lnTo>
                        <a:pt x="20136" y="21395"/>
                      </a:lnTo>
                      <a:cubicBezTo>
                        <a:pt x="20137" y="21368"/>
                        <a:pt x="20137" y="21338"/>
                        <a:pt x="20138" y="21313"/>
                      </a:cubicBezTo>
                      <a:cubicBezTo>
                        <a:pt x="20140" y="21182"/>
                        <a:pt x="20142" y="21003"/>
                        <a:pt x="20280" y="20917"/>
                      </a:cubicBezTo>
                      <a:cubicBezTo>
                        <a:pt x="20300" y="20905"/>
                        <a:pt x="20317" y="20895"/>
                        <a:pt x="20332" y="20886"/>
                      </a:cubicBezTo>
                      <a:cubicBezTo>
                        <a:pt x="20119" y="20754"/>
                        <a:pt x="19903" y="20585"/>
                        <a:pt x="20010" y="20318"/>
                      </a:cubicBezTo>
                      <a:lnTo>
                        <a:pt x="20070" y="20168"/>
                      </a:lnTo>
                      <a:lnTo>
                        <a:pt x="20245" y="20137"/>
                      </a:lnTo>
                      <a:lnTo>
                        <a:pt x="20246" y="20137"/>
                      </a:lnTo>
                      <a:cubicBezTo>
                        <a:pt x="20221" y="20085"/>
                        <a:pt x="20209" y="20025"/>
                        <a:pt x="20215" y="19956"/>
                      </a:cubicBezTo>
                      <a:cubicBezTo>
                        <a:pt x="20227" y="19786"/>
                        <a:pt x="20320" y="19679"/>
                        <a:pt x="20491" y="19642"/>
                      </a:cubicBezTo>
                      <a:cubicBezTo>
                        <a:pt x="20491" y="19641"/>
                        <a:pt x="20490" y="19639"/>
                        <a:pt x="20489" y="19638"/>
                      </a:cubicBezTo>
                      <a:cubicBezTo>
                        <a:pt x="20460" y="19593"/>
                        <a:pt x="20401" y="19500"/>
                        <a:pt x="20420" y="19359"/>
                      </a:cubicBezTo>
                      <a:cubicBezTo>
                        <a:pt x="20424" y="19324"/>
                        <a:pt x="20433" y="19292"/>
                        <a:pt x="20445" y="19265"/>
                      </a:cubicBezTo>
                      <a:cubicBezTo>
                        <a:pt x="20338" y="19110"/>
                        <a:pt x="20214" y="18920"/>
                        <a:pt x="20286" y="18716"/>
                      </a:cubicBezTo>
                      <a:cubicBezTo>
                        <a:pt x="20363" y="18506"/>
                        <a:pt x="20543" y="18433"/>
                        <a:pt x="20687" y="18433"/>
                      </a:cubicBezTo>
                      <a:cubicBezTo>
                        <a:pt x="20761" y="18439"/>
                        <a:pt x="20822" y="18465"/>
                        <a:pt x="20875" y="18503"/>
                      </a:cubicBezTo>
                      <a:cubicBezTo>
                        <a:pt x="20877" y="18504"/>
                        <a:pt x="20880" y="18504"/>
                        <a:pt x="20882" y="18506"/>
                      </a:cubicBezTo>
                      <a:cubicBezTo>
                        <a:pt x="20882" y="18503"/>
                        <a:pt x="20883" y="18499"/>
                        <a:pt x="20883" y="18496"/>
                      </a:cubicBezTo>
                      <a:cubicBezTo>
                        <a:pt x="20884" y="18496"/>
                        <a:pt x="20884" y="18495"/>
                        <a:pt x="20884" y="18494"/>
                      </a:cubicBezTo>
                      <a:cubicBezTo>
                        <a:pt x="20903" y="18368"/>
                        <a:pt x="20992" y="18199"/>
                        <a:pt x="21112" y="18123"/>
                      </a:cubicBezTo>
                      <a:cubicBezTo>
                        <a:pt x="21152" y="18097"/>
                        <a:pt x="21195" y="18081"/>
                        <a:pt x="21240" y="18081"/>
                      </a:cubicBezTo>
                      <a:lnTo>
                        <a:pt x="21354" y="18081"/>
                      </a:lnTo>
                      <a:lnTo>
                        <a:pt x="21437" y="18201"/>
                      </a:lnTo>
                      <a:cubicBezTo>
                        <a:pt x="21453" y="18227"/>
                        <a:pt x="21467" y="18251"/>
                        <a:pt x="21480" y="18272"/>
                      </a:cubicBezTo>
                      <a:cubicBezTo>
                        <a:pt x="21488" y="18221"/>
                        <a:pt x="21508" y="18177"/>
                        <a:pt x="21527" y="18143"/>
                      </a:cubicBezTo>
                      <a:cubicBezTo>
                        <a:pt x="21459" y="18059"/>
                        <a:pt x="21383" y="17927"/>
                        <a:pt x="21426" y="17746"/>
                      </a:cubicBezTo>
                      <a:cubicBezTo>
                        <a:pt x="21439" y="17692"/>
                        <a:pt x="21460" y="17647"/>
                        <a:pt x="21486" y="17612"/>
                      </a:cubicBezTo>
                      <a:cubicBezTo>
                        <a:pt x="21475" y="17595"/>
                        <a:pt x="21465" y="17577"/>
                        <a:pt x="21455" y="17557"/>
                      </a:cubicBezTo>
                      <a:cubicBezTo>
                        <a:pt x="21394" y="17429"/>
                        <a:pt x="21389" y="17282"/>
                        <a:pt x="21442" y="17172"/>
                      </a:cubicBezTo>
                      <a:cubicBezTo>
                        <a:pt x="21483" y="17090"/>
                        <a:pt x="21543" y="17046"/>
                        <a:pt x="21587" y="17015"/>
                      </a:cubicBezTo>
                      <a:close/>
                      <a:moveTo>
                        <a:pt x="21587" y="17015"/>
                      </a:moveTo>
                    </a:path>
                  </a:pathLst>
                </a:custGeom>
                <a:solidFill>
                  <a:schemeClr val="bg1">
                    <a:lumMod val="75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91" name="Google Shape;407;p54">
                  <a:extLst>
                    <a:ext uri="{FF2B5EF4-FFF2-40B4-BE49-F238E27FC236}">
                      <a16:creationId xmlns:a16="http://schemas.microsoft.com/office/drawing/2014/main" id="{4E292B5C-4C54-44D4-8904-6C2A9378E532}"/>
                    </a:ext>
                  </a:extLst>
                </p:cNvPr>
                <p:cNvSpPr/>
                <p:nvPr/>
              </p:nvSpPr>
              <p:spPr>
                <a:xfrm>
                  <a:off x="4196703" y="4240771"/>
                  <a:ext cx="6102" cy="6102"/>
                </a:xfrm>
                <a:custGeom>
                  <a:avLst/>
                  <a:gdLst/>
                  <a:ahLst/>
                  <a:cxnLst/>
                  <a:rect l="l" t="t" r="r" b="b"/>
                  <a:pathLst>
                    <a:path w="21600" h="21600" extrusionOk="0">
                      <a:moveTo>
                        <a:pt x="14634" y="21600"/>
                      </a:moveTo>
                      <a:cubicBezTo>
                        <a:pt x="18845" y="20955"/>
                        <a:pt x="21496" y="19060"/>
                        <a:pt x="21600" y="18942"/>
                      </a:cubicBezTo>
                      <a:lnTo>
                        <a:pt x="0" y="0"/>
                      </a:lnTo>
                      <a:cubicBezTo>
                        <a:pt x="0" y="0"/>
                        <a:pt x="14634" y="21600"/>
                        <a:pt x="14634" y="21600"/>
                      </a:cubicBezTo>
                      <a:close/>
                      <a:moveTo>
                        <a:pt x="14634" y="21600"/>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92" name="Google Shape;408;p54">
                  <a:extLst>
                    <a:ext uri="{FF2B5EF4-FFF2-40B4-BE49-F238E27FC236}">
                      <a16:creationId xmlns:a16="http://schemas.microsoft.com/office/drawing/2014/main" id="{8CE78320-503A-49C0-9647-A99A46AD29B8}"/>
                    </a:ext>
                  </a:extLst>
                </p:cNvPr>
                <p:cNvSpPr/>
                <p:nvPr/>
              </p:nvSpPr>
              <p:spPr>
                <a:xfrm>
                  <a:off x="4600830" y="2750808"/>
                  <a:ext cx="759294" cy="489348"/>
                </a:xfrm>
                <a:custGeom>
                  <a:avLst/>
                  <a:gdLst/>
                  <a:ahLst/>
                  <a:cxnLst/>
                  <a:rect l="l" t="t" r="r" b="b"/>
                  <a:pathLst>
                    <a:path w="21600" h="21600" extrusionOk="0">
                      <a:moveTo>
                        <a:pt x="106" y="6421"/>
                      </a:moveTo>
                      <a:lnTo>
                        <a:pt x="85" y="6539"/>
                      </a:lnTo>
                      <a:cubicBezTo>
                        <a:pt x="63" y="6617"/>
                        <a:pt x="31" y="6673"/>
                        <a:pt x="0" y="6714"/>
                      </a:cubicBezTo>
                      <a:lnTo>
                        <a:pt x="9" y="6829"/>
                      </a:lnTo>
                      <a:cubicBezTo>
                        <a:pt x="56" y="6872"/>
                        <a:pt x="94" y="6910"/>
                        <a:pt x="125" y="6949"/>
                      </a:cubicBezTo>
                      <a:cubicBezTo>
                        <a:pt x="127" y="6951"/>
                        <a:pt x="328" y="7203"/>
                        <a:pt x="369" y="7499"/>
                      </a:cubicBezTo>
                      <a:cubicBezTo>
                        <a:pt x="449" y="7623"/>
                        <a:pt x="476" y="7799"/>
                        <a:pt x="495" y="7915"/>
                      </a:cubicBezTo>
                      <a:cubicBezTo>
                        <a:pt x="497" y="7930"/>
                        <a:pt x="504" y="7960"/>
                        <a:pt x="510" y="7999"/>
                      </a:cubicBezTo>
                      <a:cubicBezTo>
                        <a:pt x="513" y="8010"/>
                        <a:pt x="514" y="8025"/>
                        <a:pt x="516" y="8038"/>
                      </a:cubicBezTo>
                      <a:cubicBezTo>
                        <a:pt x="521" y="8069"/>
                        <a:pt x="526" y="8100"/>
                        <a:pt x="530" y="8138"/>
                      </a:cubicBezTo>
                      <a:lnTo>
                        <a:pt x="1078" y="8008"/>
                      </a:lnTo>
                      <a:lnTo>
                        <a:pt x="822" y="8388"/>
                      </a:lnTo>
                      <a:cubicBezTo>
                        <a:pt x="876" y="8512"/>
                        <a:pt x="885" y="8649"/>
                        <a:pt x="888" y="8708"/>
                      </a:cubicBezTo>
                      <a:cubicBezTo>
                        <a:pt x="893" y="8761"/>
                        <a:pt x="894" y="8811"/>
                        <a:pt x="891" y="8857"/>
                      </a:cubicBezTo>
                      <a:cubicBezTo>
                        <a:pt x="883" y="8998"/>
                        <a:pt x="841" y="9115"/>
                        <a:pt x="799" y="9211"/>
                      </a:cubicBezTo>
                      <a:cubicBezTo>
                        <a:pt x="807" y="9244"/>
                        <a:pt x="813" y="9282"/>
                        <a:pt x="815" y="9323"/>
                      </a:cubicBezTo>
                      <a:cubicBezTo>
                        <a:pt x="818" y="9364"/>
                        <a:pt x="817" y="9409"/>
                        <a:pt x="810" y="9457"/>
                      </a:cubicBezTo>
                      <a:cubicBezTo>
                        <a:pt x="875" y="9552"/>
                        <a:pt x="921" y="9674"/>
                        <a:pt x="944" y="9804"/>
                      </a:cubicBezTo>
                      <a:cubicBezTo>
                        <a:pt x="1066" y="9952"/>
                        <a:pt x="1121" y="10237"/>
                        <a:pt x="1109" y="10432"/>
                      </a:cubicBezTo>
                      <a:cubicBezTo>
                        <a:pt x="1104" y="10509"/>
                        <a:pt x="1086" y="10600"/>
                        <a:pt x="1039" y="10682"/>
                      </a:cubicBezTo>
                      <a:cubicBezTo>
                        <a:pt x="1040" y="10682"/>
                        <a:pt x="1040" y="10683"/>
                        <a:pt x="1040" y="10684"/>
                      </a:cubicBezTo>
                      <a:lnTo>
                        <a:pt x="1078" y="10745"/>
                      </a:lnTo>
                      <a:cubicBezTo>
                        <a:pt x="1161" y="10820"/>
                        <a:pt x="1245" y="10906"/>
                        <a:pt x="1296" y="11034"/>
                      </a:cubicBezTo>
                      <a:cubicBezTo>
                        <a:pt x="1331" y="11122"/>
                        <a:pt x="1358" y="11246"/>
                        <a:pt x="1333" y="11397"/>
                      </a:cubicBezTo>
                      <a:cubicBezTo>
                        <a:pt x="1389" y="11442"/>
                        <a:pt x="1433" y="11506"/>
                        <a:pt x="1466" y="11586"/>
                      </a:cubicBezTo>
                      <a:cubicBezTo>
                        <a:pt x="1518" y="11631"/>
                        <a:pt x="1551" y="11703"/>
                        <a:pt x="1574" y="11774"/>
                      </a:cubicBezTo>
                      <a:cubicBezTo>
                        <a:pt x="1621" y="11783"/>
                        <a:pt x="1676" y="11809"/>
                        <a:pt x="1725" y="11871"/>
                      </a:cubicBezTo>
                      <a:cubicBezTo>
                        <a:pt x="1806" y="11975"/>
                        <a:pt x="1876" y="12160"/>
                        <a:pt x="1788" y="12475"/>
                      </a:cubicBezTo>
                      <a:lnTo>
                        <a:pt x="1789" y="12502"/>
                      </a:lnTo>
                      <a:cubicBezTo>
                        <a:pt x="1789" y="12550"/>
                        <a:pt x="1784" y="12617"/>
                        <a:pt x="1761" y="12689"/>
                      </a:cubicBezTo>
                      <a:cubicBezTo>
                        <a:pt x="1801" y="12732"/>
                        <a:pt x="1831" y="12772"/>
                        <a:pt x="1857" y="12825"/>
                      </a:cubicBezTo>
                      <a:cubicBezTo>
                        <a:pt x="1888" y="12888"/>
                        <a:pt x="1904" y="12953"/>
                        <a:pt x="1913" y="13013"/>
                      </a:cubicBezTo>
                      <a:cubicBezTo>
                        <a:pt x="2000" y="13091"/>
                        <a:pt x="2057" y="13229"/>
                        <a:pt x="2082" y="13427"/>
                      </a:cubicBezTo>
                      <a:lnTo>
                        <a:pt x="2123" y="13741"/>
                      </a:lnTo>
                      <a:lnTo>
                        <a:pt x="2025" y="13817"/>
                      </a:lnTo>
                      <a:cubicBezTo>
                        <a:pt x="2056" y="13900"/>
                        <a:pt x="2074" y="14008"/>
                        <a:pt x="2055" y="14147"/>
                      </a:cubicBezTo>
                      <a:cubicBezTo>
                        <a:pt x="2045" y="14217"/>
                        <a:pt x="2024" y="14297"/>
                        <a:pt x="1976" y="14364"/>
                      </a:cubicBezTo>
                      <a:cubicBezTo>
                        <a:pt x="1999" y="14478"/>
                        <a:pt x="2004" y="14603"/>
                        <a:pt x="1982" y="14712"/>
                      </a:cubicBezTo>
                      <a:cubicBezTo>
                        <a:pt x="1981" y="14715"/>
                        <a:pt x="1981" y="14718"/>
                        <a:pt x="1980" y="14721"/>
                      </a:cubicBezTo>
                      <a:cubicBezTo>
                        <a:pt x="1998" y="14752"/>
                        <a:pt x="2015" y="14786"/>
                        <a:pt x="2028" y="14823"/>
                      </a:cubicBezTo>
                      <a:lnTo>
                        <a:pt x="2061" y="14816"/>
                      </a:lnTo>
                      <a:cubicBezTo>
                        <a:pt x="2255" y="14816"/>
                        <a:pt x="2373" y="15097"/>
                        <a:pt x="2380" y="15378"/>
                      </a:cubicBezTo>
                      <a:cubicBezTo>
                        <a:pt x="2431" y="15391"/>
                        <a:pt x="2478" y="15424"/>
                        <a:pt x="2516" y="15475"/>
                      </a:cubicBezTo>
                      <a:cubicBezTo>
                        <a:pt x="2639" y="15637"/>
                        <a:pt x="2626" y="15897"/>
                        <a:pt x="2598" y="16072"/>
                      </a:cubicBezTo>
                      <a:lnTo>
                        <a:pt x="2605" y="16148"/>
                      </a:lnTo>
                      <a:cubicBezTo>
                        <a:pt x="2607" y="16200"/>
                        <a:pt x="2605" y="16245"/>
                        <a:pt x="2600" y="16290"/>
                      </a:cubicBezTo>
                      <a:cubicBezTo>
                        <a:pt x="2609" y="16333"/>
                        <a:pt x="2617" y="16387"/>
                        <a:pt x="2618" y="16450"/>
                      </a:cubicBezTo>
                      <a:cubicBezTo>
                        <a:pt x="2702" y="16495"/>
                        <a:pt x="2766" y="16590"/>
                        <a:pt x="2797" y="16719"/>
                      </a:cubicBezTo>
                      <a:cubicBezTo>
                        <a:pt x="2856" y="16968"/>
                        <a:pt x="2759" y="17217"/>
                        <a:pt x="2709" y="17309"/>
                      </a:cubicBezTo>
                      <a:cubicBezTo>
                        <a:pt x="2711" y="17320"/>
                        <a:pt x="2712" y="17330"/>
                        <a:pt x="2714" y="17338"/>
                      </a:cubicBezTo>
                      <a:cubicBezTo>
                        <a:pt x="2719" y="17368"/>
                        <a:pt x="2722" y="17403"/>
                        <a:pt x="2722" y="17441"/>
                      </a:cubicBezTo>
                      <a:cubicBezTo>
                        <a:pt x="2724" y="17442"/>
                        <a:pt x="2725" y="17444"/>
                        <a:pt x="2726" y="17445"/>
                      </a:cubicBezTo>
                      <a:cubicBezTo>
                        <a:pt x="2797" y="17483"/>
                        <a:pt x="2877" y="17554"/>
                        <a:pt x="2917" y="17686"/>
                      </a:cubicBezTo>
                      <a:lnTo>
                        <a:pt x="2973" y="17871"/>
                      </a:lnTo>
                      <a:lnTo>
                        <a:pt x="2883" y="18118"/>
                      </a:lnTo>
                      <a:cubicBezTo>
                        <a:pt x="2927" y="18317"/>
                        <a:pt x="2901" y="18510"/>
                        <a:pt x="2892" y="18578"/>
                      </a:cubicBezTo>
                      <a:lnTo>
                        <a:pt x="2890" y="18595"/>
                      </a:lnTo>
                      <a:cubicBezTo>
                        <a:pt x="2922" y="18659"/>
                        <a:pt x="2969" y="18772"/>
                        <a:pt x="2962" y="18923"/>
                      </a:cubicBezTo>
                      <a:cubicBezTo>
                        <a:pt x="2998" y="18979"/>
                        <a:pt x="3030" y="19054"/>
                        <a:pt x="3049" y="19157"/>
                      </a:cubicBezTo>
                      <a:cubicBezTo>
                        <a:pt x="3061" y="19224"/>
                        <a:pt x="3063" y="19286"/>
                        <a:pt x="3060" y="19341"/>
                      </a:cubicBezTo>
                      <a:cubicBezTo>
                        <a:pt x="3057" y="19396"/>
                        <a:pt x="3047" y="19444"/>
                        <a:pt x="3037" y="19483"/>
                      </a:cubicBezTo>
                      <a:lnTo>
                        <a:pt x="3046" y="19501"/>
                      </a:lnTo>
                      <a:cubicBezTo>
                        <a:pt x="3159" y="19782"/>
                        <a:pt x="3114" y="19987"/>
                        <a:pt x="3077" y="20084"/>
                      </a:cubicBezTo>
                      <a:lnTo>
                        <a:pt x="3030" y="20180"/>
                      </a:lnTo>
                      <a:cubicBezTo>
                        <a:pt x="3033" y="20203"/>
                        <a:pt x="3035" y="20227"/>
                        <a:pt x="3035" y="20253"/>
                      </a:cubicBezTo>
                      <a:cubicBezTo>
                        <a:pt x="3035" y="20304"/>
                        <a:pt x="3035" y="20374"/>
                        <a:pt x="3024" y="20452"/>
                      </a:cubicBezTo>
                      <a:cubicBezTo>
                        <a:pt x="3045" y="20555"/>
                        <a:pt x="3061" y="20684"/>
                        <a:pt x="3021" y="20822"/>
                      </a:cubicBezTo>
                      <a:cubicBezTo>
                        <a:pt x="3008" y="20867"/>
                        <a:pt x="2991" y="20906"/>
                        <a:pt x="2974" y="20938"/>
                      </a:cubicBezTo>
                      <a:cubicBezTo>
                        <a:pt x="3001" y="20997"/>
                        <a:pt x="3017" y="21060"/>
                        <a:pt x="3026" y="21113"/>
                      </a:cubicBezTo>
                      <a:cubicBezTo>
                        <a:pt x="3083" y="21138"/>
                        <a:pt x="3133" y="21167"/>
                        <a:pt x="3178" y="21220"/>
                      </a:cubicBezTo>
                      <a:cubicBezTo>
                        <a:pt x="3271" y="21327"/>
                        <a:pt x="3304" y="21474"/>
                        <a:pt x="3317" y="21578"/>
                      </a:cubicBezTo>
                      <a:cubicBezTo>
                        <a:pt x="3321" y="21585"/>
                        <a:pt x="3325" y="21592"/>
                        <a:pt x="3327" y="21600"/>
                      </a:cubicBezTo>
                      <a:cubicBezTo>
                        <a:pt x="3674" y="21585"/>
                        <a:pt x="4013" y="21568"/>
                        <a:pt x="4353" y="21550"/>
                      </a:cubicBezTo>
                      <a:cubicBezTo>
                        <a:pt x="4601" y="21537"/>
                        <a:pt x="4852" y="21527"/>
                        <a:pt x="5098" y="21513"/>
                      </a:cubicBezTo>
                      <a:cubicBezTo>
                        <a:pt x="5460" y="21492"/>
                        <a:pt x="5814" y="21467"/>
                        <a:pt x="6170" y="21442"/>
                      </a:cubicBezTo>
                      <a:cubicBezTo>
                        <a:pt x="6426" y="21425"/>
                        <a:pt x="6685" y="21409"/>
                        <a:pt x="6938" y="21390"/>
                      </a:cubicBezTo>
                      <a:cubicBezTo>
                        <a:pt x="7284" y="21363"/>
                        <a:pt x="7622" y="21332"/>
                        <a:pt x="7963" y="21303"/>
                      </a:cubicBezTo>
                      <a:cubicBezTo>
                        <a:pt x="8215" y="21281"/>
                        <a:pt x="8471" y="21261"/>
                        <a:pt x="8721" y="21237"/>
                      </a:cubicBezTo>
                      <a:cubicBezTo>
                        <a:pt x="9063" y="21205"/>
                        <a:pt x="9399" y="21167"/>
                        <a:pt x="9737" y="21130"/>
                      </a:cubicBezTo>
                      <a:cubicBezTo>
                        <a:pt x="9976" y="21105"/>
                        <a:pt x="10219" y="21081"/>
                        <a:pt x="10456" y="21054"/>
                      </a:cubicBezTo>
                      <a:cubicBezTo>
                        <a:pt x="10806" y="21013"/>
                        <a:pt x="11148" y="20968"/>
                        <a:pt x="11492" y="20923"/>
                      </a:cubicBezTo>
                      <a:cubicBezTo>
                        <a:pt x="11709" y="20895"/>
                        <a:pt x="11930" y="20870"/>
                        <a:pt x="12146" y="20840"/>
                      </a:cubicBezTo>
                      <a:cubicBezTo>
                        <a:pt x="12497" y="20792"/>
                        <a:pt x="12841" y="20739"/>
                        <a:pt x="13186" y="20686"/>
                      </a:cubicBezTo>
                      <a:cubicBezTo>
                        <a:pt x="13389" y="20655"/>
                        <a:pt x="13596" y="20628"/>
                        <a:pt x="13797" y="20595"/>
                      </a:cubicBezTo>
                      <a:cubicBezTo>
                        <a:pt x="14181" y="20534"/>
                        <a:pt x="14559" y="20467"/>
                        <a:pt x="14937" y="20400"/>
                      </a:cubicBezTo>
                      <a:cubicBezTo>
                        <a:pt x="15092" y="20372"/>
                        <a:pt x="15251" y="20348"/>
                        <a:pt x="15406" y="20319"/>
                      </a:cubicBezTo>
                      <a:cubicBezTo>
                        <a:pt x="15937" y="20222"/>
                        <a:pt x="16462" y="20119"/>
                        <a:pt x="16981" y="20011"/>
                      </a:cubicBezTo>
                      <a:lnTo>
                        <a:pt x="17123" y="19982"/>
                      </a:lnTo>
                      <a:lnTo>
                        <a:pt x="17210" y="20157"/>
                      </a:lnTo>
                      <a:cubicBezTo>
                        <a:pt x="17211" y="20159"/>
                        <a:pt x="17223" y="20185"/>
                        <a:pt x="17237" y="20211"/>
                      </a:cubicBezTo>
                      <a:lnTo>
                        <a:pt x="17259" y="20223"/>
                      </a:lnTo>
                      <a:lnTo>
                        <a:pt x="17343" y="20313"/>
                      </a:lnTo>
                      <a:cubicBezTo>
                        <a:pt x="17370" y="20355"/>
                        <a:pt x="17390" y="20403"/>
                        <a:pt x="17406" y="20463"/>
                      </a:cubicBezTo>
                      <a:lnTo>
                        <a:pt x="17493" y="20484"/>
                      </a:lnTo>
                      <a:cubicBezTo>
                        <a:pt x="17563" y="20518"/>
                        <a:pt x="17669" y="20612"/>
                        <a:pt x="17687" y="20872"/>
                      </a:cubicBezTo>
                      <a:cubicBezTo>
                        <a:pt x="17711" y="20900"/>
                        <a:pt x="17735" y="20931"/>
                        <a:pt x="17756" y="20969"/>
                      </a:cubicBezTo>
                      <a:cubicBezTo>
                        <a:pt x="17769" y="20994"/>
                        <a:pt x="17781" y="21018"/>
                        <a:pt x="17791" y="21042"/>
                      </a:cubicBezTo>
                      <a:cubicBezTo>
                        <a:pt x="17815" y="21044"/>
                        <a:pt x="17837" y="21050"/>
                        <a:pt x="17858" y="21060"/>
                      </a:cubicBezTo>
                      <a:cubicBezTo>
                        <a:pt x="17909" y="21084"/>
                        <a:pt x="17944" y="21128"/>
                        <a:pt x="17973" y="21178"/>
                      </a:cubicBezTo>
                      <a:cubicBezTo>
                        <a:pt x="17979" y="21189"/>
                        <a:pt x="17986" y="21200"/>
                        <a:pt x="17992" y="21213"/>
                      </a:cubicBezTo>
                      <a:cubicBezTo>
                        <a:pt x="18016" y="21265"/>
                        <a:pt x="18034" y="21320"/>
                        <a:pt x="18045" y="21379"/>
                      </a:cubicBezTo>
                      <a:cubicBezTo>
                        <a:pt x="18046" y="21381"/>
                        <a:pt x="18046" y="21381"/>
                        <a:pt x="18046" y="21382"/>
                      </a:cubicBezTo>
                      <a:cubicBezTo>
                        <a:pt x="18047" y="21372"/>
                        <a:pt x="18050" y="21366"/>
                        <a:pt x="18051" y="21356"/>
                      </a:cubicBezTo>
                      <a:cubicBezTo>
                        <a:pt x="18059" y="21290"/>
                        <a:pt x="18071" y="21231"/>
                        <a:pt x="18083" y="21182"/>
                      </a:cubicBezTo>
                      <a:cubicBezTo>
                        <a:pt x="18090" y="21154"/>
                        <a:pt x="18101" y="21111"/>
                        <a:pt x="18101" y="21095"/>
                      </a:cubicBezTo>
                      <a:cubicBezTo>
                        <a:pt x="18035" y="21087"/>
                        <a:pt x="17926" y="20966"/>
                        <a:pt x="17928" y="20695"/>
                      </a:cubicBezTo>
                      <a:cubicBezTo>
                        <a:pt x="17928" y="20560"/>
                        <a:pt x="17966" y="20431"/>
                        <a:pt x="18032" y="20332"/>
                      </a:cubicBezTo>
                      <a:lnTo>
                        <a:pt x="18049" y="20282"/>
                      </a:lnTo>
                      <a:cubicBezTo>
                        <a:pt x="18091" y="20151"/>
                        <a:pt x="18127" y="20045"/>
                        <a:pt x="18171" y="19962"/>
                      </a:cubicBezTo>
                      <a:cubicBezTo>
                        <a:pt x="18313" y="19698"/>
                        <a:pt x="18743" y="19607"/>
                        <a:pt x="18748" y="19607"/>
                      </a:cubicBezTo>
                      <a:cubicBezTo>
                        <a:pt x="18779" y="19598"/>
                        <a:pt x="18861" y="19539"/>
                        <a:pt x="18882" y="19501"/>
                      </a:cubicBezTo>
                      <a:cubicBezTo>
                        <a:pt x="18875" y="19501"/>
                        <a:pt x="18866" y="19424"/>
                        <a:pt x="18862" y="19391"/>
                      </a:cubicBezTo>
                      <a:lnTo>
                        <a:pt x="18852" y="19295"/>
                      </a:lnTo>
                      <a:cubicBezTo>
                        <a:pt x="18845" y="19190"/>
                        <a:pt x="18865" y="19085"/>
                        <a:pt x="18901" y="18937"/>
                      </a:cubicBezTo>
                      <a:cubicBezTo>
                        <a:pt x="18888" y="18895"/>
                        <a:pt x="18878" y="18847"/>
                        <a:pt x="18873" y="18791"/>
                      </a:cubicBezTo>
                      <a:lnTo>
                        <a:pt x="18873" y="18790"/>
                      </a:lnTo>
                      <a:cubicBezTo>
                        <a:pt x="18856" y="18608"/>
                        <a:pt x="18912" y="18445"/>
                        <a:pt x="18986" y="18302"/>
                      </a:cubicBezTo>
                      <a:cubicBezTo>
                        <a:pt x="19010" y="18254"/>
                        <a:pt x="19037" y="18209"/>
                        <a:pt x="19064" y="18166"/>
                      </a:cubicBezTo>
                      <a:cubicBezTo>
                        <a:pt x="19063" y="18156"/>
                        <a:pt x="19078" y="18088"/>
                        <a:pt x="19092" y="18030"/>
                      </a:cubicBezTo>
                      <a:cubicBezTo>
                        <a:pt x="19112" y="17947"/>
                        <a:pt x="19132" y="17873"/>
                        <a:pt x="19146" y="17834"/>
                      </a:cubicBezTo>
                      <a:cubicBezTo>
                        <a:pt x="19180" y="17738"/>
                        <a:pt x="19233" y="17668"/>
                        <a:pt x="19296" y="17601"/>
                      </a:cubicBezTo>
                      <a:cubicBezTo>
                        <a:pt x="19292" y="17583"/>
                        <a:pt x="19288" y="17565"/>
                        <a:pt x="19286" y="17554"/>
                      </a:cubicBezTo>
                      <a:cubicBezTo>
                        <a:pt x="19256" y="17383"/>
                        <a:pt x="19281" y="17269"/>
                        <a:pt x="19305" y="17159"/>
                      </a:cubicBezTo>
                      <a:cubicBezTo>
                        <a:pt x="19312" y="17140"/>
                        <a:pt x="19310" y="17087"/>
                        <a:pt x="19286" y="16927"/>
                      </a:cubicBezTo>
                      <a:cubicBezTo>
                        <a:pt x="19271" y="16836"/>
                        <a:pt x="19273" y="16747"/>
                        <a:pt x="19274" y="16661"/>
                      </a:cubicBezTo>
                      <a:lnTo>
                        <a:pt x="19274" y="16642"/>
                      </a:lnTo>
                      <a:cubicBezTo>
                        <a:pt x="19263" y="16614"/>
                        <a:pt x="19245" y="16571"/>
                        <a:pt x="19214" y="16505"/>
                      </a:cubicBezTo>
                      <a:cubicBezTo>
                        <a:pt x="19211" y="16505"/>
                        <a:pt x="19208" y="16505"/>
                        <a:pt x="19205" y="16505"/>
                      </a:cubicBezTo>
                      <a:cubicBezTo>
                        <a:pt x="19022" y="16486"/>
                        <a:pt x="18932" y="16277"/>
                        <a:pt x="18873" y="16139"/>
                      </a:cubicBezTo>
                      <a:cubicBezTo>
                        <a:pt x="18860" y="16114"/>
                        <a:pt x="18844" y="16098"/>
                        <a:pt x="18829" y="16081"/>
                      </a:cubicBezTo>
                      <a:cubicBezTo>
                        <a:pt x="18780" y="16026"/>
                        <a:pt x="18721" y="15958"/>
                        <a:pt x="18679" y="15852"/>
                      </a:cubicBezTo>
                      <a:cubicBezTo>
                        <a:pt x="18564" y="15544"/>
                        <a:pt x="18726" y="15074"/>
                        <a:pt x="18751" y="15007"/>
                      </a:cubicBezTo>
                      <a:cubicBezTo>
                        <a:pt x="18739" y="15037"/>
                        <a:pt x="18741" y="14970"/>
                        <a:pt x="18732" y="14753"/>
                      </a:cubicBezTo>
                      <a:cubicBezTo>
                        <a:pt x="18729" y="14669"/>
                        <a:pt x="18730" y="14527"/>
                        <a:pt x="18793" y="14409"/>
                      </a:cubicBezTo>
                      <a:cubicBezTo>
                        <a:pt x="18793" y="14226"/>
                        <a:pt x="18823" y="13974"/>
                        <a:pt x="19067" y="13894"/>
                      </a:cubicBezTo>
                      <a:cubicBezTo>
                        <a:pt x="19070" y="13891"/>
                        <a:pt x="19091" y="13869"/>
                        <a:pt x="19103" y="13857"/>
                      </a:cubicBezTo>
                      <a:lnTo>
                        <a:pt x="19163" y="13799"/>
                      </a:lnTo>
                      <a:lnTo>
                        <a:pt x="19249" y="13791"/>
                      </a:lnTo>
                      <a:cubicBezTo>
                        <a:pt x="19288" y="13791"/>
                        <a:pt x="19322" y="13803"/>
                        <a:pt x="19352" y="13814"/>
                      </a:cubicBezTo>
                      <a:cubicBezTo>
                        <a:pt x="19371" y="13821"/>
                        <a:pt x="19396" y="13830"/>
                        <a:pt x="19409" y="13830"/>
                      </a:cubicBezTo>
                      <a:cubicBezTo>
                        <a:pt x="19432" y="13771"/>
                        <a:pt x="19498" y="13636"/>
                        <a:pt x="19725" y="13612"/>
                      </a:cubicBezTo>
                      <a:lnTo>
                        <a:pt x="19865" y="13551"/>
                      </a:lnTo>
                      <a:cubicBezTo>
                        <a:pt x="19896" y="13551"/>
                        <a:pt x="19928" y="13559"/>
                        <a:pt x="19953" y="13570"/>
                      </a:cubicBezTo>
                      <a:cubicBezTo>
                        <a:pt x="19984" y="13556"/>
                        <a:pt x="20017" y="13548"/>
                        <a:pt x="20051" y="13540"/>
                      </a:cubicBezTo>
                      <a:cubicBezTo>
                        <a:pt x="20096" y="13529"/>
                        <a:pt x="20153" y="13515"/>
                        <a:pt x="20193" y="13485"/>
                      </a:cubicBezTo>
                      <a:cubicBezTo>
                        <a:pt x="20220" y="13463"/>
                        <a:pt x="20277" y="13345"/>
                        <a:pt x="20300" y="13270"/>
                      </a:cubicBezTo>
                      <a:lnTo>
                        <a:pt x="20367" y="13051"/>
                      </a:lnTo>
                      <a:lnTo>
                        <a:pt x="20512" y="13026"/>
                      </a:lnTo>
                      <a:cubicBezTo>
                        <a:pt x="20537" y="12995"/>
                        <a:pt x="20556" y="12974"/>
                        <a:pt x="20572" y="12958"/>
                      </a:cubicBezTo>
                      <a:cubicBezTo>
                        <a:pt x="20635" y="12902"/>
                        <a:pt x="20699" y="12894"/>
                        <a:pt x="20758" y="12894"/>
                      </a:cubicBezTo>
                      <a:lnTo>
                        <a:pt x="20843" y="12898"/>
                      </a:lnTo>
                      <a:cubicBezTo>
                        <a:pt x="20843" y="12898"/>
                        <a:pt x="20843" y="12898"/>
                        <a:pt x="20843" y="12897"/>
                      </a:cubicBezTo>
                      <a:cubicBezTo>
                        <a:pt x="20869" y="12825"/>
                        <a:pt x="20896" y="12751"/>
                        <a:pt x="20933" y="12689"/>
                      </a:cubicBezTo>
                      <a:cubicBezTo>
                        <a:pt x="20980" y="12608"/>
                        <a:pt x="21035" y="12561"/>
                        <a:pt x="21082" y="12526"/>
                      </a:cubicBezTo>
                      <a:lnTo>
                        <a:pt x="21075" y="12495"/>
                      </a:lnTo>
                      <a:cubicBezTo>
                        <a:pt x="21051" y="12368"/>
                        <a:pt x="21068" y="12234"/>
                        <a:pt x="21090" y="12084"/>
                      </a:cubicBezTo>
                      <a:cubicBezTo>
                        <a:pt x="21103" y="11980"/>
                        <a:pt x="21125" y="11906"/>
                        <a:pt x="21148" y="11854"/>
                      </a:cubicBezTo>
                      <a:lnTo>
                        <a:pt x="21135" y="11798"/>
                      </a:lnTo>
                      <a:cubicBezTo>
                        <a:pt x="21110" y="11522"/>
                        <a:pt x="21230" y="11295"/>
                        <a:pt x="21350" y="11110"/>
                      </a:cubicBezTo>
                      <a:cubicBezTo>
                        <a:pt x="21393" y="11043"/>
                        <a:pt x="21462" y="10966"/>
                        <a:pt x="21526" y="10900"/>
                      </a:cubicBezTo>
                      <a:cubicBezTo>
                        <a:pt x="21526" y="10868"/>
                        <a:pt x="21527" y="10834"/>
                        <a:pt x="21530" y="10797"/>
                      </a:cubicBezTo>
                      <a:cubicBezTo>
                        <a:pt x="21538" y="10704"/>
                        <a:pt x="21559" y="10576"/>
                        <a:pt x="21578" y="10463"/>
                      </a:cubicBezTo>
                      <a:cubicBezTo>
                        <a:pt x="21588" y="10407"/>
                        <a:pt x="21597" y="10357"/>
                        <a:pt x="21600" y="10325"/>
                      </a:cubicBezTo>
                      <a:cubicBezTo>
                        <a:pt x="21570" y="10275"/>
                        <a:pt x="21551" y="10222"/>
                        <a:pt x="21540" y="10169"/>
                      </a:cubicBezTo>
                      <a:cubicBezTo>
                        <a:pt x="21530" y="10116"/>
                        <a:pt x="21528" y="10063"/>
                        <a:pt x="21531" y="10012"/>
                      </a:cubicBezTo>
                      <a:cubicBezTo>
                        <a:pt x="21538" y="9910"/>
                        <a:pt x="21564" y="9817"/>
                        <a:pt x="21586" y="9752"/>
                      </a:cubicBezTo>
                      <a:cubicBezTo>
                        <a:pt x="21585" y="9747"/>
                        <a:pt x="21583" y="9742"/>
                        <a:pt x="21582" y="9738"/>
                      </a:cubicBezTo>
                      <a:cubicBezTo>
                        <a:pt x="21563" y="9679"/>
                        <a:pt x="21542" y="9612"/>
                        <a:pt x="21523" y="9538"/>
                      </a:cubicBezTo>
                      <a:cubicBezTo>
                        <a:pt x="21495" y="9425"/>
                        <a:pt x="21482" y="9297"/>
                        <a:pt x="21477" y="9182"/>
                      </a:cubicBezTo>
                      <a:lnTo>
                        <a:pt x="21472" y="9181"/>
                      </a:lnTo>
                      <a:lnTo>
                        <a:pt x="21344" y="8930"/>
                      </a:lnTo>
                      <a:cubicBezTo>
                        <a:pt x="21311" y="8878"/>
                        <a:pt x="21224" y="8841"/>
                        <a:pt x="21161" y="8813"/>
                      </a:cubicBezTo>
                      <a:cubicBezTo>
                        <a:pt x="21088" y="8782"/>
                        <a:pt x="21009" y="8747"/>
                        <a:pt x="20933" y="8704"/>
                      </a:cubicBezTo>
                      <a:cubicBezTo>
                        <a:pt x="20686" y="8566"/>
                        <a:pt x="20580" y="8298"/>
                        <a:pt x="20529" y="8169"/>
                      </a:cubicBezTo>
                      <a:cubicBezTo>
                        <a:pt x="20436" y="7951"/>
                        <a:pt x="20459" y="7758"/>
                        <a:pt x="20489" y="7638"/>
                      </a:cubicBezTo>
                      <a:lnTo>
                        <a:pt x="20434" y="7552"/>
                      </a:lnTo>
                      <a:cubicBezTo>
                        <a:pt x="20400" y="7498"/>
                        <a:pt x="20255" y="7380"/>
                        <a:pt x="20205" y="7351"/>
                      </a:cubicBezTo>
                      <a:cubicBezTo>
                        <a:pt x="20151" y="7326"/>
                        <a:pt x="20084" y="7266"/>
                        <a:pt x="20040" y="7133"/>
                      </a:cubicBezTo>
                      <a:cubicBezTo>
                        <a:pt x="20016" y="7123"/>
                        <a:pt x="19993" y="7112"/>
                        <a:pt x="19968" y="7098"/>
                      </a:cubicBezTo>
                      <a:cubicBezTo>
                        <a:pt x="19846" y="7033"/>
                        <a:pt x="19741" y="6905"/>
                        <a:pt x="19678" y="6755"/>
                      </a:cubicBezTo>
                      <a:lnTo>
                        <a:pt x="19432" y="6786"/>
                      </a:lnTo>
                      <a:lnTo>
                        <a:pt x="19643" y="6314"/>
                      </a:lnTo>
                      <a:cubicBezTo>
                        <a:pt x="19644" y="6307"/>
                        <a:pt x="19646" y="6300"/>
                        <a:pt x="19647" y="6293"/>
                      </a:cubicBezTo>
                      <a:cubicBezTo>
                        <a:pt x="19650" y="6284"/>
                        <a:pt x="19649" y="6275"/>
                        <a:pt x="19653" y="6265"/>
                      </a:cubicBezTo>
                      <a:cubicBezTo>
                        <a:pt x="19651" y="6263"/>
                        <a:pt x="19650" y="6260"/>
                        <a:pt x="19649" y="6258"/>
                      </a:cubicBezTo>
                      <a:cubicBezTo>
                        <a:pt x="19619" y="6203"/>
                        <a:pt x="19592" y="6150"/>
                        <a:pt x="19571" y="6103"/>
                      </a:cubicBezTo>
                      <a:cubicBezTo>
                        <a:pt x="19540" y="6033"/>
                        <a:pt x="19511" y="5944"/>
                        <a:pt x="19485" y="5858"/>
                      </a:cubicBezTo>
                      <a:cubicBezTo>
                        <a:pt x="19479" y="5839"/>
                        <a:pt x="19473" y="5819"/>
                        <a:pt x="19468" y="5801"/>
                      </a:cubicBezTo>
                      <a:cubicBezTo>
                        <a:pt x="19446" y="5795"/>
                        <a:pt x="19412" y="5786"/>
                        <a:pt x="19364" y="5772"/>
                      </a:cubicBezTo>
                      <a:lnTo>
                        <a:pt x="18998" y="5664"/>
                      </a:lnTo>
                      <a:cubicBezTo>
                        <a:pt x="18784" y="5605"/>
                        <a:pt x="18679" y="5569"/>
                        <a:pt x="18421" y="5318"/>
                      </a:cubicBezTo>
                      <a:cubicBezTo>
                        <a:pt x="18132" y="5036"/>
                        <a:pt x="18079" y="4725"/>
                        <a:pt x="18068" y="4507"/>
                      </a:cubicBezTo>
                      <a:cubicBezTo>
                        <a:pt x="18064" y="4490"/>
                        <a:pt x="18060" y="4473"/>
                        <a:pt x="18057" y="4456"/>
                      </a:cubicBezTo>
                      <a:cubicBezTo>
                        <a:pt x="18008" y="4373"/>
                        <a:pt x="18000" y="4245"/>
                        <a:pt x="17996" y="4158"/>
                      </a:cubicBezTo>
                      <a:cubicBezTo>
                        <a:pt x="17974" y="4142"/>
                        <a:pt x="17952" y="4124"/>
                        <a:pt x="17928" y="4100"/>
                      </a:cubicBezTo>
                      <a:cubicBezTo>
                        <a:pt x="17742" y="3910"/>
                        <a:pt x="17777" y="3588"/>
                        <a:pt x="17789" y="3482"/>
                      </a:cubicBezTo>
                      <a:cubicBezTo>
                        <a:pt x="17773" y="3383"/>
                        <a:pt x="17754" y="3321"/>
                        <a:pt x="17736" y="3229"/>
                      </a:cubicBezTo>
                      <a:lnTo>
                        <a:pt x="17709" y="3094"/>
                      </a:lnTo>
                      <a:cubicBezTo>
                        <a:pt x="17643" y="2761"/>
                        <a:pt x="17618" y="2624"/>
                        <a:pt x="17628" y="2496"/>
                      </a:cubicBezTo>
                      <a:cubicBezTo>
                        <a:pt x="17624" y="2496"/>
                        <a:pt x="17602" y="2397"/>
                        <a:pt x="17595" y="2365"/>
                      </a:cubicBezTo>
                      <a:cubicBezTo>
                        <a:pt x="17590" y="2344"/>
                        <a:pt x="17584" y="2309"/>
                        <a:pt x="17580" y="2266"/>
                      </a:cubicBezTo>
                      <a:cubicBezTo>
                        <a:pt x="17572" y="2182"/>
                        <a:pt x="17575" y="2064"/>
                        <a:pt x="17624" y="1955"/>
                      </a:cubicBezTo>
                      <a:cubicBezTo>
                        <a:pt x="17649" y="1900"/>
                        <a:pt x="17686" y="1848"/>
                        <a:pt x="17738" y="1802"/>
                      </a:cubicBezTo>
                      <a:cubicBezTo>
                        <a:pt x="17734" y="1795"/>
                        <a:pt x="17738" y="1753"/>
                        <a:pt x="17743" y="1695"/>
                      </a:cubicBezTo>
                      <a:cubicBezTo>
                        <a:pt x="17761" y="1492"/>
                        <a:pt x="17836" y="1346"/>
                        <a:pt x="17904" y="1239"/>
                      </a:cubicBezTo>
                      <a:cubicBezTo>
                        <a:pt x="17897" y="1220"/>
                        <a:pt x="17890" y="1201"/>
                        <a:pt x="17884" y="1182"/>
                      </a:cubicBezTo>
                      <a:cubicBezTo>
                        <a:pt x="17871" y="1176"/>
                        <a:pt x="17747" y="1075"/>
                        <a:pt x="17650" y="1019"/>
                      </a:cubicBezTo>
                      <a:cubicBezTo>
                        <a:pt x="17555" y="963"/>
                        <a:pt x="17439" y="868"/>
                        <a:pt x="17379" y="622"/>
                      </a:cubicBezTo>
                      <a:cubicBezTo>
                        <a:pt x="17359" y="543"/>
                        <a:pt x="17339" y="399"/>
                        <a:pt x="17395" y="244"/>
                      </a:cubicBezTo>
                      <a:cubicBezTo>
                        <a:pt x="17394" y="244"/>
                        <a:pt x="17394" y="243"/>
                        <a:pt x="17394" y="243"/>
                      </a:cubicBezTo>
                      <a:lnTo>
                        <a:pt x="17355" y="160"/>
                      </a:lnTo>
                      <a:cubicBezTo>
                        <a:pt x="17337" y="118"/>
                        <a:pt x="17319" y="65"/>
                        <a:pt x="17310" y="0"/>
                      </a:cubicBezTo>
                      <a:cubicBezTo>
                        <a:pt x="16996" y="44"/>
                        <a:pt x="16691" y="84"/>
                        <a:pt x="16380" y="127"/>
                      </a:cubicBezTo>
                      <a:cubicBezTo>
                        <a:pt x="15938" y="188"/>
                        <a:pt x="15492" y="250"/>
                        <a:pt x="15057" y="308"/>
                      </a:cubicBezTo>
                      <a:cubicBezTo>
                        <a:pt x="14708" y="354"/>
                        <a:pt x="14367" y="396"/>
                        <a:pt x="14023" y="440"/>
                      </a:cubicBezTo>
                      <a:cubicBezTo>
                        <a:pt x="13599" y="494"/>
                        <a:pt x="13172" y="549"/>
                        <a:pt x="12755" y="600"/>
                      </a:cubicBezTo>
                      <a:cubicBezTo>
                        <a:pt x="12406" y="643"/>
                        <a:pt x="12066" y="681"/>
                        <a:pt x="11721" y="721"/>
                      </a:cubicBezTo>
                      <a:cubicBezTo>
                        <a:pt x="11318" y="768"/>
                        <a:pt x="10911" y="817"/>
                        <a:pt x="10514" y="861"/>
                      </a:cubicBezTo>
                      <a:cubicBezTo>
                        <a:pt x="10173" y="899"/>
                        <a:pt x="9840" y="933"/>
                        <a:pt x="9503" y="968"/>
                      </a:cubicBezTo>
                      <a:cubicBezTo>
                        <a:pt x="9112" y="1009"/>
                        <a:pt x="8717" y="1052"/>
                        <a:pt x="8331" y="1090"/>
                      </a:cubicBezTo>
                      <a:cubicBezTo>
                        <a:pt x="7999" y="1123"/>
                        <a:pt x="7674" y="1152"/>
                        <a:pt x="7346" y="1183"/>
                      </a:cubicBezTo>
                      <a:cubicBezTo>
                        <a:pt x="6965" y="1218"/>
                        <a:pt x="6581" y="1256"/>
                        <a:pt x="6205" y="1288"/>
                      </a:cubicBezTo>
                      <a:cubicBezTo>
                        <a:pt x="5874" y="1317"/>
                        <a:pt x="5550" y="1341"/>
                        <a:pt x="5223" y="1368"/>
                      </a:cubicBezTo>
                      <a:cubicBezTo>
                        <a:pt x="4860" y="1397"/>
                        <a:pt x="4494" y="1428"/>
                        <a:pt x="4135" y="1454"/>
                      </a:cubicBezTo>
                      <a:cubicBezTo>
                        <a:pt x="3811" y="1478"/>
                        <a:pt x="3494" y="1498"/>
                        <a:pt x="3174" y="1520"/>
                      </a:cubicBezTo>
                      <a:cubicBezTo>
                        <a:pt x="2817" y="1544"/>
                        <a:pt x="2457" y="1570"/>
                        <a:pt x="2104" y="1591"/>
                      </a:cubicBezTo>
                      <a:cubicBezTo>
                        <a:pt x="1808" y="1609"/>
                        <a:pt x="1517" y="1623"/>
                        <a:pt x="1223" y="1639"/>
                      </a:cubicBezTo>
                      <a:cubicBezTo>
                        <a:pt x="973" y="1652"/>
                        <a:pt x="722" y="1667"/>
                        <a:pt x="475" y="1679"/>
                      </a:cubicBezTo>
                      <a:lnTo>
                        <a:pt x="475" y="1681"/>
                      </a:lnTo>
                      <a:lnTo>
                        <a:pt x="294" y="1689"/>
                      </a:lnTo>
                      <a:cubicBezTo>
                        <a:pt x="272" y="1690"/>
                        <a:pt x="249" y="1691"/>
                        <a:pt x="227" y="1693"/>
                      </a:cubicBezTo>
                      <a:lnTo>
                        <a:pt x="37" y="1701"/>
                      </a:lnTo>
                      <a:cubicBezTo>
                        <a:pt x="38" y="1705"/>
                        <a:pt x="39" y="1708"/>
                        <a:pt x="40" y="1711"/>
                      </a:cubicBezTo>
                      <a:lnTo>
                        <a:pt x="108" y="1751"/>
                      </a:lnTo>
                      <a:cubicBezTo>
                        <a:pt x="291" y="1897"/>
                        <a:pt x="254" y="2246"/>
                        <a:pt x="226" y="2526"/>
                      </a:cubicBezTo>
                      <a:cubicBezTo>
                        <a:pt x="251" y="2710"/>
                        <a:pt x="223" y="2844"/>
                        <a:pt x="193" y="2930"/>
                      </a:cubicBezTo>
                      <a:cubicBezTo>
                        <a:pt x="441" y="2952"/>
                        <a:pt x="457" y="3380"/>
                        <a:pt x="468" y="3638"/>
                      </a:cubicBezTo>
                      <a:cubicBezTo>
                        <a:pt x="468" y="3653"/>
                        <a:pt x="469" y="3668"/>
                        <a:pt x="469" y="3682"/>
                      </a:cubicBezTo>
                      <a:cubicBezTo>
                        <a:pt x="516" y="3762"/>
                        <a:pt x="569" y="3870"/>
                        <a:pt x="577" y="4027"/>
                      </a:cubicBezTo>
                      <a:cubicBezTo>
                        <a:pt x="586" y="4199"/>
                        <a:pt x="547" y="4314"/>
                        <a:pt x="508" y="4388"/>
                      </a:cubicBezTo>
                      <a:cubicBezTo>
                        <a:pt x="506" y="4444"/>
                        <a:pt x="498" y="4510"/>
                        <a:pt x="479" y="4580"/>
                      </a:cubicBezTo>
                      <a:cubicBezTo>
                        <a:pt x="459" y="4653"/>
                        <a:pt x="433" y="4708"/>
                        <a:pt x="404" y="4751"/>
                      </a:cubicBezTo>
                      <a:cubicBezTo>
                        <a:pt x="421" y="4848"/>
                        <a:pt x="425" y="4974"/>
                        <a:pt x="373" y="5094"/>
                      </a:cubicBezTo>
                      <a:cubicBezTo>
                        <a:pt x="379" y="5126"/>
                        <a:pt x="383" y="5162"/>
                        <a:pt x="384" y="5198"/>
                      </a:cubicBezTo>
                      <a:cubicBezTo>
                        <a:pt x="387" y="5308"/>
                        <a:pt x="364" y="5433"/>
                        <a:pt x="289" y="5573"/>
                      </a:cubicBezTo>
                      <a:cubicBezTo>
                        <a:pt x="294" y="5613"/>
                        <a:pt x="299" y="5655"/>
                        <a:pt x="301" y="5702"/>
                      </a:cubicBezTo>
                      <a:cubicBezTo>
                        <a:pt x="309" y="5885"/>
                        <a:pt x="274" y="6037"/>
                        <a:pt x="255" y="6119"/>
                      </a:cubicBezTo>
                      <a:cubicBezTo>
                        <a:pt x="232" y="6260"/>
                        <a:pt x="178" y="6365"/>
                        <a:pt x="106" y="6421"/>
                      </a:cubicBezTo>
                      <a:close/>
                      <a:moveTo>
                        <a:pt x="106" y="6421"/>
                      </a:moveTo>
                    </a:path>
                  </a:pathLst>
                </a:custGeom>
                <a:solidFill>
                  <a:schemeClr val="accent2">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2400"/>
                    <a:buFontTx/>
                    <a:buNone/>
                    <a:tabLst/>
                    <a:defRPr/>
                  </a:pPr>
                  <a:endParaRPr kumimoji="0" sz="18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93" name="Google Shape;409;p54">
                  <a:extLst>
                    <a:ext uri="{FF2B5EF4-FFF2-40B4-BE49-F238E27FC236}">
                      <a16:creationId xmlns:a16="http://schemas.microsoft.com/office/drawing/2014/main" id="{AC4FC548-BDBB-4D17-9101-413BD80F9590}"/>
                    </a:ext>
                  </a:extLst>
                </p:cNvPr>
                <p:cNvSpPr/>
                <p:nvPr/>
              </p:nvSpPr>
              <p:spPr>
                <a:xfrm>
                  <a:off x="5698912" y="2934502"/>
                  <a:ext cx="372978" cy="657234"/>
                </a:xfrm>
                <a:custGeom>
                  <a:avLst/>
                  <a:gdLst/>
                  <a:ahLst/>
                  <a:cxnLst/>
                  <a:rect l="l" t="t" r="r" b="b"/>
                  <a:pathLst>
                    <a:path w="21600" h="21600" extrusionOk="0">
                      <a:moveTo>
                        <a:pt x="17492" y="0"/>
                      </a:moveTo>
                      <a:cubicBezTo>
                        <a:pt x="15411" y="188"/>
                        <a:pt x="13255" y="381"/>
                        <a:pt x="11051" y="568"/>
                      </a:cubicBezTo>
                      <a:cubicBezTo>
                        <a:pt x="11042" y="569"/>
                        <a:pt x="11033" y="570"/>
                        <a:pt x="11024" y="571"/>
                      </a:cubicBezTo>
                      <a:cubicBezTo>
                        <a:pt x="10364" y="627"/>
                        <a:pt x="9692" y="681"/>
                        <a:pt x="9024" y="736"/>
                      </a:cubicBezTo>
                      <a:cubicBezTo>
                        <a:pt x="8559" y="775"/>
                        <a:pt x="8099" y="814"/>
                        <a:pt x="7630" y="852"/>
                      </a:cubicBezTo>
                      <a:cubicBezTo>
                        <a:pt x="7132" y="892"/>
                        <a:pt x="6625" y="930"/>
                        <a:pt x="6122" y="970"/>
                      </a:cubicBezTo>
                      <a:cubicBezTo>
                        <a:pt x="5504" y="1018"/>
                        <a:pt x="4888" y="1068"/>
                        <a:pt x="4264" y="1114"/>
                      </a:cubicBezTo>
                      <a:lnTo>
                        <a:pt x="4180" y="1158"/>
                      </a:lnTo>
                      <a:cubicBezTo>
                        <a:pt x="4063" y="1225"/>
                        <a:pt x="3906" y="1290"/>
                        <a:pt x="3774" y="1343"/>
                      </a:cubicBezTo>
                      <a:cubicBezTo>
                        <a:pt x="3725" y="1363"/>
                        <a:pt x="3680" y="1379"/>
                        <a:pt x="3652" y="1394"/>
                      </a:cubicBezTo>
                      <a:cubicBezTo>
                        <a:pt x="3452" y="1507"/>
                        <a:pt x="2133" y="1841"/>
                        <a:pt x="1814" y="1898"/>
                      </a:cubicBezTo>
                      <a:cubicBezTo>
                        <a:pt x="1351" y="1980"/>
                        <a:pt x="336" y="2019"/>
                        <a:pt x="139" y="2019"/>
                      </a:cubicBezTo>
                      <a:cubicBezTo>
                        <a:pt x="96" y="2016"/>
                        <a:pt x="50" y="2012"/>
                        <a:pt x="0" y="2006"/>
                      </a:cubicBezTo>
                      <a:lnTo>
                        <a:pt x="2635" y="13741"/>
                      </a:lnTo>
                      <a:cubicBezTo>
                        <a:pt x="2645" y="14018"/>
                        <a:pt x="2578" y="14082"/>
                        <a:pt x="2538" y="14121"/>
                      </a:cubicBezTo>
                      <a:cubicBezTo>
                        <a:pt x="2460" y="14201"/>
                        <a:pt x="2336" y="14240"/>
                        <a:pt x="2241" y="14262"/>
                      </a:cubicBezTo>
                      <a:cubicBezTo>
                        <a:pt x="2241" y="14290"/>
                        <a:pt x="2239" y="14316"/>
                        <a:pt x="2236" y="14340"/>
                      </a:cubicBezTo>
                      <a:cubicBezTo>
                        <a:pt x="2352" y="14424"/>
                        <a:pt x="2456" y="14508"/>
                        <a:pt x="2498" y="14619"/>
                      </a:cubicBezTo>
                      <a:cubicBezTo>
                        <a:pt x="2582" y="14839"/>
                        <a:pt x="2345" y="15008"/>
                        <a:pt x="2157" y="15108"/>
                      </a:cubicBezTo>
                      <a:cubicBezTo>
                        <a:pt x="2212" y="15133"/>
                        <a:pt x="2275" y="15160"/>
                        <a:pt x="2316" y="15178"/>
                      </a:cubicBezTo>
                      <a:cubicBezTo>
                        <a:pt x="2428" y="15227"/>
                        <a:pt x="2511" y="15262"/>
                        <a:pt x="2572" y="15302"/>
                      </a:cubicBezTo>
                      <a:cubicBezTo>
                        <a:pt x="2744" y="15415"/>
                        <a:pt x="2777" y="15529"/>
                        <a:pt x="2773" y="15617"/>
                      </a:cubicBezTo>
                      <a:cubicBezTo>
                        <a:pt x="2792" y="15643"/>
                        <a:pt x="2812" y="15677"/>
                        <a:pt x="2821" y="15717"/>
                      </a:cubicBezTo>
                      <a:cubicBezTo>
                        <a:pt x="3026" y="15765"/>
                        <a:pt x="3284" y="15855"/>
                        <a:pt x="3346" y="16041"/>
                      </a:cubicBezTo>
                      <a:cubicBezTo>
                        <a:pt x="3386" y="16160"/>
                        <a:pt x="3330" y="16291"/>
                        <a:pt x="3241" y="16436"/>
                      </a:cubicBezTo>
                      <a:cubicBezTo>
                        <a:pt x="3373" y="16516"/>
                        <a:pt x="3418" y="16620"/>
                        <a:pt x="3380" y="16746"/>
                      </a:cubicBezTo>
                      <a:cubicBezTo>
                        <a:pt x="3492" y="16833"/>
                        <a:pt x="3640" y="16971"/>
                        <a:pt x="3640" y="17100"/>
                      </a:cubicBezTo>
                      <a:cubicBezTo>
                        <a:pt x="3640" y="17183"/>
                        <a:pt x="3614" y="17331"/>
                        <a:pt x="3542" y="17495"/>
                      </a:cubicBezTo>
                      <a:cubicBezTo>
                        <a:pt x="3435" y="17742"/>
                        <a:pt x="3097" y="17799"/>
                        <a:pt x="2951" y="17820"/>
                      </a:cubicBezTo>
                      <a:cubicBezTo>
                        <a:pt x="2951" y="18001"/>
                        <a:pt x="2919" y="18072"/>
                        <a:pt x="2860" y="18149"/>
                      </a:cubicBezTo>
                      <a:cubicBezTo>
                        <a:pt x="2808" y="18224"/>
                        <a:pt x="2782" y="18259"/>
                        <a:pt x="2773" y="18303"/>
                      </a:cubicBezTo>
                      <a:cubicBezTo>
                        <a:pt x="2836" y="18365"/>
                        <a:pt x="2862" y="18434"/>
                        <a:pt x="2849" y="18510"/>
                      </a:cubicBezTo>
                      <a:cubicBezTo>
                        <a:pt x="2820" y="18655"/>
                        <a:pt x="2651" y="18748"/>
                        <a:pt x="2373" y="18859"/>
                      </a:cubicBezTo>
                      <a:cubicBezTo>
                        <a:pt x="2368" y="18915"/>
                        <a:pt x="2338" y="18978"/>
                        <a:pt x="2263" y="19049"/>
                      </a:cubicBezTo>
                      <a:cubicBezTo>
                        <a:pt x="2273" y="19058"/>
                        <a:pt x="2257" y="19135"/>
                        <a:pt x="2172" y="19275"/>
                      </a:cubicBezTo>
                      <a:cubicBezTo>
                        <a:pt x="2085" y="19423"/>
                        <a:pt x="1948" y="19512"/>
                        <a:pt x="1736" y="19558"/>
                      </a:cubicBezTo>
                      <a:cubicBezTo>
                        <a:pt x="1729" y="19600"/>
                        <a:pt x="1731" y="19657"/>
                        <a:pt x="1732" y="19683"/>
                      </a:cubicBezTo>
                      <a:cubicBezTo>
                        <a:pt x="1734" y="19753"/>
                        <a:pt x="1736" y="19814"/>
                        <a:pt x="1683" y="19881"/>
                      </a:cubicBezTo>
                      <a:lnTo>
                        <a:pt x="1551" y="20049"/>
                      </a:lnTo>
                      <a:lnTo>
                        <a:pt x="1193" y="20059"/>
                      </a:lnTo>
                      <a:cubicBezTo>
                        <a:pt x="1174" y="20059"/>
                        <a:pt x="1155" y="20058"/>
                        <a:pt x="1136" y="20057"/>
                      </a:cubicBezTo>
                      <a:cubicBezTo>
                        <a:pt x="1093" y="20080"/>
                        <a:pt x="1044" y="20100"/>
                        <a:pt x="985" y="20116"/>
                      </a:cubicBezTo>
                      <a:cubicBezTo>
                        <a:pt x="973" y="20135"/>
                        <a:pt x="958" y="20153"/>
                        <a:pt x="943" y="20169"/>
                      </a:cubicBezTo>
                      <a:cubicBezTo>
                        <a:pt x="1110" y="20226"/>
                        <a:pt x="1337" y="20331"/>
                        <a:pt x="1323" y="20540"/>
                      </a:cubicBezTo>
                      <a:cubicBezTo>
                        <a:pt x="1317" y="20700"/>
                        <a:pt x="1156" y="20799"/>
                        <a:pt x="996" y="20864"/>
                      </a:cubicBezTo>
                      <a:lnTo>
                        <a:pt x="1006" y="20992"/>
                      </a:lnTo>
                      <a:cubicBezTo>
                        <a:pt x="1000" y="21102"/>
                        <a:pt x="900" y="21195"/>
                        <a:pt x="789" y="21265"/>
                      </a:cubicBezTo>
                      <a:cubicBezTo>
                        <a:pt x="793" y="21273"/>
                        <a:pt x="799" y="21281"/>
                        <a:pt x="804" y="21289"/>
                      </a:cubicBezTo>
                      <a:cubicBezTo>
                        <a:pt x="835" y="21335"/>
                        <a:pt x="861" y="21376"/>
                        <a:pt x="882" y="21414"/>
                      </a:cubicBezTo>
                      <a:cubicBezTo>
                        <a:pt x="888" y="21426"/>
                        <a:pt x="889" y="21438"/>
                        <a:pt x="894" y="21450"/>
                      </a:cubicBezTo>
                      <a:cubicBezTo>
                        <a:pt x="903" y="21474"/>
                        <a:pt x="915" y="21497"/>
                        <a:pt x="918" y="21520"/>
                      </a:cubicBezTo>
                      <a:cubicBezTo>
                        <a:pt x="969" y="21498"/>
                        <a:pt x="1024" y="21479"/>
                        <a:pt x="1082" y="21462"/>
                      </a:cubicBezTo>
                      <a:lnTo>
                        <a:pt x="1190" y="21430"/>
                      </a:lnTo>
                      <a:lnTo>
                        <a:pt x="1384" y="21420"/>
                      </a:lnTo>
                      <a:cubicBezTo>
                        <a:pt x="1667" y="21420"/>
                        <a:pt x="1862" y="21518"/>
                        <a:pt x="1995" y="21600"/>
                      </a:cubicBezTo>
                      <a:cubicBezTo>
                        <a:pt x="2078" y="21565"/>
                        <a:pt x="2228" y="21528"/>
                        <a:pt x="2443" y="21528"/>
                      </a:cubicBezTo>
                      <a:lnTo>
                        <a:pt x="2465" y="21528"/>
                      </a:lnTo>
                      <a:cubicBezTo>
                        <a:pt x="2515" y="21506"/>
                        <a:pt x="2551" y="21491"/>
                        <a:pt x="2588" y="21478"/>
                      </a:cubicBezTo>
                      <a:lnTo>
                        <a:pt x="2765" y="21433"/>
                      </a:lnTo>
                      <a:cubicBezTo>
                        <a:pt x="2793" y="21384"/>
                        <a:pt x="2844" y="21334"/>
                        <a:pt x="2931" y="21288"/>
                      </a:cubicBezTo>
                      <a:cubicBezTo>
                        <a:pt x="3031" y="21034"/>
                        <a:pt x="3332" y="20999"/>
                        <a:pt x="3465" y="20996"/>
                      </a:cubicBezTo>
                      <a:cubicBezTo>
                        <a:pt x="3466" y="20996"/>
                        <a:pt x="3466" y="20996"/>
                        <a:pt x="3467" y="20996"/>
                      </a:cubicBezTo>
                      <a:cubicBezTo>
                        <a:pt x="3673" y="20996"/>
                        <a:pt x="3913" y="21042"/>
                        <a:pt x="4045" y="21245"/>
                      </a:cubicBezTo>
                      <a:cubicBezTo>
                        <a:pt x="4216" y="21140"/>
                        <a:pt x="4370" y="21060"/>
                        <a:pt x="4595" y="21054"/>
                      </a:cubicBezTo>
                      <a:cubicBezTo>
                        <a:pt x="4599" y="21054"/>
                        <a:pt x="4603" y="21054"/>
                        <a:pt x="4607" y="21054"/>
                      </a:cubicBezTo>
                      <a:cubicBezTo>
                        <a:pt x="4805" y="21054"/>
                        <a:pt x="5092" y="21070"/>
                        <a:pt x="5399" y="21166"/>
                      </a:cubicBezTo>
                      <a:cubicBezTo>
                        <a:pt x="5529" y="21207"/>
                        <a:pt x="5595" y="21212"/>
                        <a:pt x="5638" y="21216"/>
                      </a:cubicBezTo>
                      <a:cubicBezTo>
                        <a:pt x="5848" y="21235"/>
                        <a:pt x="5957" y="21290"/>
                        <a:pt x="6028" y="21327"/>
                      </a:cubicBezTo>
                      <a:cubicBezTo>
                        <a:pt x="6056" y="21340"/>
                        <a:pt x="6092" y="21359"/>
                        <a:pt x="6148" y="21383"/>
                      </a:cubicBezTo>
                      <a:cubicBezTo>
                        <a:pt x="6212" y="21411"/>
                        <a:pt x="6351" y="21439"/>
                        <a:pt x="6452" y="21460"/>
                      </a:cubicBezTo>
                      <a:lnTo>
                        <a:pt x="6551" y="21481"/>
                      </a:lnTo>
                      <a:cubicBezTo>
                        <a:pt x="6592" y="21477"/>
                        <a:pt x="6629" y="21476"/>
                        <a:pt x="6670" y="21476"/>
                      </a:cubicBezTo>
                      <a:lnTo>
                        <a:pt x="6917" y="21499"/>
                      </a:lnTo>
                      <a:cubicBezTo>
                        <a:pt x="6954" y="21506"/>
                        <a:pt x="6988" y="21515"/>
                        <a:pt x="7021" y="21525"/>
                      </a:cubicBezTo>
                      <a:cubicBezTo>
                        <a:pt x="7019" y="21508"/>
                        <a:pt x="7018" y="21490"/>
                        <a:pt x="7015" y="21470"/>
                      </a:cubicBezTo>
                      <a:lnTo>
                        <a:pt x="7011" y="21412"/>
                      </a:lnTo>
                      <a:cubicBezTo>
                        <a:pt x="7009" y="21243"/>
                        <a:pt x="7154" y="21140"/>
                        <a:pt x="7404" y="21018"/>
                      </a:cubicBezTo>
                      <a:cubicBezTo>
                        <a:pt x="7648" y="20899"/>
                        <a:pt x="7892" y="20872"/>
                        <a:pt x="8048" y="20862"/>
                      </a:cubicBezTo>
                      <a:cubicBezTo>
                        <a:pt x="8099" y="20820"/>
                        <a:pt x="8122" y="20801"/>
                        <a:pt x="8144" y="20785"/>
                      </a:cubicBezTo>
                      <a:cubicBezTo>
                        <a:pt x="8419" y="20583"/>
                        <a:pt x="8690" y="20467"/>
                        <a:pt x="8943" y="20444"/>
                      </a:cubicBezTo>
                      <a:lnTo>
                        <a:pt x="9045" y="20440"/>
                      </a:lnTo>
                      <a:cubicBezTo>
                        <a:pt x="9503" y="20440"/>
                        <a:pt x="9691" y="20679"/>
                        <a:pt x="9781" y="20795"/>
                      </a:cubicBezTo>
                      <a:cubicBezTo>
                        <a:pt x="9800" y="20818"/>
                        <a:pt x="9826" y="20843"/>
                        <a:pt x="9856" y="20867"/>
                      </a:cubicBezTo>
                      <a:cubicBezTo>
                        <a:pt x="10001" y="20831"/>
                        <a:pt x="10131" y="20811"/>
                        <a:pt x="10358" y="20826"/>
                      </a:cubicBezTo>
                      <a:cubicBezTo>
                        <a:pt x="10434" y="20779"/>
                        <a:pt x="10534" y="20746"/>
                        <a:pt x="10655" y="20730"/>
                      </a:cubicBezTo>
                      <a:cubicBezTo>
                        <a:pt x="10625" y="20659"/>
                        <a:pt x="10498" y="20315"/>
                        <a:pt x="10733" y="20146"/>
                      </a:cubicBezTo>
                      <a:cubicBezTo>
                        <a:pt x="10788" y="20107"/>
                        <a:pt x="10853" y="20076"/>
                        <a:pt x="10930" y="20054"/>
                      </a:cubicBezTo>
                      <a:cubicBezTo>
                        <a:pt x="10856" y="19963"/>
                        <a:pt x="10843" y="19860"/>
                        <a:pt x="10920" y="19759"/>
                      </a:cubicBezTo>
                      <a:cubicBezTo>
                        <a:pt x="11027" y="19609"/>
                        <a:pt x="11305" y="19521"/>
                        <a:pt x="11649" y="19562"/>
                      </a:cubicBezTo>
                      <a:cubicBezTo>
                        <a:pt x="11729" y="19523"/>
                        <a:pt x="11824" y="19502"/>
                        <a:pt x="11919" y="19491"/>
                      </a:cubicBezTo>
                      <a:cubicBezTo>
                        <a:pt x="11931" y="19468"/>
                        <a:pt x="11946" y="19445"/>
                        <a:pt x="11969" y="19423"/>
                      </a:cubicBezTo>
                      <a:lnTo>
                        <a:pt x="12113" y="19278"/>
                      </a:lnTo>
                      <a:lnTo>
                        <a:pt x="12457" y="19264"/>
                      </a:lnTo>
                      <a:cubicBezTo>
                        <a:pt x="12711" y="19264"/>
                        <a:pt x="12963" y="19357"/>
                        <a:pt x="13100" y="19450"/>
                      </a:cubicBezTo>
                      <a:cubicBezTo>
                        <a:pt x="13281" y="19571"/>
                        <a:pt x="13265" y="19692"/>
                        <a:pt x="13257" y="19757"/>
                      </a:cubicBezTo>
                      <a:cubicBezTo>
                        <a:pt x="13255" y="19781"/>
                        <a:pt x="13250" y="19814"/>
                        <a:pt x="13257" y="19864"/>
                      </a:cubicBezTo>
                      <a:cubicBezTo>
                        <a:pt x="13257" y="19874"/>
                        <a:pt x="13295" y="19905"/>
                        <a:pt x="13522" y="19974"/>
                      </a:cubicBezTo>
                      <a:lnTo>
                        <a:pt x="13559" y="19985"/>
                      </a:lnTo>
                      <a:lnTo>
                        <a:pt x="13630" y="19963"/>
                      </a:lnTo>
                      <a:cubicBezTo>
                        <a:pt x="14047" y="19881"/>
                        <a:pt x="14380" y="19968"/>
                        <a:pt x="14511" y="20013"/>
                      </a:cubicBezTo>
                      <a:cubicBezTo>
                        <a:pt x="14624" y="19976"/>
                        <a:pt x="14760" y="19954"/>
                        <a:pt x="14922" y="19928"/>
                      </a:cubicBezTo>
                      <a:cubicBezTo>
                        <a:pt x="14930" y="19927"/>
                        <a:pt x="14937" y="19925"/>
                        <a:pt x="14945" y="19924"/>
                      </a:cubicBezTo>
                      <a:lnTo>
                        <a:pt x="14952" y="19870"/>
                      </a:lnTo>
                      <a:cubicBezTo>
                        <a:pt x="14950" y="19816"/>
                        <a:pt x="14949" y="19747"/>
                        <a:pt x="14985" y="19674"/>
                      </a:cubicBezTo>
                      <a:cubicBezTo>
                        <a:pt x="14968" y="19645"/>
                        <a:pt x="14952" y="19614"/>
                        <a:pt x="14941" y="19577"/>
                      </a:cubicBezTo>
                      <a:cubicBezTo>
                        <a:pt x="14924" y="19521"/>
                        <a:pt x="14868" y="19268"/>
                        <a:pt x="14906" y="19136"/>
                      </a:cubicBezTo>
                      <a:cubicBezTo>
                        <a:pt x="14942" y="19009"/>
                        <a:pt x="15098" y="18915"/>
                        <a:pt x="15224" y="18840"/>
                      </a:cubicBezTo>
                      <a:cubicBezTo>
                        <a:pt x="15231" y="18836"/>
                        <a:pt x="15239" y="18832"/>
                        <a:pt x="15245" y="18827"/>
                      </a:cubicBezTo>
                      <a:cubicBezTo>
                        <a:pt x="15244" y="18821"/>
                        <a:pt x="15244" y="18814"/>
                        <a:pt x="15243" y="18808"/>
                      </a:cubicBezTo>
                      <a:cubicBezTo>
                        <a:pt x="15239" y="18722"/>
                        <a:pt x="15233" y="18614"/>
                        <a:pt x="15326" y="18513"/>
                      </a:cubicBezTo>
                      <a:cubicBezTo>
                        <a:pt x="15444" y="18388"/>
                        <a:pt x="15632" y="18319"/>
                        <a:pt x="15888" y="18304"/>
                      </a:cubicBezTo>
                      <a:lnTo>
                        <a:pt x="15964" y="18290"/>
                      </a:lnTo>
                      <a:lnTo>
                        <a:pt x="16010" y="18296"/>
                      </a:lnTo>
                      <a:cubicBezTo>
                        <a:pt x="16125" y="18296"/>
                        <a:pt x="16242" y="18316"/>
                        <a:pt x="16347" y="18345"/>
                      </a:cubicBezTo>
                      <a:cubicBezTo>
                        <a:pt x="16351" y="18343"/>
                        <a:pt x="16355" y="18341"/>
                        <a:pt x="16360" y="18338"/>
                      </a:cubicBezTo>
                      <a:cubicBezTo>
                        <a:pt x="16431" y="18308"/>
                        <a:pt x="16447" y="18293"/>
                        <a:pt x="16449" y="18293"/>
                      </a:cubicBezTo>
                      <a:cubicBezTo>
                        <a:pt x="16454" y="18240"/>
                        <a:pt x="16460" y="18211"/>
                        <a:pt x="16471" y="18180"/>
                      </a:cubicBezTo>
                      <a:cubicBezTo>
                        <a:pt x="16481" y="18149"/>
                        <a:pt x="16488" y="18128"/>
                        <a:pt x="16488" y="18112"/>
                      </a:cubicBezTo>
                      <a:cubicBezTo>
                        <a:pt x="16422" y="18040"/>
                        <a:pt x="16439" y="17939"/>
                        <a:pt x="16543" y="17834"/>
                      </a:cubicBezTo>
                      <a:cubicBezTo>
                        <a:pt x="16534" y="17756"/>
                        <a:pt x="16552" y="17637"/>
                        <a:pt x="16729" y="17501"/>
                      </a:cubicBezTo>
                      <a:cubicBezTo>
                        <a:pt x="16914" y="17357"/>
                        <a:pt x="17204" y="17304"/>
                        <a:pt x="17396" y="17269"/>
                      </a:cubicBezTo>
                      <a:cubicBezTo>
                        <a:pt x="17413" y="17266"/>
                        <a:pt x="17429" y="17264"/>
                        <a:pt x="17445" y="17261"/>
                      </a:cubicBezTo>
                      <a:cubicBezTo>
                        <a:pt x="17473" y="17101"/>
                        <a:pt x="17653" y="17006"/>
                        <a:pt x="17781" y="16946"/>
                      </a:cubicBezTo>
                      <a:cubicBezTo>
                        <a:pt x="17746" y="16913"/>
                        <a:pt x="17721" y="16889"/>
                        <a:pt x="17700" y="16864"/>
                      </a:cubicBezTo>
                      <a:cubicBezTo>
                        <a:pt x="17582" y="16727"/>
                        <a:pt x="17564" y="16641"/>
                        <a:pt x="17546" y="16528"/>
                      </a:cubicBezTo>
                      <a:lnTo>
                        <a:pt x="17500" y="16502"/>
                      </a:lnTo>
                      <a:cubicBezTo>
                        <a:pt x="17241" y="16319"/>
                        <a:pt x="17374" y="16041"/>
                        <a:pt x="17495" y="15905"/>
                      </a:cubicBezTo>
                      <a:cubicBezTo>
                        <a:pt x="17579" y="15807"/>
                        <a:pt x="17769" y="15688"/>
                        <a:pt x="18183" y="15688"/>
                      </a:cubicBezTo>
                      <a:lnTo>
                        <a:pt x="18287" y="15689"/>
                      </a:lnTo>
                      <a:lnTo>
                        <a:pt x="18371" y="15975"/>
                      </a:lnTo>
                      <a:lnTo>
                        <a:pt x="18401" y="15689"/>
                      </a:lnTo>
                      <a:cubicBezTo>
                        <a:pt x="18557" y="15652"/>
                        <a:pt x="18687" y="15619"/>
                        <a:pt x="18894" y="15594"/>
                      </a:cubicBezTo>
                      <a:lnTo>
                        <a:pt x="19091" y="15581"/>
                      </a:lnTo>
                      <a:cubicBezTo>
                        <a:pt x="19435" y="15581"/>
                        <a:pt x="19638" y="15693"/>
                        <a:pt x="19764" y="15769"/>
                      </a:cubicBezTo>
                      <a:cubicBezTo>
                        <a:pt x="19766" y="15768"/>
                        <a:pt x="19768" y="15767"/>
                        <a:pt x="19769" y="15766"/>
                      </a:cubicBezTo>
                      <a:cubicBezTo>
                        <a:pt x="19834" y="15719"/>
                        <a:pt x="19901" y="15672"/>
                        <a:pt x="19976" y="15628"/>
                      </a:cubicBezTo>
                      <a:cubicBezTo>
                        <a:pt x="20175" y="15510"/>
                        <a:pt x="20417" y="15411"/>
                        <a:pt x="20577" y="15347"/>
                      </a:cubicBezTo>
                      <a:lnTo>
                        <a:pt x="20677" y="15305"/>
                      </a:lnTo>
                      <a:cubicBezTo>
                        <a:pt x="20814" y="15206"/>
                        <a:pt x="21074" y="15206"/>
                        <a:pt x="21199" y="15206"/>
                      </a:cubicBezTo>
                      <a:lnTo>
                        <a:pt x="21259" y="15205"/>
                      </a:lnTo>
                      <a:cubicBezTo>
                        <a:pt x="21279" y="15193"/>
                        <a:pt x="21300" y="15183"/>
                        <a:pt x="21320" y="15172"/>
                      </a:cubicBezTo>
                      <a:cubicBezTo>
                        <a:pt x="21347" y="15156"/>
                        <a:pt x="21375" y="15139"/>
                        <a:pt x="21404" y="15126"/>
                      </a:cubicBezTo>
                      <a:cubicBezTo>
                        <a:pt x="21462" y="15099"/>
                        <a:pt x="21522" y="15076"/>
                        <a:pt x="21599" y="15062"/>
                      </a:cubicBezTo>
                      <a:lnTo>
                        <a:pt x="21600" y="15061"/>
                      </a:lnTo>
                      <a:cubicBezTo>
                        <a:pt x="21457" y="15036"/>
                        <a:pt x="21310" y="14973"/>
                        <a:pt x="21215" y="14834"/>
                      </a:cubicBezTo>
                      <a:cubicBezTo>
                        <a:pt x="21092" y="14678"/>
                        <a:pt x="21140" y="14536"/>
                        <a:pt x="21346" y="14396"/>
                      </a:cubicBezTo>
                      <a:cubicBezTo>
                        <a:pt x="21298" y="14368"/>
                        <a:pt x="21247" y="14341"/>
                        <a:pt x="21220" y="14329"/>
                      </a:cubicBezTo>
                      <a:cubicBezTo>
                        <a:pt x="21155" y="14311"/>
                        <a:pt x="21085" y="14270"/>
                        <a:pt x="21024" y="14228"/>
                      </a:cubicBezTo>
                      <a:cubicBezTo>
                        <a:pt x="21022" y="14227"/>
                        <a:pt x="21020" y="14225"/>
                        <a:pt x="21018" y="14223"/>
                      </a:cubicBezTo>
                      <a:cubicBezTo>
                        <a:pt x="20959" y="14182"/>
                        <a:pt x="20911" y="14140"/>
                        <a:pt x="20883" y="14115"/>
                      </a:cubicBezTo>
                      <a:cubicBezTo>
                        <a:pt x="20708" y="13954"/>
                        <a:pt x="20858" y="13768"/>
                        <a:pt x="21069" y="13664"/>
                      </a:cubicBezTo>
                      <a:cubicBezTo>
                        <a:pt x="21088" y="13654"/>
                        <a:pt x="21128" y="13627"/>
                        <a:pt x="21141" y="13615"/>
                      </a:cubicBezTo>
                      <a:cubicBezTo>
                        <a:pt x="21166" y="13586"/>
                        <a:pt x="21199" y="13559"/>
                        <a:pt x="21233" y="13535"/>
                      </a:cubicBezTo>
                      <a:lnTo>
                        <a:pt x="21186" y="13401"/>
                      </a:lnTo>
                      <a:lnTo>
                        <a:pt x="21209" y="13399"/>
                      </a:lnTo>
                      <a:cubicBezTo>
                        <a:pt x="21209" y="13399"/>
                        <a:pt x="17492" y="0"/>
                        <a:pt x="17492" y="0"/>
                      </a:cubicBezTo>
                      <a:close/>
                      <a:moveTo>
                        <a:pt x="17492" y="0"/>
                      </a:moveTo>
                    </a:path>
                  </a:pathLst>
                </a:custGeom>
                <a:solidFill>
                  <a:schemeClr val="accent2">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513F3A"/>
                    </a:solidFill>
                    <a:effectLst/>
                    <a:uLnTx/>
                    <a:uFillTx/>
                    <a:latin typeface="Arial"/>
                    <a:ea typeface="Arial"/>
                    <a:cs typeface="Arial"/>
                    <a:sym typeface="Arial"/>
                  </a:endParaRPr>
                </a:p>
              </p:txBody>
            </p:sp>
            <p:sp>
              <p:nvSpPr>
                <p:cNvPr id="94" name="Google Shape;410;p54">
                  <a:extLst>
                    <a:ext uri="{FF2B5EF4-FFF2-40B4-BE49-F238E27FC236}">
                      <a16:creationId xmlns:a16="http://schemas.microsoft.com/office/drawing/2014/main" id="{FB720206-FED8-44F5-8A14-9B1E2995FB8C}"/>
                    </a:ext>
                  </a:extLst>
                </p:cNvPr>
                <p:cNvSpPr/>
                <p:nvPr/>
              </p:nvSpPr>
              <p:spPr>
                <a:xfrm>
                  <a:off x="5617271" y="2383419"/>
                  <a:ext cx="7128" cy="6102"/>
                </a:xfrm>
                <a:custGeom>
                  <a:avLst/>
                  <a:gdLst/>
                  <a:ahLst/>
                  <a:cxnLst/>
                  <a:rect l="l" t="t" r="r" b="b"/>
                  <a:pathLst>
                    <a:path w="21600" h="21600" extrusionOk="0">
                      <a:moveTo>
                        <a:pt x="3489" y="0"/>
                      </a:moveTo>
                      <a:cubicBezTo>
                        <a:pt x="3382" y="111"/>
                        <a:pt x="1365" y="2481"/>
                        <a:pt x="0" y="6943"/>
                      </a:cubicBezTo>
                      <a:lnTo>
                        <a:pt x="21446" y="21509"/>
                      </a:lnTo>
                      <a:cubicBezTo>
                        <a:pt x="21505" y="21509"/>
                        <a:pt x="21505" y="21482"/>
                        <a:pt x="21505" y="21482"/>
                      </a:cubicBezTo>
                      <a:lnTo>
                        <a:pt x="21600" y="21600"/>
                      </a:lnTo>
                      <a:lnTo>
                        <a:pt x="7465" y="4754"/>
                      </a:lnTo>
                      <a:cubicBezTo>
                        <a:pt x="7513" y="5024"/>
                        <a:pt x="7572" y="5310"/>
                        <a:pt x="7667" y="5581"/>
                      </a:cubicBezTo>
                      <a:cubicBezTo>
                        <a:pt x="7133" y="4900"/>
                        <a:pt x="6670" y="4135"/>
                        <a:pt x="6207" y="3245"/>
                      </a:cubicBezTo>
                      <a:cubicBezTo>
                        <a:pt x="6207" y="3245"/>
                        <a:pt x="3489" y="0"/>
                        <a:pt x="3489" y="0"/>
                      </a:cubicBezTo>
                      <a:close/>
                      <a:moveTo>
                        <a:pt x="3489" y="0"/>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95" name="Google Shape;411;p54">
                  <a:extLst>
                    <a:ext uri="{FF2B5EF4-FFF2-40B4-BE49-F238E27FC236}">
                      <a16:creationId xmlns:a16="http://schemas.microsoft.com/office/drawing/2014/main" id="{3B2AD86F-C6B8-40DE-82D2-7BA3E1499516}"/>
                    </a:ext>
                  </a:extLst>
                </p:cNvPr>
                <p:cNvSpPr/>
                <p:nvPr/>
              </p:nvSpPr>
              <p:spPr>
                <a:xfrm>
                  <a:off x="5009039" y="2424241"/>
                  <a:ext cx="2538" cy="8179"/>
                </a:xfrm>
                <a:custGeom>
                  <a:avLst/>
                  <a:gdLst/>
                  <a:ahLst/>
                  <a:cxnLst/>
                  <a:rect l="l" t="t" r="r" b="b"/>
                  <a:pathLst>
                    <a:path w="21600" h="21523" extrusionOk="0">
                      <a:moveTo>
                        <a:pt x="3261" y="21485"/>
                      </a:moveTo>
                      <a:cubicBezTo>
                        <a:pt x="7702" y="21600"/>
                        <a:pt x="11133" y="21424"/>
                        <a:pt x="14598" y="21330"/>
                      </a:cubicBezTo>
                      <a:lnTo>
                        <a:pt x="21600" y="0"/>
                      </a:lnTo>
                      <a:lnTo>
                        <a:pt x="0" y="19898"/>
                      </a:lnTo>
                      <a:cubicBezTo>
                        <a:pt x="1009" y="20536"/>
                        <a:pt x="2153" y="21040"/>
                        <a:pt x="3261" y="21485"/>
                      </a:cubicBezTo>
                      <a:close/>
                      <a:moveTo>
                        <a:pt x="3261" y="21485"/>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96" name="Google Shape;412;p54">
                  <a:extLst>
                    <a:ext uri="{FF2B5EF4-FFF2-40B4-BE49-F238E27FC236}">
                      <a16:creationId xmlns:a16="http://schemas.microsoft.com/office/drawing/2014/main" id="{FAB23CBB-FF69-4B2D-87B1-FD3C15697317}"/>
                    </a:ext>
                  </a:extLst>
                </p:cNvPr>
                <p:cNvSpPr/>
                <p:nvPr/>
              </p:nvSpPr>
              <p:spPr>
                <a:xfrm>
                  <a:off x="5625435" y="2387501"/>
                  <a:ext cx="0" cy="0"/>
                </a:xfrm>
                <a:custGeom>
                  <a:avLst/>
                  <a:gdLst/>
                  <a:ahLst/>
                  <a:cxnLst/>
                  <a:rect l="l" t="t" r="r" b="b"/>
                  <a:pathLst>
                    <a:path w="21600" h="21600" extrusionOk="0">
                      <a:moveTo>
                        <a:pt x="0" y="0"/>
                      </a:moveTo>
                      <a:lnTo>
                        <a:pt x="0" y="0"/>
                      </a:lnTo>
                      <a:lnTo>
                        <a:pt x="0" y="0"/>
                      </a:lnTo>
                      <a:cubicBezTo>
                        <a:pt x="0" y="0"/>
                        <a:pt x="0" y="0"/>
                        <a:pt x="0" y="0"/>
                      </a:cubicBezTo>
                      <a:close/>
                      <a:moveTo>
                        <a:pt x="0" y="0"/>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97" name="Google Shape;413;p54">
                  <a:extLst>
                    <a:ext uri="{FF2B5EF4-FFF2-40B4-BE49-F238E27FC236}">
                      <a16:creationId xmlns:a16="http://schemas.microsoft.com/office/drawing/2014/main" id="{D9BC7324-5404-459C-8A44-9CF7C05B88C8}"/>
                    </a:ext>
                  </a:extLst>
                </p:cNvPr>
                <p:cNvSpPr/>
                <p:nvPr/>
              </p:nvSpPr>
              <p:spPr>
                <a:xfrm>
                  <a:off x="5956083" y="2244628"/>
                  <a:ext cx="0" cy="0"/>
                </a:xfrm>
                <a:custGeom>
                  <a:avLst/>
                  <a:gdLst/>
                  <a:ahLst/>
                  <a:cxnLst/>
                  <a:rect l="l" t="t" r="r" b="b"/>
                  <a:pathLst>
                    <a:path w="21600" h="21600" extrusionOk="0">
                      <a:moveTo>
                        <a:pt x="0" y="0"/>
                      </a:moveTo>
                      <a:lnTo>
                        <a:pt x="0" y="0"/>
                      </a:lnTo>
                      <a:cubicBezTo>
                        <a:pt x="0" y="0"/>
                        <a:pt x="0" y="0"/>
                        <a:pt x="0" y="0"/>
                      </a:cubicBezTo>
                      <a:close/>
                      <a:moveTo>
                        <a:pt x="0" y="0"/>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grpSp>
          <p:grpSp>
            <p:nvGrpSpPr>
              <p:cNvPr id="18" name="Google Shape;414;p54">
                <a:extLst>
                  <a:ext uri="{FF2B5EF4-FFF2-40B4-BE49-F238E27FC236}">
                    <a16:creationId xmlns:a16="http://schemas.microsoft.com/office/drawing/2014/main" id="{8F99A5D0-C347-47C8-AB2B-9C0B3F4BE575}"/>
                  </a:ext>
                </a:extLst>
              </p:cNvPr>
              <p:cNvGrpSpPr/>
              <p:nvPr/>
            </p:nvGrpSpPr>
            <p:grpSpPr>
              <a:xfrm>
                <a:off x="636116" y="1506500"/>
                <a:ext cx="3178803" cy="3658017"/>
                <a:chOff x="1257595" y="1647396"/>
                <a:chExt cx="2677337" cy="3080957"/>
              </a:xfrm>
            </p:grpSpPr>
            <p:sp>
              <p:nvSpPr>
                <p:cNvPr id="59" name="Google Shape;415;p54">
                  <a:extLst>
                    <a:ext uri="{FF2B5EF4-FFF2-40B4-BE49-F238E27FC236}">
                      <a16:creationId xmlns:a16="http://schemas.microsoft.com/office/drawing/2014/main" id="{B8A3ED33-1CF7-4734-866B-316969C8F664}"/>
                    </a:ext>
                  </a:extLst>
                </p:cNvPr>
                <p:cNvSpPr/>
                <p:nvPr/>
              </p:nvSpPr>
              <p:spPr>
                <a:xfrm>
                  <a:off x="2461813" y="1767025"/>
                  <a:ext cx="1289952" cy="764856"/>
                </a:xfrm>
                <a:custGeom>
                  <a:avLst/>
                  <a:gdLst/>
                  <a:ahLst/>
                  <a:cxnLst/>
                  <a:rect l="l" t="t" r="r" b="b"/>
                  <a:pathLst>
                    <a:path w="21600" h="21600" extrusionOk="0">
                      <a:moveTo>
                        <a:pt x="53" y="4364"/>
                      </a:moveTo>
                      <a:cubicBezTo>
                        <a:pt x="59" y="4393"/>
                        <a:pt x="62" y="4420"/>
                        <a:pt x="65" y="4443"/>
                      </a:cubicBezTo>
                      <a:cubicBezTo>
                        <a:pt x="90" y="4494"/>
                        <a:pt x="125" y="4580"/>
                        <a:pt x="139" y="4672"/>
                      </a:cubicBezTo>
                      <a:cubicBezTo>
                        <a:pt x="145" y="4706"/>
                        <a:pt x="147" y="4730"/>
                        <a:pt x="153" y="4750"/>
                      </a:cubicBezTo>
                      <a:lnTo>
                        <a:pt x="196" y="4790"/>
                      </a:lnTo>
                      <a:lnTo>
                        <a:pt x="225" y="4861"/>
                      </a:lnTo>
                      <a:cubicBezTo>
                        <a:pt x="250" y="4926"/>
                        <a:pt x="294" y="5045"/>
                        <a:pt x="270" y="5177"/>
                      </a:cubicBezTo>
                      <a:cubicBezTo>
                        <a:pt x="270" y="5177"/>
                        <a:pt x="270" y="5180"/>
                        <a:pt x="270" y="5184"/>
                      </a:cubicBezTo>
                      <a:cubicBezTo>
                        <a:pt x="293" y="5204"/>
                        <a:pt x="313" y="5233"/>
                        <a:pt x="330" y="5276"/>
                      </a:cubicBezTo>
                      <a:cubicBezTo>
                        <a:pt x="349" y="5321"/>
                        <a:pt x="356" y="5370"/>
                        <a:pt x="357" y="5415"/>
                      </a:cubicBezTo>
                      <a:cubicBezTo>
                        <a:pt x="435" y="5511"/>
                        <a:pt x="446" y="5631"/>
                        <a:pt x="445" y="5705"/>
                      </a:cubicBezTo>
                      <a:cubicBezTo>
                        <a:pt x="443" y="5760"/>
                        <a:pt x="435" y="5805"/>
                        <a:pt x="426" y="5841"/>
                      </a:cubicBezTo>
                      <a:cubicBezTo>
                        <a:pt x="483" y="5950"/>
                        <a:pt x="481" y="6062"/>
                        <a:pt x="466" y="6144"/>
                      </a:cubicBezTo>
                      <a:lnTo>
                        <a:pt x="459" y="6199"/>
                      </a:lnTo>
                      <a:cubicBezTo>
                        <a:pt x="453" y="6247"/>
                        <a:pt x="442" y="6342"/>
                        <a:pt x="391" y="6412"/>
                      </a:cubicBezTo>
                      <a:cubicBezTo>
                        <a:pt x="392" y="6424"/>
                        <a:pt x="394" y="6436"/>
                        <a:pt x="395" y="6449"/>
                      </a:cubicBezTo>
                      <a:lnTo>
                        <a:pt x="396" y="6499"/>
                      </a:lnTo>
                      <a:cubicBezTo>
                        <a:pt x="424" y="6536"/>
                        <a:pt x="458" y="6595"/>
                        <a:pt x="466" y="6690"/>
                      </a:cubicBezTo>
                      <a:lnTo>
                        <a:pt x="475" y="6797"/>
                      </a:lnTo>
                      <a:lnTo>
                        <a:pt x="428" y="6904"/>
                      </a:lnTo>
                      <a:cubicBezTo>
                        <a:pt x="424" y="6913"/>
                        <a:pt x="420" y="6920"/>
                        <a:pt x="416" y="6928"/>
                      </a:cubicBezTo>
                      <a:cubicBezTo>
                        <a:pt x="464" y="6964"/>
                        <a:pt x="520" y="7035"/>
                        <a:pt x="566" y="7168"/>
                      </a:cubicBezTo>
                      <a:cubicBezTo>
                        <a:pt x="595" y="7255"/>
                        <a:pt x="606" y="7340"/>
                        <a:pt x="612" y="7400"/>
                      </a:cubicBezTo>
                      <a:cubicBezTo>
                        <a:pt x="624" y="7415"/>
                        <a:pt x="638" y="7432"/>
                        <a:pt x="653" y="7452"/>
                      </a:cubicBezTo>
                      <a:cubicBezTo>
                        <a:pt x="680" y="7486"/>
                        <a:pt x="731" y="7549"/>
                        <a:pt x="749" y="7563"/>
                      </a:cubicBezTo>
                      <a:cubicBezTo>
                        <a:pt x="759" y="7569"/>
                        <a:pt x="775" y="7573"/>
                        <a:pt x="789" y="7578"/>
                      </a:cubicBezTo>
                      <a:cubicBezTo>
                        <a:pt x="842" y="7595"/>
                        <a:pt x="930" y="7624"/>
                        <a:pt x="965" y="7777"/>
                      </a:cubicBezTo>
                      <a:cubicBezTo>
                        <a:pt x="989" y="7850"/>
                        <a:pt x="1028" y="7971"/>
                        <a:pt x="1024" y="8091"/>
                      </a:cubicBezTo>
                      <a:cubicBezTo>
                        <a:pt x="1040" y="8118"/>
                        <a:pt x="1054" y="8151"/>
                        <a:pt x="1061" y="8192"/>
                      </a:cubicBezTo>
                      <a:cubicBezTo>
                        <a:pt x="1076" y="8206"/>
                        <a:pt x="1089" y="8221"/>
                        <a:pt x="1101" y="8241"/>
                      </a:cubicBezTo>
                      <a:cubicBezTo>
                        <a:pt x="1132" y="8293"/>
                        <a:pt x="1221" y="8541"/>
                        <a:pt x="1221" y="8543"/>
                      </a:cubicBezTo>
                      <a:cubicBezTo>
                        <a:pt x="1241" y="8601"/>
                        <a:pt x="1248" y="8661"/>
                        <a:pt x="1251" y="8711"/>
                      </a:cubicBezTo>
                      <a:cubicBezTo>
                        <a:pt x="1279" y="8751"/>
                        <a:pt x="1308" y="8806"/>
                        <a:pt x="1319" y="8876"/>
                      </a:cubicBezTo>
                      <a:cubicBezTo>
                        <a:pt x="1322" y="8890"/>
                        <a:pt x="1325" y="8925"/>
                        <a:pt x="1329" y="8973"/>
                      </a:cubicBezTo>
                      <a:cubicBezTo>
                        <a:pt x="1330" y="8993"/>
                        <a:pt x="1332" y="9018"/>
                        <a:pt x="1334" y="9044"/>
                      </a:cubicBezTo>
                      <a:cubicBezTo>
                        <a:pt x="1376" y="9075"/>
                        <a:pt x="1413" y="9129"/>
                        <a:pt x="1429" y="9213"/>
                      </a:cubicBezTo>
                      <a:cubicBezTo>
                        <a:pt x="1433" y="9233"/>
                        <a:pt x="1451" y="9299"/>
                        <a:pt x="1459" y="9318"/>
                      </a:cubicBezTo>
                      <a:cubicBezTo>
                        <a:pt x="1563" y="9437"/>
                        <a:pt x="1561" y="9567"/>
                        <a:pt x="1546" y="9646"/>
                      </a:cubicBezTo>
                      <a:cubicBezTo>
                        <a:pt x="1542" y="9725"/>
                        <a:pt x="1539" y="9792"/>
                        <a:pt x="1524" y="9849"/>
                      </a:cubicBezTo>
                      <a:cubicBezTo>
                        <a:pt x="1583" y="9881"/>
                        <a:pt x="1611" y="9943"/>
                        <a:pt x="1625" y="9996"/>
                      </a:cubicBezTo>
                      <a:cubicBezTo>
                        <a:pt x="1699" y="10032"/>
                        <a:pt x="1730" y="10115"/>
                        <a:pt x="1741" y="10156"/>
                      </a:cubicBezTo>
                      <a:cubicBezTo>
                        <a:pt x="1749" y="10183"/>
                        <a:pt x="1758" y="10213"/>
                        <a:pt x="1766" y="10245"/>
                      </a:cubicBezTo>
                      <a:cubicBezTo>
                        <a:pt x="1771" y="10245"/>
                        <a:pt x="1775" y="10245"/>
                        <a:pt x="1780" y="10245"/>
                      </a:cubicBezTo>
                      <a:lnTo>
                        <a:pt x="1823" y="10245"/>
                      </a:lnTo>
                      <a:lnTo>
                        <a:pt x="1870" y="10289"/>
                      </a:lnTo>
                      <a:cubicBezTo>
                        <a:pt x="1911" y="10335"/>
                        <a:pt x="2019" y="10513"/>
                        <a:pt x="2030" y="10678"/>
                      </a:cubicBezTo>
                      <a:lnTo>
                        <a:pt x="2032" y="10720"/>
                      </a:lnTo>
                      <a:lnTo>
                        <a:pt x="2060" y="10733"/>
                      </a:lnTo>
                      <a:cubicBezTo>
                        <a:pt x="2087" y="10748"/>
                        <a:pt x="2108" y="10769"/>
                        <a:pt x="2126" y="10791"/>
                      </a:cubicBezTo>
                      <a:cubicBezTo>
                        <a:pt x="2164" y="10756"/>
                        <a:pt x="2196" y="10732"/>
                        <a:pt x="2227" y="10722"/>
                      </a:cubicBezTo>
                      <a:cubicBezTo>
                        <a:pt x="2240" y="10718"/>
                        <a:pt x="2277" y="10711"/>
                        <a:pt x="2319" y="10711"/>
                      </a:cubicBezTo>
                      <a:cubicBezTo>
                        <a:pt x="2564" y="10711"/>
                        <a:pt x="2576" y="10977"/>
                        <a:pt x="2576" y="11030"/>
                      </a:cubicBezTo>
                      <a:cubicBezTo>
                        <a:pt x="2576" y="11134"/>
                        <a:pt x="2551" y="11239"/>
                        <a:pt x="2526" y="11341"/>
                      </a:cubicBezTo>
                      <a:cubicBezTo>
                        <a:pt x="2516" y="11381"/>
                        <a:pt x="2506" y="11419"/>
                        <a:pt x="2502" y="11448"/>
                      </a:cubicBezTo>
                      <a:cubicBezTo>
                        <a:pt x="2500" y="11464"/>
                        <a:pt x="2499" y="11486"/>
                        <a:pt x="2498" y="11508"/>
                      </a:cubicBezTo>
                      <a:cubicBezTo>
                        <a:pt x="2492" y="11615"/>
                        <a:pt x="2480" y="11805"/>
                        <a:pt x="2388" y="11888"/>
                      </a:cubicBezTo>
                      <a:cubicBezTo>
                        <a:pt x="2390" y="11920"/>
                        <a:pt x="2390" y="11954"/>
                        <a:pt x="2385" y="11990"/>
                      </a:cubicBezTo>
                      <a:cubicBezTo>
                        <a:pt x="2377" y="12050"/>
                        <a:pt x="2338" y="12200"/>
                        <a:pt x="2278" y="12288"/>
                      </a:cubicBezTo>
                      <a:cubicBezTo>
                        <a:pt x="2280" y="12343"/>
                        <a:pt x="2277" y="12402"/>
                        <a:pt x="2265" y="12456"/>
                      </a:cubicBezTo>
                      <a:cubicBezTo>
                        <a:pt x="2254" y="12502"/>
                        <a:pt x="2238" y="12541"/>
                        <a:pt x="2222" y="12577"/>
                      </a:cubicBezTo>
                      <a:cubicBezTo>
                        <a:pt x="2232" y="12734"/>
                        <a:pt x="2200" y="12818"/>
                        <a:pt x="2164" y="12863"/>
                      </a:cubicBezTo>
                      <a:cubicBezTo>
                        <a:pt x="2162" y="13134"/>
                        <a:pt x="2112" y="13266"/>
                        <a:pt x="2060" y="13330"/>
                      </a:cubicBezTo>
                      <a:cubicBezTo>
                        <a:pt x="2084" y="13398"/>
                        <a:pt x="2090" y="13469"/>
                        <a:pt x="2080" y="13547"/>
                      </a:cubicBezTo>
                      <a:cubicBezTo>
                        <a:pt x="2069" y="13629"/>
                        <a:pt x="2038" y="13697"/>
                        <a:pt x="2010" y="13758"/>
                      </a:cubicBezTo>
                      <a:lnTo>
                        <a:pt x="2012" y="13774"/>
                      </a:lnTo>
                      <a:cubicBezTo>
                        <a:pt x="2041" y="13811"/>
                        <a:pt x="2065" y="13862"/>
                        <a:pt x="2080" y="13925"/>
                      </a:cubicBezTo>
                      <a:cubicBezTo>
                        <a:pt x="2100" y="14010"/>
                        <a:pt x="2105" y="14124"/>
                        <a:pt x="2089" y="14225"/>
                      </a:cubicBezTo>
                      <a:cubicBezTo>
                        <a:pt x="2142" y="14334"/>
                        <a:pt x="2142" y="14453"/>
                        <a:pt x="2129" y="14537"/>
                      </a:cubicBezTo>
                      <a:cubicBezTo>
                        <a:pt x="2101" y="14716"/>
                        <a:pt x="2012" y="14837"/>
                        <a:pt x="1908" y="14837"/>
                      </a:cubicBezTo>
                      <a:lnTo>
                        <a:pt x="1845" y="14822"/>
                      </a:lnTo>
                      <a:cubicBezTo>
                        <a:pt x="1842" y="14829"/>
                        <a:pt x="1839" y="14835"/>
                        <a:pt x="1837" y="14842"/>
                      </a:cubicBezTo>
                      <a:cubicBezTo>
                        <a:pt x="1825" y="14870"/>
                        <a:pt x="1811" y="14892"/>
                        <a:pt x="1796" y="14913"/>
                      </a:cubicBezTo>
                      <a:cubicBezTo>
                        <a:pt x="1825" y="14985"/>
                        <a:pt x="1839" y="15023"/>
                        <a:pt x="1847" y="15066"/>
                      </a:cubicBezTo>
                      <a:cubicBezTo>
                        <a:pt x="1863" y="15148"/>
                        <a:pt x="1875" y="15438"/>
                        <a:pt x="1771" y="15598"/>
                      </a:cubicBezTo>
                      <a:cubicBezTo>
                        <a:pt x="1763" y="15610"/>
                        <a:pt x="1755" y="15621"/>
                        <a:pt x="1748" y="15631"/>
                      </a:cubicBezTo>
                      <a:cubicBezTo>
                        <a:pt x="1777" y="15649"/>
                        <a:pt x="1811" y="15686"/>
                        <a:pt x="1838" y="15761"/>
                      </a:cubicBezTo>
                      <a:cubicBezTo>
                        <a:pt x="1849" y="15789"/>
                        <a:pt x="1860" y="15823"/>
                        <a:pt x="1872" y="15859"/>
                      </a:cubicBezTo>
                      <a:cubicBezTo>
                        <a:pt x="1885" y="15899"/>
                        <a:pt x="1897" y="15941"/>
                        <a:pt x="1909" y="15966"/>
                      </a:cubicBezTo>
                      <a:cubicBezTo>
                        <a:pt x="1927" y="15991"/>
                        <a:pt x="1944" y="16014"/>
                        <a:pt x="1959" y="16038"/>
                      </a:cubicBezTo>
                      <a:cubicBezTo>
                        <a:pt x="1980" y="15944"/>
                        <a:pt x="2018" y="15814"/>
                        <a:pt x="2111" y="15796"/>
                      </a:cubicBezTo>
                      <a:cubicBezTo>
                        <a:pt x="2148" y="15793"/>
                        <a:pt x="2173" y="15804"/>
                        <a:pt x="2195" y="15817"/>
                      </a:cubicBezTo>
                      <a:cubicBezTo>
                        <a:pt x="2203" y="15813"/>
                        <a:pt x="2210" y="15809"/>
                        <a:pt x="2218" y="15806"/>
                      </a:cubicBezTo>
                      <a:lnTo>
                        <a:pt x="2232" y="15802"/>
                      </a:lnTo>
                      <a:cubicBezTo>
                        <a:pt x="2247" y="15768"/>
                        <a:pt x="2269" y="15730"/>
                        <a:pt x="2303" y="15705"/>
                      </a:cubicBezTo>
                      <a:cubicBezTo>
                        <a:pt x="2313" y="15675"/>
                        <a:pt x="2333" y="15632"/>
                        <a:pt x="2368" y="15581"/>
                      </a:cubicBezTo>
                      <a:cubicBezTo>
                        <a:pt x="2394" y="15544"/>
                        <a:pt x="2419" y="15518"/>
                        <a:pt x="2439" y="15499"/>
                      </a:cubicBezTo>
                      <a:cubicBezTo>
                        <a:pt x="2448" y="15425"/>
                        <a:pt x="2478" y="15290"/>
                        <a:pt x="2568" y="15246"/>
                      </a:cubicBezTo>
                      <a:lnTo>
                        <a:pt x="2620" y="15234"/>
                      </a:lnTo>
                      <a:cubicBezTo>
                        <a:pt x="2713" y="15234"/>
                        <a:pt x="2833" y="15349"/>
                        <a:pt x="2888" y="15490"/>
                      </a:cubicBezTo>
                      <a:cubicBezTo>
                        <a:pt x="2910" y="15546"/>
                        <a:pt x="2921" y="15605"/>
                        <a:pt x="2927" y="15658"/>
                      </a:cubicBezTo>
                      <a:lnTo>
                        <a:pt x="2953" y="15684"/>
                      </a:lnTo>
                      <a:cubicBezTo>
                        <a:pt x="3021" y="15762"/>
                        <a:pt x="3173" y="15937"/>
                        <a:pt x="3106" y="16178"/>
                      </a:cubicBezTo>
                      <a:cubicBezTo>
                        <a:pt x="3104" y="16185"/>
                        <a:pt x="3102" y="16194"/>
                        <a:pt x="3099" y="16204"/>
                      </a:cubicBezTo>
                      <a:cubicBezTo>
                        <a:pt x="3131" y="16243"/>
                        <a:pt x="3156" y="16304"/>
                        <a:pt x="3156" y="16400"/>
                      </a:cubicBezTo>
                      <a:cubicBezTo>
                        <a:pt x="3161" y="16475"/>
                        <a:pt x="3169" y="16625"/>
                        <a:pt x="3121" y="16737"/>
                      </a:cubicBezTo>
                      <a:cubicBezTo>
                        <a:pt x="3125" y="16763"/>
                        <a:pt x="3127" y="16789"/>
                        <a:pt x="3126" y="16817"/>
                      </a:cubicBezTo>
                      <a:cubicBezTo>
                        <a:pt x="3145" y="16863"/>
                        <a:pt x="3156" y="16918"/>
                        <a:pt x="3160" y="16983"/>
                      </a:cubicBezTo>
                      <a:cubicBezTo>
                        <a:pt x="3164" y="17059"/>
                        <a:pt x="3151" y="17127"/>
                        <a:pt x="3141" y="17180"/>
                      </a:cubicBezTo>
                      <a:cubicBezTo>
                        <a:pt x="3138" y="17197"/>
                        <a:pt x="3135" y="17213"/>
                        <a:pt x="3133" y="17230"/>
                      </a:cubicBezTo>
                      <a:cubicBezTo>
                        <a:pt x="3135" y="17220"/>
                        <a:pt x="3146" y="17251"/>
                        <a:pt x="3154" y="17270"/>
                      </a:cubicBezTo>
                      <a:cubicBezTo>
                        <a:pt x="3179" y="17336"/>
                        <a:pt x="3210" y="17417"/>
                        <a:pt x="3204" y="17521"/>
                      </a:cubicBezTo>
                      <a:cubicBezTo>
                        <a:pt x="3218" y="17546"/>
                        <a:pt x="3232" y="17578"/>
                        <a:pt x="3242" y="17619"/>
                      </a:cubicBezTo>
                      <a:cubicBezTo>
                        <a:pt x="3251" y="17657"/>
                        <a:pt x="3268" y="17719"/>
                        <a:pt x="3279" y="17752"/>
                      </a:cubicBezTo>
                      <a:cubicBezTo>
                        <a:pt x="3293" y="17774"/>
                        <a:pt x="3329" y="17840"/>
                        <a:pt x="3337" y="17953"/>
                      </a:cubicBezTo>
                      <a:cubicBezTo>
                        <a:pt x="3339" y="18001"/>
                        <a:pt x="3341" y="18046"/>
                        <a:pt x="3344" y="18077"/>
                      </a:cubicBezTo>
                      <a:cubicBezTo>
                        <a:pt x="3380" y="18089"/>
                        <a:pt x="3426" y="18117"/>
                        <a:pt x="3456" y="18199"/>
                      </a:cubicBezTo>
                      <a:lnTo>
                        <a:pt x="3493" y="18297"/>
                      </a:lnTo>
                      <a:lnTo>
                        <a:pt x="3479" y="18374"/>
                      </a:lnTo>
                      <a:cubicBezTo>
                        <a:pt x="3523" y="18415"/>
                        <a:pt x="3567" y="18479"/>
                        <a:pt x="3574" y="18593"/>
                      </a:cubicBezTo>
                      <a:cubicBezTo>
                        <a:pt x="3575" y="18615"/>
                        <a:pt x="3583" y="18867"/>
                        <a:pt x="3567" y="18999"/>
                      </a:cubicBezTo>
                      <a:cubicBezTo>
                        <a:pt x="3548" y="19156"/>
                        <a:pt x="3507" y="19242"/>
                        <a:pt x="3474" y="19287"/>
                      </a:cubicBezTo>
                      <a:cubicBezTo>
                        <a:pt x="3475" y="19293"/>
                        <a:pt x="3476" y="19299"/>
                        <a:pt x="3476" y="19305"/>
                      </a:cubicBezTo>
                      <a:cubicBezTo>
                        <a:pt x="3478" y="19333"/>
                        <a:pt x="3481" y="19366"/>
                        <a:pt x="3484" y="19392"/>
                      </a:cubicBezTo>
                      <a:cubicBezTo>
                        <a:pt x="3536" y="19437"/>
                        <a:pt x="3584" y="19485"/>
                        <a:pt x="3617" y="19559"/>
                      </a:cubicBezTo>
                      <a:cubicBezTo>
                        <a:pt x="3640" y="19541"/>
                        <a:pt x="3665" y="19529"/>
                        <a:pt x="3695" y="19529"/>
                      </a:cubicBezTo>
                      <a:lnTo>
                        <a:pt x="3730" y="19529"/>
                      </a:lnTo>
                      <a:lnTo>
                        <a:pt x="3778" y="19563"/>
                      </a:lnTo>
                      <a:cubicBezTo>
                        <a:pt x="3795" y="19579"/>
                        <a:pt x="3856" y="19635"/>
                        <a:pt x="3913" y="19716"/>
                      </a:cubicBezTo>
                      <a:lnTo>
                        <a:pt x="3938" y="19750"/>
                      </a:lnTo>
                      <a:cubicBezTo>
                        <a:pt x="3978" y="19802"/>
                        <a:pt x="4028" y="19868"/>
                        <a:pt x="4049" y="19976"/>
                      </a:cubicBezTo>
                      <a:cubicBezTo>
                        <a:pt x="4058" y="20019"/>
                        <a:pt x="4060" y="20059"/>
                        <a:pt x="4061" y="20091"/>
                      </a:cubicBezTo>
                      <a:cubicBezTo>
                        <a:pt x="4081" y="20139"/>
                        <a:pt x="4097" y="20197"/>
                        <a:pt x="4097" y="20267"/>
                      </a:cubicBezTo>
                      <a:cubicBezTo>
                        <a:pt x="4097" y="20273"/>
                        <a:pt x="4097" y="20298"/>
                        <a:pt x="4098" y="20323"/>
                      </a:cubicBezTo>
                      <a:cubicBezTo>
                        <a:pt x="4124" y="20382"/>
                        <a:pt x="4147" y="20458"/>
                        <a:pt x="4147" y="20541"/>
                      </a:cubicBezTo>
                      <a:cubicBezTo>
                        <a:pt x="4161" y="20593"/>
                        <a:pt x="4183" y="20718"/>
                        <a:pt x="4150" y="20841"/>
                      </a:cubicBezTo>
                      <a:cubicBezTo>
                        <a:pt x="4144" y="20862"/>
                        <a:pt x="4138" y="20880"/>
                        <a:pt x="4131" y="20896"/>
                      </a:cubicBezTo>
                      <a:cubicBezTo>
                        <a:pt x="4145" y="20939"/>
                        <a:pt x="4156" y="20980"/>
                        <a:pt x="4161" y="21024"/>
                      </a:cubicBezTo>
                      <a:cubicBezTo>
                        <a:pt x="4179" y="21077"/>
                        <a:pt x="4202" y="21164"/>
                        <a:pt x="4190" y="21275"/>
                      </a:cubicBezTo>
                      <a:cubicBezTo>
                        <a:pt x="4184" y="21331"/>
                        <a:pt x="4179" y="21370"/>
                        <a:pt x="4178" y="21394"/>
                      </a:cubicBezTo>
                      <a:cubicBezTo>
                        <a:pt x="4192" y="21492"/>
                        <a:pt x="4212" y="21530"/>
                        <a:pt x="4212" y="21530"/>
                      </a:cubicBezTo>
                      <a:cubicBezTo>
                        <a:pt x="4226" y="21548"/>
                        <a:pt x="4241" y="21563"/>
                        <a:pt x="4254" y="21575"/>
                      </a:cubicBezTo>
                      <a:cubicBezTo>
                        <a:pt x="4257" y="21568"/>
                        <a:pt x="4259" y="21562"/>
                        <a:pt x="4262" y="21557"/>
                      </a:cubicBezTo>
                      <a:cubicBezTo>
                        <a:pt x="4264" y="21552"/>
                        <a:pt x="4325" y="21423"/>
                        <a:pt x="4385" y="21338"/>
                      </a:cubicBezTo>
                      <a:cubicBezTo>
                        <a:pt x="4405" y="21310"/>
                        <a:pt x="4425" y="21287"/>
                        <a:pt x="4442" y="21275"/>
                      </a:cubicBezTo>
                      <a:cubicBezTo>
                        <a:pt x="4470" y="21256"/>
                        <a:pt x="4496" y="21249"/>
                        <a:pt x="4515" y="21245"/>
                      </a:cubicBezTo>
                      <a:cubicBezTo>
                        <a:pt x="4511" y="21245"/>
                        <a:pt x="4546" y="21208"/>
                        <a:pt x="4596" y="21208"/>
                      </a:cubicBezTo>
                      <a:lnTo>
                        <a:pt x="4650" y="21222"/>
                      </a:lnTo>
                      <a:cubicBezTo>
                        <a:pt x="4683" y="21239"/>
                        <a:pt x="4708" y="21271"/>
                        <a:pt x="4728" y="21296"/>
                      </a:cubicBezTo>
                      <a:cubicBezTo>
                        <a:pt x="4843" y="21325"/>
                        <a:pt x="4891" y="21349"/>
                        <a:pt x="4918" y="21371"/>
                      </a:cubicBezTo>
                      <a:cubicBezTo>
                        <a:pt x="4922" y="21370"/>
                        <a:pt x="4926" y="21370"/>
                        <a:pt x="4931" y="21370"/>
                      </a:cubicBezTo>
                      <a:lnTo>
                        <a:pt x="4968" y="21370"/>
                      </a:lnTo>
                      <a:lnTo>
                        <a:pt x="5014" y="21407"/>
                      </a:lnTo>
                      <a:cubicBezTo>
                        <a:pt x="5027" y="21419"/>
                        <a:pt x="5037" y="21432"/>
                        <a:pt x="5046" y="21446"/>
                      </a:cubicBezTo>
                      <a:cubicBezTo>
                        <a:pt x="5057" y="21443"/>
                        <a:pt x="5069" y="21442"/>
                        <a:pt x="5081" y="21442"/>
                      </a:cubicBezTo>
                      <a:lnTo>
                        <a:pt x="5142" y="21459"/>
                      </a:lnTo>
                      <a:cubicBezTo>
                        <a:pt x="5150" y="21464"/>
                        <a:pt x="5157" y="21469"/>
                        <a:pt x="5164" y="21476"/>
                      </a:cubicBezTo>
                      <a:cubicBezTo>
                        <a:pt x="5179" y="21392"/>
                        <a:pt x="5196" y="21334"/>
                        <a:pt x="5231" y="21289"/>
                      </a:cubicBezTo>
                      <a:cubicBezTo>
                        <a:pt x="5260" y="21252"/>
                        <a:pt x="5290" y="21237"/>
                        <a:pt x="5311" y="21229"/>
                      </a:cubicBezTo>
                      <a:cubicBezTo>
                        <a:pt x="5332" y="21200"/>
                        <a:pt x="5356" y="21172"/>
                        <a:pt x="5372" y="21155"/>
                      </a:cubicBezTo>
                      <a:lnTo>
                        <a:pt x="5406" y="21120"/>
                      </a:lnTo>
                      <a:lnTo>
                        <a:pt x="5468" y="21115"/>
                      </a:lnTo>
                      <a:cubicBezTo>
                        <a:pt x="5473" y="21115"/>
                        <a:pt x="5484" y="21115"/>
                        <a:pt x="5498" y="21117"/>
                      </a:cubicBezTo>
                      <a:cubicBezTo>
                        <a:pt x="5540" y="21123"/>
                        <a:pt x="5613" y="21144"/>
                        <a:pt x="5658" y="21217"/>
                      </a:cubicBezTo>
                      <a:lnTo>
                        <a:pt x="5681" y="21260"/>
                      </a:lnTo>
                      <a:cubicBezTo>
                        <a:pt x="5682" y="21261"/>
                        <a:pt x="5682" y="21262"/>
                        <a:pt x="5683" y="21263"/>
                      </a:cubicBezTo>
                      <a:cubicBezTo>
                        <a:pt x="5691" y="21261"/>
                        <a:pt x="5699" y="21260"/>
                        <a:pt x="5708" y="21260"/>
                      </a:cubicBezTo>
                      <a:lnTo>
                        <a:pt x="5746" y="21260"/>
                      </a:lnTo>
                      <a:lnTo>
                        <a:pt x="5800" y="21302"/>
                      </a:lnTo>
                      <a:cubicBezTo>
                        <a:pt x="5814" y="21314"/>
                        <a:pt x="5825" y="21329"/>
                        <a:pt x="5835" y="21343"/>
                      </a:cubicBezTo>
                      <a:lnTo>
                        <a:pt x="5866" y="21333"/>
                      </a:lnTo>
                      <a:cubicBezTo>
                        <a:pt x="5882" y="21333"/>
                        <a:pt x="5897" y="21337"/>
                        <a:pt x="5912" y="21344"/>
                      </a:cubicBezTo>
                      <a:cubicBezTo>
                        <a:pt x="5940" y="21334"/>
                        <a:pt x="5961" y="21334"/>
                        <a:pt x="5963" y="21334"/>
                      </a:cubicBezTo>
                      <a:lnTo>
                        <a:pt x="6042" y="21353"/>
                      </a:lnTo>
                      <a:cubicBezTo>
                        <a:pt x="6199" y="21249"/>
                        <a:pt x="6307" y="21324"/>
                        <a:pt x="6346" y="21391"/>
                      </a:cubicBezTo>
                      <a:lnTo>
                        <a:pt x="6402" y="21486"/>
                      </a:lnTo>
                      <a:cubicBezTo>
                        <a:pt x="6484" y="21419"/>
                        <a:pt x="6540" y="21378"/>
                        <a:pt x="6595" y="21378"/>
                      </a:cubicBezTo>
                      <a:cubicBezTo>
                        <a:pt x="6655" y="21388"/>
                        <a:pt x="6692" y="21414"/>
                        <a:pt x="6719" y="21435"/>
                      </a:cubicBezTo>
                      <a:cubicBezTo>
                        <a:pt x="6734" y="21427"/>
                        <a:pt x="6753" y="21420"/>
                        <a:pt x="6777" y="21420"/>
                      </a:cubicBezTo>
                      <a:lnTo>
                        <a:pt x="6795" y="21420"/>
                      </a:lnTo>
                      <a:cubicBezTo>
                        <a:pt x="6806" y="21341"/>
                        <a:pt x="6829" y="21251"/>
                        <a:pt x="6876" y="21162"/>
                      </a:cubicBezTo>
                      <a:cubicBezTo>
                        <a:pt x="6877" y="21159"/>
                        <a:pt x="6879" y="21156"/>
                        <a:pt x="6880" y="21153"/>
                      </a:cubicBezTo>
                      <a:cubicBezTo>
                        <a:pt x="6864" y="21026"/>
                        <a:pt x="6893" y="20936"/>
                        <a:pt x="6917" y="20887"/>
                      </a:cubicBezTo>
                      <a:cubicBezTo>
                        <a:pt x="6961" y="20797"/>
                        <a:pt x="7030" y="20744"/>
                        <a:pt x="7094" y="20752"/>
                      </a:cubicBezTo>
                      <a:cubicBezTo>
                        <a:pt x="7108" y="20712"/>
                        <a:pt x="7127" y="20677"/>
                        <a:pt x="7156" y="20651"/>
                      </a:cubicBezTo>
                      <a:lnTo>
                        <a:pt x="7188" y="20622"/>
                      </a:lnTo>
                      <a:lnTo>
                        <a:pt x="7230" y="20620"/>
                      </a:lnTo>
                      <a:cubicBezTo>
                        <a:pt x="7300" y="20620"/>
                        <a:pt x="7352" y="20693"/>
                        <a:pt x="7384" y="20777"/>
                      </a:cubicBezTo>
                      <a:cubicBezTo>
                        <a:pt x="7495" y="20855"/>
                        <a:pt x="7554" y="21144"/>
                        <a:pt x="7556" y="21220"/>
                      </a:cubicBezTo>
                      <a:cubicBezTo>
                        <a:pt x="7557" y="21230"/>
                        <a:pt x="7557" y="21235"/>
                        <a:pt x="7556" y="21237"/>
                      </a:cubicBezTo>
                      <a:cubicBezTo>
                        <a:pt x="7596" y="21321"/>
                        <a:pt x="7640" y="21456"/>
                        <a:pt x="7636" y="21560"/>
                      </a:cubicBezTo>
                      <a:lnTo>
                        <a:pt x="7636" y="21564"/>
                      </a:lnTo>
                      <a:cubicBezTo>
                        <a:pt x="7639" y="21569"/>
                        <a:pt x="7643" y="21573"/>
                        <a:pt x="7645" y="21576"/>
                      </a:cubicBezTo>
                      <a:cubicBezTo>
                        <a:pt x="7650" y="21582"/>
                        <a:pt x="7656" y="21590"/>
                        <a:pt x="7662" y="21600"/>
                      </a:cubicBezTo>
                      <a:lnTo>
                        <a:pt x="7801" y="19578"/>
                      </a:lnTo>
                      <a:lnTo>
                        <a:pt x="7946" y="19608"/>
                      </a:lnTo>
                      <a:cubicBezTo>
                        <a:pt x="8464" y="19715"/>
                        <a:pt x="8985" y="19818"/>
                        <a:pt x="9509" y="19917"/>
                      </a:cubicBezTo>
                      <a:cubicBezTo>
                        <a:pt x="9763" y="19965"/>
                        <a:pt x="10021" y="20009"/>
                        <a:pt x="10278" y="20055"/>
                      </a:cubicBezTo>
                      <a:cubicBezTo>
                        <a:pt x="10549" y="20104"/>
                        <a:pt x="10820" y="20155"/>
                        <a:pt x="11093" y="20202"/>
                      </a:cubicBezTo>
                      <a:cubicBezTo>
                        <a:pt x="11367" y="20249"/>
                        <a:pt x="11644" y="20292"/>
                        <a:pt x="11919" y="20337"/>
                      </a:cubicBezTo>
                      <a:cubicBezTo>
                        <a:pt x="12180" y="20379"/>
                        <a:pt x="12440" y="20424"/>
                        <a:pt x="12703" y="20465"/>
                      </a:cubicBezTo>
                      <a:cubicBezTo>
                        <a:pt x="12973" y="20506"/>
                        <a:pt x="13247" y="20545"/>
                        <a:pt x="13519" y="20585"/>
                      </a:cubicBezTo>
                      <a:cubicBezTo>
                        <a:pt x="13793" y="20625"/>
                        <a:pt x="14065" y="20667"/>
                        <a:pt x="14341" y="20705"/>
                      </a:cubicBezTo>
                      <a:cubicBezTo>
                        <a:pt x="14607" y="20742"/>
                        <a:pt x="14877" y="20775"/>
                        <a:pt x="15145" y="20811"/>
                      </a:cubicBezTo>
                      <a:cubicBezTo>
                        <a:pt x="15433" y="20848"/>
                        <a:pt x="15718" y="20887"/>
                        <a:pt x="16008" y="20923"/>
                      </a:cubicBezTo>
                      <a:cubicBezTo>
                        <a:pt x="16277" y="20956"/>
                        <a:pt x="16552" y="20986"/>
                        <a:pt x="16824" y="21018"/>
                      </a:cubicBezTo>
                      <a:cubicBezTo>
                        <a:pt x="17118" y="21052"/>
                        <a:pt x="17410" y="21087"/>
                        <a:pt x="17706" y="21119"/>
                      </a:cubicBezTo>
                      <a:cubicBezTo>
                        <a:pt x="17980" y="21149"/>
                        <a:pt x="18259" y="21175"/>
                        <a:pt x="18535" y="21203"/>
                      </a:cubicBezTo>
                      <a:cubicBezTo>
                        <a:pt x="18836" y="21234"/>
                        <a:pt x="19135" y="21265"/>
                        <a:pt x="19440" y="21294"/>
                      </a:cubicBezTo>
                      <a:cubicBezTo>
                        <a:pt x="19728" y="21321"/>
                        <a:pt x="20020" y="21345"/>
                        <a:pt x="20310" y="21370"/>
                      </a:cubicBezTo>
                      <a:cubicBezTo>
                        <a:pt x="20586" y="21394"/>
                        <a:pt x="20860" y="21419"/>
                        <a:pt x="21139" y="21441"/>
                      </a:cubicBezTo>
                      <a:lnTo>
                        <a:pt x="21587" y="4272"/>
                      </a:lnTo>
                      <a:lnTo>
                        <a:pt x="21600" y="3797"/>
                      </a:lnTo>
                      <a:cubicBezTo>
                        <a:pt x="14539" y="3286"/>
                        <a:pt x="7412" y="2009"/>
                        <a:pt x="409" y="0"/>
                      </a:cubicBezTo>
                      <a:lnTo>
                        <a:pt x="0" y="4210"/>
                      </a:lnTo>
                      <a:cubicBezTo>
                        <a:pt x="22" y="4254"/>
                        <a:pt x="43" y="4307"/>
                        <a:pt x="53" y="4364"/>
                      </a:cubicBezTo>
                      <a:close/>
                      <a:moveTo>
                        <a:pt x="53" y="4364"/>
                      </a:moveTo>
                    </a:path>
                  </a:pathLst>
                </a:custGeom>
                <a:solidFill>
                  <a:schemeClr val="accent1">
                    <a:lumMod val="40000"/>
                    <a:lumOff val="6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2400"/>
                    <a:buFontTx/>
                    <a:buNone/>
                    <a:tabLst/>
                    <a:defRPr/>
                  </a:pPr>
                  <a:endParaRPr kumimoji="0" sz="18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60" name="Google Shape;416;p54">
                  <a:extLst>
                    <a:ext uri="{FF2B5EF4-FFF2-40B4-BE49-F238E27FC236}">
                      <a16:creationId xmlns:a16="http://schemas.microsoft.com/office/drawing/2014/main" id="{2B67677F-08B5-4607-B601-807A65254C9B}"/>
                    </a:ext>
                  </a:extLst>
                </p:cNvPr>
                <p:cNvSpPr/>
                <p:nvPr/>
              </p:nvSpPr>
              <p:spPr>
                <a:xfrm>
                  <a:off x="2180149" y="1750696"/>
                  <a:ext cx="732240" cy="1194534"/>
                </a:xfrm>
                <a:custGeom>
                  <a:avLst/>
                  <a:gdLst/>
                  <a:ahLst/>
                  <a:cxnLst/>
                  <a:rect l="l" t="t" r="r" b="b"/>
                  <a:pathLst>
                    <a:path w="21600" h="21600" extrusionOk="0">
                      <a:moveTo>
                        <a:pt x="3703" y="7224"/>
                      </a:moveTo>
                      <a:cubicBezTo>
                        <a:pt x="3688" y="7254"/>
                        <a:pt x="3673" y="7280"/>
                        <a:pt x="3658" y="7303"/>
                      </a:cubicBezTo>
                      <a:lnTo>
                        <a:pt x="3671" y="7307"/>
                      </a:lnTo>
                      <a:lnTo>
                        <a:pt x="3709" y="7391"/>
                      </a:lnTo>
                      <a:cubicBezTo>
                        <a:pt x="3713" y="7403"/>
                        <a:pt x="3714" y="7415"/>
                        <a:pt x="3714" y="7425"/>
                      </a:cubicBezTo>
                      <a:cubicBezTo>
                        <a:pt x="3768" y="7461"/>
                        <a:pt x="3791" y="7497"/>
                        <a:pt x="3801" y="7526"/>
                      </a:cubicBezTo>
                      <a:lnTo>
                        <a:pt x="3847" y="7668"/>
                      </a:lnTo>
                      <a:lnTo>
                        <a:pt x="3829" y="7672"/>
                      </a:lnTo>
                      <a:cubicBezTo>
                        <a:pt x="3837" y="7691"/>
                        <a:pt x="3841" y="7710"/>
                        <a:pt x="3843" y="7727"/>
                      </a:cubicBezTo>
                      <a:cubicBezTo>
                        <a:pt x="3848" y="7762"/>
                        <a:pt x="3835" y="7792"/>
                        <a:pt x="3817" y="7817"/>
                      </a:cubicBezTo>
                      <a:cubicBezTo>
                        <a:pt x="3861" y="7861"/>
                        <a:pt x="3892" y="7906"/>
                        <a:pt x="3885" y="7958"/>
                      </a:cubicBezTo>
                      <a:cubicBezTo>
                        <a:pt x="3876" y="8033"/>
                        <a:pt x="3809" y="8080"/>
                        <a:pt x="3770" y="8109"/>
                      </a:cubicBezTo>
                      <a:lnTo>
                        <a:pt x="3748" y="8142"/>
                      </a:lnTo>
                      <a:cubicBezTo>
                        <a:pt x="3743" y="8158"/>
                        <a:pt x="3734" y="8173"/>
                        <a:pt x="3724" y="8185"/>
                      </a:cubicBezTo>
                      <a:cubicBezTo>
                        <a:pt x="3747" y="8221"/>
                        <a:pt x="3764" y="8268"/>
                        <a:pt x="3767" y="8334"/>
                      </a:cubicBezTo>
                      <a:lnTo>
                        <a:pt x="3770" y="8399"/>
                      </a:lnTo>
                      <a:cubicBezTo>
                        <a:pt x="3836" y="8481"/>
                        <a:pt x="3840" y="8539"/>
                        <a:pt x="3842" y="8577"/>
                      </a:cubicBezTo>
                      <a:cubicBezTo>
                        <a:pt x="3843" y="8589"/>
                        <a:pt x="3842" y="8600"/>
                        <a:pt x="3847" y="8612"/>
                      </a:cubicBezTo>
                      <a:lnTo>
                        <a:pt x="3906" y="8652"/>
                      </a:lnTo>
                      <a:cubicBezTo>
                        <a:pt x="3941" y="8679"/>
                        <a:pt x="4025" y="8743"/>
                        <a:pt x="4046" y="8829"/>
                      </a:cubicBezTo>
                      <a:cubicBezTo>
                        <a:pt x="4232" y="8831"/>
                        <a:pt x="4300" y="8929"/>
                        <a:pt x="4328" y="8990"/>
                      </a:cubicBezTo>
                      <a:lnTo>
                        <a:pt x="4350" y="8991"/>
                      </a:lnTo>
                      <a:cubicBezTo>
                        <a:pt x="4544" y="9005"/>
                        <a:pt x="4645" y="9102"/>
                        <a:pt x="4699" y="9154"/>
                      </a:cubicBezTo>
                      <a:cubicBezTo>
                        <a:pt x="4821" y="9253"/>
                        <a:pt x="4798" y="9347"/>
                        <a:pt x="4767" y="9404"/>
                      </a:cubicBezTo>
                      <a:cubicBezTo>
                        <a:pt x="4843" y="9481"/>
                        <a:pt x="4943" y="9589"/>
                        <a:pt x="4921" y="9712"/>
                      </a:cubicBezTo>
                      <a:cubicBezTo>
                        <a:pt x="4899" y="9839"/>
                        <a:pt x="4776" y="9896"/>
                        <a:pt x="4687" y="9937"/>
                      </a:cubicBezTo>
                      <a:cubicBezTo>
                        <a:pt x="4653" y="9953"/>
                        <a:pt x="4611" y="9972"/>
                        <a:pt x="4563" y="10001"/>
                      </a:cubicBezTo>
                      <a:cubicBezTo>
                        <a:pt x="4532" y="10020"/>
                        <a:pt x="4523" y="10030"/>
                        <a:pt x="4523" y="10030"/>
                      </a:cubicBezTo>
                      <a:cubicBezTo>
                        <a:pt x="4530" y="10047"/>
                        <a:pt x="4533" y="10099"/>
                        <a:pt x="4475" y="10150"/>
                      </a:cubicBezTo>
                      <a:cubicBezTo>
                        <a:pt x="4435" y="10186"/>
                        <a:pt x="4384" y="10207"/>
                        <a:pt x="4342" y="10220"/>
                      </a:cubicBezTo>
                      <a:cubicBezTo>
                        <a:pt x="4337" y="10230"/>
                        <a:pt x="4331" y="10238"/>
                        <a:pt x="4325" y="10247"/>
                      </a:cubicBezTo>
                      <a:cubicBezTo>
                        <a:pt x="4284" y="10304"/>
                        <a:pt x="4217" y="10333"/>
                        <a:pt x="4167" y="10349"/>
                      </a:cubicBezTo>
                      <a:cubicBezTo>
                        <a:pt x="4151" y="10354"/>
                        <a:pt x="4136" y="10357"/>
                        <a:pt x="4126" y="10360"/>
                      </a:cubicBezTo>
                      <a:cubicBezTo>
                        <a:pt x="4126" y="10360"/>
                        <a:pt x="4126" y="10360"/>
                        <a:pt x="4126" y="10360"/>
                      </a:cubicBezTo>
                      <a:cubicBezTo>
                        <a:pt x="4135" y="10360"/>
                        <a:pt x="4114" y="10379"/>
                        <a:pt x="4091" y="10399"/>
                      </a:cubicBezTo>
                      <a:cubicBezTo>
                        <a:pt x="4042" y="10443"/>
                        <a:pt x="4001" y="10478"/>
                        <a:pt x="3961" y="10507"/>
                      </a:cubicBezTo>
                      <a:cubicBezTo>
                        <a:pt x="3966" y="10524"/>
                        <a:pt x="3969" y="10542"/>
                        <a:pt x="3968" y="10562"/>
                      </a:cubicBezTo>
                      <a:cubicBezTo>
                        <a:pt x="3961" y="10641"/>
                        <a:pt x="3886" y="10691"/>
                        <a:pt x="3836" y="10724"/>
                      </a:cubicBezTo>
                      <a:cubicBezTo>
                        <a:pt x="3815" y="10739"/>
                        <a:pt x="3796" y="10751"/>
                        <a:pt x="3786" y="10763"/>
                      </a:cubicBezTo>
                      <a:cubicBezTo>
                        <a:pt x="3759" y="10796"/>
                        <a:pt x="3730" y="10863"/>
                        <a:pt x="3704" y="10918"/>
                      </a:cubicBezTo>
                      <a:cubicBezTo>
                        <a:pt x="3669" y="10993"/>
                        <a:pt x="3652" y="11027"/>
                        <a:pt x="3628" y="11054"/>
                      </a:cubicBezTo>
                      <a:cubicBezTo>
                        <a:pt x="3570" y="11118"/>
                        <a:pt x="3470" y="11145"/>
                        <a:pt x="3400" y="11163"/>
                      </a:cubicBezTo>
                      <a:cubicBezTo>
                        <a:pt x="3381" y="11191"/>
                        <a:pt x="3365" y="11211"/>
                        <a:pt x="3344" y="11231"/>
                      </a:cubicBezTo>
                      <a:cubicBezTo>
                        <a:pt x="3301" y="11272"/>
                        <a:pt x="3234" y="11304"/>
                        <a:pt x="3161" y="11335"/>
                      </a:cubicBezTo>
                      <a:cubicBezTo>
                        <a:pt x="3158" y="11367"/>
                        <a:pt x="3140" y="11393"/>
                        <a:pt x="3120" y="11414"/>
                      </a:cubicBezTo>
                      <a:cubicBezTo>
                        <a:pt x="3126" y="11423"/>
                        <a:pt x="3130" y="11433"/>
                        <a:pt x="3134" y="11444"/>
                      </a:cubicBezTo>
                      <a:cubicBezTo>
                        <a:pt x="3140" y="11465"/>
                        <a:pt x="3140" y="11487"/>
                        <a:pt x="3135" y="11509"/>
                      </a:cubicBezTo>
                      <a:cubicBezTo>
                        <a:pt x="3121" y="11577"/>
                        <a:pt x="3067" y="11647"/>
                        <a:pt x="3029" y="11688"/>
                      </a:cubicBezTo>
                      <a:cubicBezTo>
                        <a:pt x="2948" y="11779"/>
                        <a:pt x="2856" y="11811"/>
                        <a:pt x="2790" y="11834"/>
                      </a:cubicBezTo>
                      <a:cubicBezTo>
                        <a:pt x="2775" y="11842"/>
                        <a:pt x="2759" y="11859"/>
                        <a:pt x="2744" y="11873"/>
                      </a:cubicBezTo>
                      <a:cubicBezTo>
                        <a:pt x="2724" y="11892"/>
                        <a:pt x="2705" y="11909"/>
                        <a:pt x="2683" y="11925"/>
                      </a:cubicBezTo>
                      <a:cubicBezTo>
                        <a:pt x="2674" y="11964"/>
                        <a:pt x="2630" y="12063"/>
                        <a:pt x="2403" y="12072"/>
                      </a:cubicBezTo>
                      <a:cubicBezTo>
                        <a:pt x="2400" y="12074"/>
                        <a:pt x="2398" y="12075"/>
                        <a:pt x="2395" y="12076"/>
                      </a:cubicBezTo>
                      <a:cubicBezTo>
                        <a:pt x="2333" y="12103"/>
                        <a:pt x="2262" y="12105"/>
                        <a:pt x="2205" y="12108"/>
                      </a:cubicBezTo>
                      <a:cubicBezTo>
                        <a:pt x="2205" y="12108"/>
                        <a:pt x="2204" y="12108"/>
                        <a:pt x="2204" y="12108"/>
                      </a:cubicBezTo>
                      <a:cubicBezTo>
                        <a:pt x="2198" y="12125"/>
                        <a:pt x="2187" y="12143"/>
                        <a:pt x="2168" y="12162"/>
                      </a:cubicBezTo>
                      <a:lnTo>
                        <a:pt x="2122" y="12204"/>
                      </a:lnTo>
                      <a:lnTo>
                        <a:pt x="2027" y="12230"/>
                      </a:lnTo>
                      <a:cubicBezTo>
                        <a:pt x="2036" y="12252"/>
                        <a:pt x="2022" y="12273"/>
                        <a:pt x="1997" y="12299"/>
                      </a:cubicBezTo>
                      <a:cubicBezTo>
                        <a:pt x="1968" y="12329"/>
                        <a:pt x="1938" y="12355"/>
                        <a:pt x="1912" y="12378"/>
                      </a:cubicBezTo>
                      <a:lnTo>
                        <a:pt x="1882" y="12405"/>
                      </a:lnTo>
                      <a:cubicBezTo>
                        <a:pt x="1890" y="12423"/>
                        <a:pt x="1881" y="12473"/>
                        <a:pt x="1822" y="12517"/>
                      </a:cubicBezTo>
                      <a:lnTo>
                        <a:pt x="1727" y="12612"/>
                      </a:lnTo>
                      <a:cubicBezTo>
                        <a:pt x="1677" y="12667"/>
                        <a:pt x="1598" y="12687"/>
                        <a:pt x="1540" y="12697"/>
                      </a:cubicBezTo>
                      <a:lnTo>
                        <a:pt x="1522" y="12722"/>
                      </a:lnTo>
                      <a:cubicBezTo>
                        <a:pt x="1502" y="12741"/>
                        <a:pt x="1478" y="12756"/>
                        <a:pt x="1454" y="12767"/>
                      </a:cubicBezTo>
                      <a:cubicBezTo>
                        <a:pt x="1456" y="12784"/>
                        <a:pt x="1456" y="12799"/>
                        <a:pt x="1455" y="12808"/>
                      </a:cubicBezTo>
                      <a:cubicBezTo>
                        <a:pt x="1450" y="12849"/>
                        <a:pt x="1422" y="12900"/>
                        <a:pt x="1378" y="12942"/>
                      </a:cubicBezTo>
                      <a:cubicBezTo>
                        <a:pt x="1446" y="13003"/>
                        <a:pt x="1453" y="13058"/>
                        <a:pt x="1441" y="13125"/>
                      </a:cubicBezTo>
                      <a:cubicBezTo>
                        <a:pt x="1441" y="13130"/>
                        <a:pt x="1440" y="13134"/>
                        <a:pt x="1439" y="13138"/>
                      </a:cubicBezTo>
                      <a:lnTo>
                        <a:pt x="1476" y="13138"/>
                      </a:lnTo>
                      <a:lnTo>
                        <a:pt x="1566" y="13162"/>
                      </a:lnTo>
                      <a:cubicBezTo>
                        <a:pt x="1621" y="13181"/>
                        <a:pt x="1667" y="13217"/>
                        <a:pt x="1703" y="13255"/>
                      </a:cubicBezTo>
                      <a:cubicBezTo>
                        <a:pt x="1823" y="13258"/>
                        <a:pt x="1957" y="13300"/>
                        <a:pt x="2029" y="13356"/>
                      </a:cubicBezTo>
                      <a:cubicBezTo>
                        <a:pt x="2067" y="13386"/>
                        <a:pt x="2103" y="13431"/>
                        <a:pt x="2090" y="13490"/>
                      </a:cubicBezTo>
                      <a:cubicBezTo>
                        <a:pt x="2172" y="13527"/>
                        <a:pt x="2235" y="13577"/>
                        <a:pt x="2270" y="13634"/>
                      </a:cubicBezTo>
                      <a:cubicBezTo>
                        <a:pt x="2368" y="13793"/>
                        <a:pt x="2108" y="13931"/>
                        <a:pt x="2022" y="13977"/>
                      </a:cubicBezTo>
                      <a:cubicBezTo>
                        <a:pt x="2015" y="13981"/>
                        <a:pt x="2008" y="13984"/>
                        <a:pt x="2001" y="13987"/>
                      </a:cubicBezTo>
                      <a:cubicBezTo>
                        <a:pt x="2043" y="14044"/>
                        <a:pt x="2041" y="14097"/>
                        <a:pt x="2029" y="14138"/>
                      </a:cubicBezTo>
                      <a:cubicBezTo>
                        <a:pt x="2012" y="14186"/>
                        <a:pt x="1965" y="14250"/>
                        <a:pt x="1897" y="14301"/>
                      </a:cubicBezTo>
                      <a:cubicBezTo>
                        <a:pt x="1903" y="14334"/>
                        <a:pt x="1902" y="14370"/>
                        <a:pt x="1879" y="14407"/>
                      </a:cubicBezTo>
                      <a:cubicBezTo>
                        <a:pt x="1846" y="14459"/>
                        <a:pt x="1811" y="14486"/>
                        <a:pt x="1767" y="14514"/>
                      </a:cubicBezTo>
                      <a:cubicBezTo>
                        <a:pt x="1762" y="14530"/>
                        <a:pt x="1754" y="14548"/>
                        <a:pt x="1738" y="14567"/>
                      </a:cubicBezTo>
                      <a:lnTo>
                        <a:pt x="1681" y="14638"/>
                      </a:lnTo>
                      <a:lnTo>
                        <a:pt x="1535" y="14664"/>
                      </a:lnTo>
                      <a:lnTo>
                        <a:pt x="0" y="19763"/>
                      </a:lnTo>
                      <a:cubicBezTo>
                        <a:pt x="1362" y="19913"/>
                        <a:pt x="2728" y="20056"/>
                        <a:pt x="4094" y="20196"/>
                      </a:cubicBezTo>
                      <a:cubicBezTo>
                        <a:pt x="4383" y="20225"/>
                        <a:pt x="4669" y="20258"/>
                        <a:pt x="4958" y="20287"/>
                      </a:cubicBezTo>
                      <a:cubicBezTo>
                        <a:pt x="6137" y="20405"/>
                        <a:pt x="7316" y="20514"/>
                        <a:pt x="8495" y="20625"/>
                      </a:cubicBezTo>
                      <a:cubicBezTo>
                        <a:pt x="10540" y="20816"/>
                        <a:pt x="12591" y="20999"/>
                        <a:pt x="14647" y="21167"/>
                      </a:cubicBezTo>
                      <a:cubicBezTo>
                        <a:pt x="14828" y="21182"/>
                        <a:pt x="15007" y="21199"/>
                        <a:pt x="15188" y="21213"/>
                      </a:cubicBezTo>
                      <a:cubicBezTo>
                        <a:pt x="16402" y="21311"/>
                        <a:pt x="17617" y="21400"/>
                        <a:pt x="18833" y="21490"/>
                      </a:cubicBezTo>
                      <a:cubicBezTo>
                        <a:pt x="19316" y="21526"/>
                        <a:pt x="19802" y="21566"/>
                        <a:pt x="20284" y="21600"/>
                      </a:cubicBezTo>
                      <a:lnTo>
                        <a:pt x="21600" y="14665"/>
                      </a:lnTo>
                      <a:cubicBezTo>
                        <a:pt x="21599" y="14664"/>
                        <a:pt x="21598" y="14664"/>
                        <a:pt x="21596" y="14663"/>
                      </a:cubicBezTo>
                      <a:cubicBezTo>
                        <a:pt x="21558" y="14649"/>
                        <a:pt x="21529" y="14634"/>
                        <a:pt x="21506" y="14617"/>
                      </a:cubicBezTo>
                      <a:cubicBezTo>
                        <a:pt x="21505" y="14617"/>
                        <a:pt x="21505" y="14617"/>
                        <a:pt x="21504" y="14616"/>
                      </a:cubicBezTo>
                      <a:cubicBezTo>
                        <a:pt x="21425" y="14559"/>
                        <a:pt x="21409" y="14486"/>
                        <a:pt x="21399" y="14442"/>
                      </a:cubicBezTo>
                      <a:cubicBezTo>
                        <a:pt x="21393" y="14427"/>
                        <a:pt x="21353" y="14391"/>
                        <a:pt x="21336" y="14380"/>
                      </a:cubicBezTo>
                      <a:cubicBezTo>
                        <a:pt x="21341" y="14383"/>
                        <a:pt x="21261" y="14348"/>
                        <a:pt x="21236" y="14338"/>
                      </a:cubicBezTo>
                      <a:cubicBezTo>
                        <a:pt x="21091" y="14283"/>
                        <a:pt x="21105" y="14189"/>
                        <a:pt x="21126" y="14133"/>
                      </a:cubicBezTo>
                      <a:cubicBezTo>
                        <a:pt x="21119" y="14126"/>
                        <a:pt x="21113" y="14120"/>
                        <a:pt x="21109" y="14117"/>
                      </a:cubicBezTo>
                      <a:cubicBezTo>
                        <a:pt x="21024" y="14082"/>
                        <a:pt x="21008" y="14009"/>
                        <a:pt x="21002" y="13955"/>
                      </a:cubicBezTo>
                      <a:lnTo>
                        <a:pt x="20861" y="13960"/>
                      </a:lnTo>
                      <a:cubicBezTo>
                        <a:pt x="20858" y="13960"/>
                        <a:pt x="20855" y="13960"/>
                        <a:pt x="20852" y="13960"/>
                      </a:cubicBezTo>
                      <a:cubicBezTo>
                        <a:pt x="20829" y="14001"/>
                        <a:pt x="20786" y="14027"/>
                        <a:pt x="20760" y="14042"/>
                      </a:cubicBezTo>
                      <a:cubicBezTo>
                        <a:pt x="20747" y="14051"/>
                        <a:pt x="20727" y="14063"/>
                        <a:pt x="20698" y="14083"/>
                      </a:cubicBezTo>
                      <a:cubicBezTo>
                        <a:pt x="20682" y="14094"/>
                        <a:pt x="20674" y="14103"/>
                        <a:pt x="20670" y="14110"/>
                      </a:cubicBezTo>
                      <a:cubicBezTo>
                        <a:pt x="20678" y="14117"/>
                        <a:pt x="20687" y="14124"/>
                        <a:pt x="20694" y="14130"/>
                      </a:cubicBezTo>
                      <a:cubicBezTo>
                        <a:pt x="20736" y="14163"/>
                        <a:pt x="20771" y="14192"/>
                        <a:pt x="20785" y="14234"/>
                      </a:cubicBezTo>
                      <a:lnTo>
                        <a:pt x="20810" y="14306"/>
                      </a:lnTo>
                      <a:lnTo>
                        <a:pt x="20657" y="14426"/>
                      </a:lnTo>
                      <a:lnTo>
                        <a:pt x="20517" y="14428"/>
                      </a:lnTo>
                      <a:cubicBezTo>
                        <a:pt x="20440" y="14428"/>
                        <a:pt x="20284" y="14405"/>
                        <a:pt x="20207" y="14367"/>
                      </a:cubicBezTo>
                      <a:cubicBezTo>
                        <a:pt x="20218" y="14372"/>
                        <a:pt x="20194" y="14367"/>
                        <a:pt x="20153" y="14360"/>
                      </a:cubicBezTo>
                      <a:lnTo>
                        <a:pt x="20120" y="14368"/>
                      </a:lnTo>
                      <a:cubicBezTo>
                        <a:pt x="20013" y="14385"/>
                        <a:pt x="19903" y="14360"/>
                        <a:pt x="19831" y="14339"/>
                      </a:cubicBezTo>
                      <a:cubicBezTo>
                        <a:pt x="19819" y="14332"/>
                        <a:pt x="19725" y="14359"/>
                        <a:pt x="19669" y="14376"/>
                      </a:cubicBezTo>
                      <a:cubicBezTo>
                        <a:pt x="19529" y="14418"/>
                        <a:pt x="19452" y="14440"/>
                        <a:pt x="19371" y="14442"/>
                      </a:cubicBezTo>
                      <a:lnTo>
                        <a:pt x="19370" y="14442"/>
                      </a:lnTo>
                      <a:cubicBezTo>
                        <a:pt x="19219" y="14442"/>
                        <a:pt x="19105" y="14386"/>
                        <a:pt x="19043" y="14288"/>
                      </a:cubicBezTo>
                      <a:cubicBezTo>
                        <a:pt x="19036" y="14290"/>
                        <a:pt x="19028" y="14291"/>
                        <a:pt x="19022" y="14293"/>
                      </a:cubicBezTo>
                      <a:cubicBezTo>
                        <a:pt x="18937" y="14335"/>
                        <a:pt x="18809" y="14342"/>
                        <a:pt x="18687" y="14313"/>
                      </a:cubicBezTo>
                      <a:cubicBezTo>
                        <a:pt x="18664" y="14317"/>
                        <a:pt x="18640" y="14319"/>
                        <a:pt x="18616" y="14319"/>
                      </a:cubicBezTo>
                      <a:lnTo>
                        <a:pt x="18516" y="14307"/>
                      </a:lnTo>
                      <a:cubicBezTo>
                        <a:pt x="18499" y="14311"/>
                        <a:pt x="18472" y="14315"/>
                        <a:pt x="18442" y="14318"/>
                      </a:cubicBezTo>
                      <a:lnTo>
                        <a:pt x="18390" y="14320"/>
                      </a:lnTo>
                      <a:cubicBezTo>
                        <a:pt x="18332" y="14320"/>
                        <a:pt x="18258" y="14311"/>
                        <a:pt x="18192" y="14276"/>
                      </a:cubicBezTo>
                      <a:lnTo>
                        <a:pt x="18165" y="14280"/>
                      </a:lnTo>
                      <a:cubicBezTo>
                        <a:pt x="18038" y="14280"/>
                        <a:pt x="17948" y="14228"/>
                        <a:pt x="17863" y="14173"/>
                      </a:cubicBezTo>
                      <a:cubicBezTo>
                        <a:pt x="17832" y="14190"/>
                        <a:pt x="17799" y="14202"/>
                        <a:pt x="17768" y="14209"/>
                      </a:cubicBezTo>
                      <a:cubicBezTo>
                        <a:pt x="17766" y="14214"/>
                        <a:pt x="17764" y="14220"/>
                        <a:pt x="17762" y="14225"/>
                      </a:cubicBezTo>
                      <a:cubicBezTo>
                        <a:pt x="17723" y="14315"/>
                        <a:pt x="17701" y="14363"/>
                        <a:pt x="17642" y="14402"/>
                      </a:cubicBezTo>
                      <a:lnTo>
                        <a:pt x="17566" y="14453"/>
                      </a:lnTo>
                      <a:lnTo>
                        <a:pt x="17435" y="14457"/>
                      </a:lnTo>
                      <a:cubicBezTo>
                        <a:pt x="17331" y="14457"/>
                        <a:pt x="17235" y="14425"/>
                        <a:pt x="17116" y="14378"/>
                      </a:cubicBezTo>
                      <a:cubicBezTo>
                        <a:pt x="17114" y="14378"/>
                        <a:pt x="17111" y="14379"/>
                        <a:pt x="17109" y="14379"/>
                      </a:cubicBezTo>
                      <a:lnTo>
                        <a:pt x="17015" y="14389"/>
                      </a:lnTo>
                      <a:cubicBezTo>
                        <a:pt x="16913" y="14389"/>
                        <a:pt x="16842" y="14359"/>
                        <a:pt x="16795" y="14330"/>
                      </a:cubicBezTo>
                      <a:cubicBezTo>
                        <a:pt x="16731" y="14325"/>
                        <a:pt x="16680" y="14309"/>
                        <a:pt x="16646" y="14296"/>
                      </a:cubicBezTo>
                      <a:cubicBezTo>
                        <a:pt x="16587" y="14288"/>
                        <a:pt x="16483" y="14281"/>
                        <a:pt x="16449" y="14278"/>
                      </a:cubicBezTo>
                      <a:cubicBezTo>
                        <a:pt x="16377" y="14273"/>
                        <a:pt x="16319" y="14254"/>
                        <a:pt x="16273" y="14236"/>
                      </a:cubicBezTo>
                      <a:cubicBezTo>
                        <a:pt x="16257" y="14238"/>
                        <a:pt x="16242" y="14239"/>
                        <a:pt x="16228" y="14240"/>
                      </a:cubicBezTo>
                      <a:cubicBezTo>
                        <a:pt x="16231" y="14241"/>
                        <a:pt x="16199" y="14262"/>
                        <a:pt x="16167" y="14283"/>
                      </a:cubicBezTo>
                      <a:cubicBezTo>
                        <a:pt x="16222" y="14396"/>
                        <a:pt x="16150" y="14500"/>
                        <a:pt x="15967" y="14568"/>
                      </a:cubicBezTo>
                      <a:lnTo>
                        <a:pt x="15906" y="14591"/>
                      </a:lnTo>
                      <a:lnTo>
                        <a:pt x="15792" y="14600"/>
                      </a:lnTo>
                      <a:lnTo>
                        <a:pt x="15791" y="14600"/>
                      </a:lnTo>
                      <a:cubicBezTo>
                        <a:pt x="15634" y="14600"/>
                        <a:pt x="15525" y="14540"/>
                        <a:pt x="15466" y="14421"/>
                      </a:cubicBezTo>
                      <a:cubicBezTo>
                        <a:pt x="15412" y="14403"/>
                        <a:pt x="15363" y="14385"/>
                        <a:pt x="15309" y="14360"/>
                      </a:cubicBezTo>
                      <a:cubicBezTo>
                        <a:pt x="15186" y="14304"/>
                        <a:pt x="15101" y="14204"/>
                        <a:pt x="15057" y="14064"/>
                      </a:cubicBezTo>
                      <a:cubicBezTo>
                        <a:pt x="15050" y="14044"/>
                        <a:pt x="15048" y="14025"/>
                        <a:pt x="15051" y="14003"/>
                      </a:cubicBezTo>
                      <a:cubicBezTo>
                        <a:pt x="15053" y="13981"/>
                        <a:pt x="15060" y="13956"/>
                        <a:pt x="15069" y="13923"/>
                      </a:cubicBezTo>
                      <a:cubicBezTo>
                        <a:pt x="15054" y="13906"/>
                        <a:pt x="15039" y="13884"/>
                        <a:pt x="15031" y="13859"/>
                      </a:cubicBezTo>
                      <a:cubicBezTo>
                        <a:pt x="15024" y="13852"/>
                        <a:pt x="15016" y="13843"/>
                        <a:pt x="15008" y="13835"/>
                      </a:cubicBezTo>
                      <a:cubicBezTo>
                        <a:pt x="14958" y="13781"/>
                        <a:pt x="14910" y="13730"/>
                        <a:pt x="14917" y="13668"/>
                      </a:cubicBezTo>
                      <a:cubicBezTo>
                        <a:pt x="14924" y="13609"/>
                        <a:pt x="14972" y="13570"/>
                        <a:pt x="15015" y="13545"/>
                      </a:cubicBezTo>
                      <a:lnTo>
                        <a:pt x="15010" y="13528"/>
                      </a:lnTo>
                      <a:cubicBezTo>
                        <a:pt x="14943" y="13481"/>
                        <a:pt x="14916" y="13432"/>
                        <a:pt x="14909" y="13350"/>
                      </a:cubicBezTo>
                      <a:cubicBezTo>
                        <a:pt x="14854" y="13304"/>
                        <a:pt x="14846" y="13259"/>
                        <a:pt x="14845" y="13229"/>
                      </a:cubicBezTo>
                      <a:cubicBezTo>
                        <a:pt x="14838" y="13226"/>
                        <a:pt x="14831" y="13223"/>
                        <a:pt x="14824" y="13220"/>
                      </a:cubicBezTo>
                      <a:lnTo>
                        <a:pt x="14764" y="13190"/>
                      </a:lnTo>
                      <a:cubicBezTo>
                        <a:pt x="14747" y="13181"/>
                        <a:pt x="14727" y="13172"/>
                        <a:pt x="14708" y="13164"/>
                      </a:cubicBezTo>
                      <a:cubicBezTo>
                        <a:pt x="14607" y="13197"/>
                        <a:pt x="14517" y="13214"/>
                        <a:pt x="14437" y="13214"/>
                      </a:cubicBezTo>
                      <a:lnTo>
                        <a:pt x="14351" y="13207"/>
                      </a:lnTo>
                      <a:cubicBezTo>
                        <a:pt x="14288" y="13197"/>
                        <a:pt x="14149" y="13160"/>
                        <a:pt x="14137" y="13031"/>
                      </a:cubicBezTo>
                      <a:cubicBezTo>
                        <a:pt x="14123" y="13028"/>
                        <a:pt x="14105" y="13022"/>
                        <a:pt x="14092" y="13018"/>
                      </a:cubicBezTo>
                      <a:cubicBezTo>
                        <a:pt x="14053" y="13006"/>
                        <a:pt x="14020" y="12995"/>
                        <a:pt x="13999" y="12986"/>
                      </a:cubicBezTo>
                      <a:cubicBezTo>
                        <a:pt x="13865" y="12930"/>
                        <a:pt x="13840" y="12824"/>
                        <a:pt x="13822" y="12748"/>
                      </a:cubicBezTo>
                      <a:cubicBezTo>
                        <a:pt x="13815" y="12721"/>
                        <a:pt x="13800" y="12696"/>
                        <a:pt x="13790" y="12676"/>
                      </a:cubicBezTo>
                      <a:cubicBezTo>
                        <a:pt x="13767" y="12635"/>
                        <a:pt x="13755" y="12612"/>
                        <a:pt x="13755" y="12581"/>
                      </a:cubicBezTo>
                      <a:cubicBezTo>
                        <a:pt x="13755" y="12523"/>
                        <a:pt x="13798" y="12449"/>
                        <a:pt x="13997" y="12418"/>
                      </a:cubicBezTo>
                      <a:cubicBezTo>
                        <a:pt x="13995" y="12398"/>
                        <a:pt x="13994" y="12368"/>
                        <a:pt x="13993" y="12339"/>
                      </a:cubicBezTo>
                      <a:cubicBezTo>
                        <a:pt x="13962" y="12328"/>
                        <a:pt x="13935" y="12316"/>
                        <a:pt x="13911" y="12299"/>
                      </a:cubicBezTo>
                      <a:cubicBezTo>
                        <a:pt x="13872" y="12271"/>
                        <a:pt x="13845" y="12227"/>
                        <a:pt x="13829" y="12181"/>
                      </a:cubicBezTo>
                      <a:cubicBezTo>
                        <a:pt x="13777" y="12165"/>
                        <a:pt x="13724" y="12141"/>
                        <a:pt x="13681" y="12102"/>
                      </a:cubicBezTo>
                      <a:cubicBezTo>
                        <a:pt x="13596" y="12026"/>
                        <a:pt x="13581" y="11939"/>
                        <a:pt x="13575" y="11885"/>
                      </a:cubicBezTo>
                      <a:cubicBezTo>
                        <a:pt x="13563" y="11876"/>
                        <a:pt x="13551" y="11867"/>
                        <a:pt x="13540" y="11856"/>
                      </a:cubicBezTo>
                      <a:cubicBezTo>
                        <a:pt x="13515" y="11830"/>
                        <a:pt x="13483" y="11788"/>
                        <a:pt x="13459" y="11756"/>
                      </a:cubicBezTo>
                      <a:cubicBezTo>
                        <a:pt x="13351" y="11700"/>
                        <a:pt x="13331" y="11615"/>
                        <a:pt x="13332" y="11560"/>
                      </a:cubicBezTo>
                      <a:cubicBezTo>
                        <a:pt x="13283" y="11512"/>
                        <a:pt x="13248" y="11476"/>
                        <a:pt x="13227" y="11434"/>
                      </a:cubicBezTo>
                      <a:cubicBezTo>
                        <a:pt x="13189" y="11360"/>
                        <a:pt x="13218" y="11293"/>
                        <a:pt x="13241" y="11245"/>
                      </a:cubicBezTo>
                      <a:cubicBezTo>
                        <a:pt x="13198" y="11205"/>
                        <a:pt x="13190" y="11158"/>
                        <a:pt x="13194" y="11111"/>
                      </a:cubicBezTo>
                      <a:lnTo>
                        <a:pt x="13174" y="11085"/>
                      </a:lnTo>
                      <a:cubicBezTo>
                        <a:pt x="13140" y="11035"/>
                        <a:pt x="13143" y="10986"/>
                        <a:pt x="13183" y="10937"/>
                      </a:cubicBezTo>
                      <a:cubicBezTo>
                        <a:pt x="13181" y="10936"/>
                        <a:pt x="13179" y="10936"/>
                        <a:pt x="13177" y="10935"/>
                      </a:cubicBezTo>
                      <a:lnTo>
                        <a:pt x="13075" y="10903"/>
                      </a:lnTo>
                      <a:lnTo>
                        <a:pt x="13041" y="10831"/>
                      </a:lnTo>
                      <a:cubicBezTo>
                        <a:pt x="13015" y="10770"/>
                        <a:pt x="13048" y="10715"/>
                        <a:pt x="13106" y="10655"/>
                      </a:cubicBezTo>
                      <a:cubicBezTo>
                        <a:pt x="13079" y="10652"/>
                        <a:pt x="13054" y="10646"/>
                        <a:pt x="13029" y="10639"/>
                      </a:cubicBezTo>
                      <a:cubicBezTo>
                        <a:pt x="12983" y="10626"/>
                        <a:pt x="12952" y="10606"/>
                        <a:pt x="12928" y="10586"/>
                      </a:cubicBezTo>
                      <a:cubicBezTo>
                        <a:pt x="12889" y="10551"/>
                        <a:pt x="12872" y="10512"/>
                        <a:pt x="12866" y="10480"/>
                      </a:cubicBezTo>
                      <a:cubicBezTo>
                        <a:pt x="12833" y="10496"/>
                        <a:pt x="12800" y="10508"/>
                        <a:pt x="12772" y="10517"/>
                      </a:cubicBezTo>
                      <a:cubicBezTo>
                        <a:pt x="12747" y="10525"/>
                        <a:pt x="12724" y="10533"/>
                        <a:pt x="12705" y="10543"/>
                      </a:cubicBezTo>
                      <a:cubicBezTo>
                        <a:pt x="12674" y="10567"/>
                        <a:pt x="12660" y="10583"/>
                        <a:pt x="12637" y="10599"/>
                      </a:cubicBezTo>
                      <a:cubicBezTo>
                        <a:pt x="12604" y="10624"/>
                        <a:pt x="12565" y="10640"/>
                        <a:pt x="12531" y="10651"/>
                      </a:cubicBezTo>
                      <a:cubicBezTo>
                        <a:pt x="12526" y="10657"/>
                        <a:pt x="12520" y="10662"/>
                        <a:pt x="12515" y="10667"/>
                      </a:cubicBezTo>
                      <a:cubicBezTo>
                        <a:pt x="12435" y="10735"/>
                        <a:pt x="12311" y="10746"/>
                        <a:pt x="12237" y="10753"/>
                      </a:cubicBezTo>
                      <a:lnTo>
                        <a:pt x="12163" y="10796"/>
                      </a:lnTo>
                      <a:lnTo>
                        <a:pt x="12078" y="10790"/>
                      </a:lnTo>
                      <a:cubicBezTo>
                        <a:pt x="12078" y="10790"/>
                        <a:pt x="12077" y="10790"/>
                        <a:pt x="12077" y="10790"/>
                      </a:cubicBezTo>
                      <a:cubicBezTo>
                        <a:pt x="12076" y="10791"/>
                        <a:pt x="12075" y="10792"/>
                        <a:pt x="12074" y="10794"/>
                      </a:cubicBezTo>
                      <a:cubicBezTo>
                        <a:pt x="11978" y="10913"/>
                        <a:pt x="11708" y="10972"/>
                        <a:pt x="11592" y="10976"/>
                      </a:cubicBezTo>
                      <a:cubicBezTo>
                        <a:pt x="11592" y="10976"/>
                        <a:pt x="11591" y="10976"/>
                        <a:pt x="11591" y="10976"/>
                      </a:cubicBezTo>
                      <a:cubicBezTo>
                        <a:pt x="11501" y="10976"/>
                        <a:pt x="11329" y="10958"/>
                        <a:pt x="11270" y="10808"/>
                      </a:cubicBezTo>
                      <a:cubicBezTo>
                        <a:pt x="11227" y="10786"/>
                        <a:pt x="11194" y="10768"/>
                        <a:pt x="11164" y="10745"/>
                      </a:cubicBezTo>
                      <a:cubicBezTo>
                        <a:pt x="11134" y="10722"/>
                        <a:pt x="11102" y="10688"/>
                        <a:pt x="11070" y="10654"/>
                      </a:cubicBezTo>
                      <a:cubicBezTo>
                        <a:pt x="10999" y="10648"/>
                        <a:pt x="10928" y="10630"/>
                        <a:pt x="10877" y="10593"/>
                      </a:cubicBezTo>
                      <a:cubicBezTo>
                        <a:pt x="10808" y="10579"/>
                        <a:pt x="10764" y="10556"/>
                        <a:pt x="10735" y="10536"/>
                      </a:cubicBezTo>
                      <a:lnTo>
                        <a:pt x="10663" y="10485"/>
                      </a:lnTo>
                      <a:lnTo>
                        <a:pt x="10663" y="10402"/>
                      </a:lnTo>
                      <a:cubicBezTo>
                        <a:pt x="10668" y="10367"/>
                        <a:pt x="10688" y="10338"/>
                        <a:pt x="10714" y="10314"/>
                      </a:cubicBezTo>
                      <a:cubicBezTo>
                        <a:pt x="10710" y="10301"/>
                        <a:pt x="10706" y="10288"/>
                        <a:pt x="10704" y="10274"/>
                      </a:cubicBezTo>
                      <a:cubicBezTo>
                        <a:pt x="10701" y="10244"/>
                        <a:pt x="10700" y="10107"/>
                        <a:pt x="10962" y="10074"/>
                      </a:cubicBezTo>
                      <a:cubicBezTo>
                        <a:pt x="10962" y="10073"/>
                        <a:pt x="10962" y="10072"/>
                        <a:pt x="10962" y="10071"/>
                      </a:cubicBezTo>
                      <a:cubicBezTo>
                        <a:pt x="10952" y="10061"/>
                        <a:pt x="10940" y="10050"/>
                        <a:pt x="10928" y="10039"/>
                      </a:cubicBezTo>
                      <a:cubicBezTo>
                        <a:pt x="10881" y="9997"/>
                        <a:pt x="10831" y="9950"/>
                        <a:pt x="10814" y="9926"/>
                      </a:cubicBezTo>
                      <a:cubicBezTo>
                        <a:pt x="10712" y="9785"/>
                        <a:pt x="10923" y="9688"/>
                        <a:pt x="11013" y="9646"/>
                      </a:cubicBezTo>
                      <a:cubicBezTo>
                        <a:pt x="11026" y="9630"/>
                        <a:pt x="11040" y="9603"/>
                        <a:pt x="11075" y="9575"/>
                      </a:cubicBezTo>
                      <a:cubicBezTo>
                        <a:pt x="11130" y="9531"/>
                        <a:pt x="11213" y="9508"/>
                        <a:pt x="11340" y="9502"/>
                      </a:cubicBezTo>
                      <a:cubicBezTo>
                        <a:pt x="11325" y="9461"/>
                        <a:pt x="11332" y="9417"/>
                        <a:pt x="11359" y="9377"/>
                      </a:cubicBezTo>
                      <a:cubicBezTo>
                        <a:pt x="11247" y="9326"/>
                        <a:pt x="11241" y="9245"/>
                        <a:pt x="11238" y="9193"/>
                      </a:cubicBezTo>
                      <a:lnTo>
                        <a:pt x="11219" y="9125"/>
                      </a:lnTo>
                      <a:cubicBezTo>
                        <a:pt x="11206" y="9068"/>
                        <a:pt x="11244" y="9022"/>
                        <a:pt x="11290" y="8982"/>
                      </a:cubicBezTo>
                      <a:cubicBezTo>
                        <a:pt x="11220" y="8939"/>
                        <a:pt x="11177" y="8886"/>
                        <a:pt x="11170" y="8828"/>
                      </a:cubicBezTo>
                      <a:cubicBezTo>
                        <a:pt x="11161" y="8762"/>
                        <a:pt x="11200" y="8698"/>
                        <a:pt x="11279" y="8647"/>
                      </a:cubicBezTo>
                      <a:cubicBezTo>
                        <a:pt x="11344" y="8605"/>
                        <a:pt x="11417" y="8582"/>
                        <a:pt x="11497" y="8578"/>
                      </a:cubicBezTo>
                      <a:cubicBezTo>
                        <a:pt x="11476" y="8546"/>
                        <a:pt x="11456" y="8510"/>
                        <a:pt x="11456" y="8469"/>
                      </a:cubicBezTo>
                      <a:cubicBezTo>
                        <a:pt x="11456" y="8440"/>
                        <a:pt x="11469" y="8363"/>
                        <a:pt x="11595" y="8319"/>
                      </a:cubicBezTo>
                      <a:cubicBezTo>
                        <a:pt x="11608" y="8272"/>
                        <a:pt x="11653" y="8235"/>
                        <a:pt x="11694" y="8202"/>
                      </a:cubicBezTo>
                      <a:cubicBezTo>
                        <a:pt x="11696" y="8201"/>
                        <a:pt x="11698" y="8200"/>
                        <a:pt x="11699" y="8198"/>
                      </a:cubicBezTo>
                      <a:cubicBezTo>
                        <a:pt x="11698" y="8193"/>
                        <a:pt x="11696" y="8188"/>
                        <a:pt x="11694" y="8185"/>
                      </a:cubicBezTo>
                      <a:lnTo>
                        <a:pt x="11647" y="8120"/>
                      </a:lnTo>
                      <a:lnTo>
                        <a:pt x="11647" y="8119"/>
                      </a:lnTo>
                      <a:lnTo>
                        <a:pt x="11704" y="8059"/>
                      </a:lnTo>
                      <a:cubicBezTo>
                        <a:pt x="11740" y="8013"/>
                        <a:pt x="11812" y="7979"/>
                        <a:pt x="11872" y="7957"/>
                      </a:cubicBezTo>
                      <a:cubicBezTo>
                        <a:pt x="11835" y="7909"/>
                        <a:pt x="11806" y="7847"/>
                        <a:pt x="11850" y="7777"/>
                      </a:cubicBezTo>
                      <a:cubicBezTo>
                        <a:pt x="11893" y="7711"/>
                        <a:pt x="11982" y="7667"/>
                        <a:pt x="12095" y="7654"/>
                      </a:cubicBezTo>
                      <a:cubicBezTo>
                        <a:pt x="12098" y="7634"/>
                        <a:pt x="12102" y="7615"/>
                        <a:pt x="12107" y="7598"/>
                      </a:cubicBezTo>
                      <a:cubicBezTo>
                        <a:pt x="12113" y="7578"/>
                        <a:pt x="12125" y="7555"/>
                        <a:pt x="12140" y="7530"/>
                      </a:cubicBezTo>
                      <a:cubicBezTo>
                        <a:pt x="12125" y="7535"/>
                        <a:pt x="12110" y="7541"/>
                        <a:pt x="12096" y="7546"/>
                      </a:cubicBezTo>
                      <a:lnTo>
                        <a:pt x="12036" y="7567"/>
                      </a:lnTo>
                      <a:lnTo>
                        <a:pt x="11937" y="7572"/>
                      </a:lnTo>
                      <a:cubicBezTo>
                        <a:pt x="11848" y="7572"/>
                        <a:pt x="11779" y="7551"/>
                        <a:pt x="11728" y="7529"/>
                      </a:cubicBezTo>
                      <a:lnTo>
                        <a:pt x="11686" y="7545"/>
                      </a:lnTo>
                      <a:lnTo>
                        <a:pt x="11586" y="7551"/>
                      </a:lnTo>
                      <a:cubicBezTo>
                        <a:pt x="11489" y="7551"/>
                        <a:pt x="11318" y="7524"/>
                        <a:pt x="11260" y="7344"/>
                      </a:cubicBezTo>
                      <a:cubicBezTo>
                        <a:pt x="11234" y="7321"/>
                        <a:pt x="11212" y="7295"/>
                        <a:pt x="11204" y="7266"/>
                      </a:cubicBezTo>
                      <a:cubicBezTo>
                        <a:pt x="11162" y="7276"/>
                        <a:pt x="11117" y="7283"/>
                        <a:pt x="11067" y="7283"/>
                      </a:cubicBezTo>
                      <a:lnTo>
                        <a:pt x="11005" y="7283"/>
                      </a:lnTo>
                      <a:lnTo>
                        <a:pt x="11004" y="7283"/>
                      </a:lnTo>
                      <a:lnTo>
                        <a:pt x="10920" y="7261"/>
                      </a:lnTo>
                      <a:cubicBezTo>
                        <a:pt x="10838" y="7235"/>
                        <a:pt x="10780" y="7190"/>
                        <a:pt x="10760" y="7135"/>
                      </a:cubicBezTo>
                      <a:cubicBezTo>
                        <a:pt x="10750" y="7110"/>
                        <a:pt x="10750" y="7086"/>
                        <a:pt x="10755" y="7063"/>
                      </a:cubicBezTo>
                      <a:cubicBezTo>
                        <a:pt x="10760" y="7040"/>
                        <a:pt x="10770" y="7019"/>
                        <a:pt x="10783" y="7000"/>
                      </a:cubicBezTo>
                      <a:cubicBezTo>
                        <a:pt x="10777" y="6997"/>
                        <a:pt x="10773" y="6992"/>
                        <a:pt x="10767" y="6989"/>
                      </a:cubicBezTo>
                      <a:cubicBezTo>
                        <a:pt x="10727" y="6971"/>
                        <a:pt x="10692" y="6951"/>
                        <a:pt x="10664" y="6927"/>
                      </a:cubicBezTo>
                      <a:cubicBezTo>
                        <a:pt x="10581" y="6915"/>
                        <a:pt x="10521" y="6885"/>
                        <a:pt x="10468" y="6840"/>
                      </a:cubicBezTo>
                      <a:cubicBezTo>
                        <a:pt x="10460" y="6833"/>
                        <a:pt x="10459" y="6826"/>
                        <a:pt x="10452" y="6819"/>
                      </a:cubicBezTo>
                      <a:cubicBezTo>
                        <a:pt x="10427" y="6794"/>
                        <a:pt x="10407" y="6768"/>
                        <a:pt x="10397" y="6745"/>
                      </a:cubicBezTo>
                      <a:cubicBezTo>
                        <a:pt x="10397" y="6744"/>
                        <a:pt x="10397" y="6744"/>
                        <a:pt x="10397" y="6744"/>
                      </a:cubicBezTo>
                      <a:cubicBezTo>
                        <a:pt x="10391" y="6737"/>
                        <a:pt x="10379" y="6726"/>
                        <a:pt x="10374" y="6722"/>
                      </a:cubicBezTo>
                      <a:lnTo>
                        <a:pt x="10308" y="6669"/>
                      </a:lnTo>
                      <a:lnTo>
                        <a:pt x="10314" y="6594"/>
                      </a:lnTo>
                      <a:cubicBezTo>
                        <a:pt x="10323" y="6553"/>
                        <a:pt x="10353" y="6523"/>
                        <a:pt x="10388" y="6500"/>
                      </a:cubicBezTo>
                      <a:cubicBezTo>
                        <a:pt x="10352" y="6476"/>
                        <a:pt x="10320" y="6442"/>
                        <a:pt x="10294" y="6411"/>
                      </a:cubicBezTo>
                      <a:cubicBezTo>
                        <a:pt x="10100" y="6394"/>
                        <a:pt x="10068" y="6273"/>
                        <a:pt x="10039" y="6131"/>
                      </a:cubicBezTo>
                      <a:cubicBezTo>
                        <a:pt x="9916" y="6076"/>
                        <a:pt x="9905" y="5994"/>
                        <a:pt x="9899" y="5952"/>
                      </a:cubicBezTo>
                      <a:cubicBezTo>
                        <a:pt x="9889" y="5933"/>
                        <a:pt x="9829" y="5874"/>
                        <a:pt x="9790" y="5838"/>
                      </a:cubicBezTo>
                      <a:cubicBezTo>
                        <a:pt x="9756" y="5829"/>
                        <a:pt x="9738" y="5824"/>
                        <a:pt x="9724" y="5820"/>
                      </a:cubicBezTo>
                      <a:cubicBezTo>
                        <a:pt x="9685" y="5807"/>
                        <a:pt x="9612" y="5777"/>
                        <a:pt x="9581" y="5714"/>
                      </a:cubicBezTo>
                      <a:cubicBezTo>
                        <a:pt x="9519" y="5691"/>
                        <a:pt x="9469" y="5662"/>
                        <a:pt x="9445" y="5615"/>
                      </a:cubicBezTo>
                      <a:cubicBezTo>
                        <a:pt x="9421" y="5575"/>
                        <a:pt x="9426" y="5528"/>
                        <a:pt x="9458" y="5483"/>
                      </a:cubicBezTo>
                      <a:cubicBezTo>
                        <a:pt x="9415" y="5477"/>
                        <a:pt x="9383" y="5472"/>
                        <a:pt x="9353" y="5466"/>
                      </a:cubicBezTo>
                      <a:cubicBezTo>
                        <a:pt x="9264" y="5448"/>
                        <a:pt x="9170" y="5406"/>
                        <a:pt x="9047" y="5350"/>
                      </a:cubicBezTo>
                      <a:cubicBezTo>
                        <a:pt x="9012" y="5334"/>
                        <a:pt x="8980" y="5319"/>
                        <a:pt x="8960" y="5311"/>
                      </a:cubicBezTo>
                      <a:cubicBezTo>
                        <a:pt x="8817" y="5276"/>
                        <a:pt x="8792" y="5179"/>
                        <a:pt x="8781" y="5133"/>
                      </a:cubicBezTo>
                      <a:cubicBezTo>
                        <a:pt x="8775" y="5110"/>
                        <a:pt x="8769" y="5088"/>
                        <a:pt x="8756" y="5074"/>
                      </a:cubicBezTo>
                      <a:cubicBezTo>
                        <a:pt x="8737" y="5054"/>
                        <a:pt x="8724" y="5049"/>
                        <a:pt x="8724" y="5049"/>
                      </a:cubicBezTo>
                      <a:cubicBezTo>
                        <a:pt x="8578" y="5037"/>
                        <a:pt x="8514" y="4959"/>
                        <a:pt x="8489" y="4924"/>
                      </a:cubicBezTo>
                      <a:cubicBezTo>
                        <a:pt x="8396" y="4885"/>
                        <a:pt x="8258" y="4813"/>
                        <a:pt x="8264" y="4691"/>
                      </a:cubicBezTo>
                      <a:cubicBezTo>
                        <a:pt x="8266" y="4655"/>
                        <a:pt x="8285" y="4588"/>
                        <a:pt x="8390" y="4545"/>
                      </a:cubicBezTo>
                      <a:cubicBezTo>
                        <a:pt x="8358" y="4525"/>
                        <a:pt x="8324" y="4498"/>
                        <a:pt x="8298" y="4461"/>
                      </a:cubicBezTo>
                      <a:cubicBezTo>
                        <a:pt x="8256" y="4405"/>
                        <a:pt x="8257" y="4346"/>
                        <a:pt x="8298" y="4295"/>
                      </a:cubicBezTo>
                      <a:cubicBezTo>
                        <a:pt x="8336" y="4248"/>
                        <a:pt x="8394" y="4221"/>
                        <a:pt x="8452" y="4204"/>
                      </a:cubicBezTo>
                      <a:cubicBezTo>
                        <a:pt x="8424" y="4177"/>
                        <a:pt x="8403" y="4143"/>
                        <a:pt x="8400" y="4100"/>
                      </a:cubicBezTo>
                      <a:cubicBezTo>
                        <a:pt x="8398" y="4064"/>
                        <a:pt x="8408" y="4035"/>
                        <a:pt x="8421" y="4010"/>
                      </a:cubicBezTo>
                      <a:cubicBezTo>
                        <a:pt x="8364" y="3982"/>
                        <a:pt x="8333" y="3945"/>
                        <a:pt x="8322" y="3899"/>
                      </a:cubicBezTo>
                      <a:cubicBezTo>
                        <a:pt x="8293" y="3890"/>
                        <a:pt x="8266" y="3877"/>
                        <a:pt x="8241" y="3859"/>
                      </a:cubicBezTo>
                      <a:cubicBezTo>
                        <a:pt x="8162" y="3800"/>
                        <a:pt x="8163" y="3686"/>
                        <a:pt x="8174" y="3615"/>
                      </a:cubicBezTo>
                      <a:cubicBezTo>
                        <a:pt x="8151" y="3606"/>
                        <a:pt x="8127" y="3595"/>
                        <a:pt x="8102" y="3581"/>
                      </a:cubicBezTo>
                      <a:cubicBezTo>
                        <a:pt x="8011" y="3530"/>
                        <a:pt x="7981" y="3461"/>
                        <a:pt x="7956" y="3406"/>
                      </a:cubicBezTo>
                      <a:cubicBezTo>
                        <a:pt x="7949" y="3393"/>
                        <a:pt x="7921" y="3370"/>
                        <a:pt x="7903" y="3358"/>
                      </a:cubicBezTo>
                      <a:cubicBezTo>
                        <a:pt x="7843" y="3317"/>
                        <a:pt x="7829" y="3274"/>
                        <a:pt x="7820" y="3245"/>
                      </a:cubicBezTo>
                      <a:cubicBezTo>
                        <a:pt x="7812" y="3225"/>
                        <a:pt x="7786" y="3209"/>
                        <a:pt x="7766" y="3199"/>
                      </a:cubicBezTo>
                      <a:lnTo>
                        <a:pt x="7654" y="3141"/>
                      </a:lnTo>
                      <a:lnTo>
                        <a:pt x="7677" y="3052"/>
                      </a:lnTo>
                      <a:lnTo>
                        <a:pt x="8419" y="275"/>
                      </a:lnTo>
                      <a:cubicBezTo>
                        <a:pt x="7570" y="186"/>
                        <a:pt x="6721" y="94"/>
                        <a:pt x="5872" y="0"/>
                      </a:cubicBezTo>
                      <a:lnTo>
                        <a:pt x="3741" y="7122"/>
                      </a:lnTo>
                      <a:cubicBezTo>
                        <a:pt x="3741" y="7122"/>
                        <a:pt x="3715" y="7206"/>
                        <a:pt x="3703" y="7224"/>
                      </a:cubicBezTo>
                      <a:close/>
                      <a:moveTo>
                        <a:pt x="3703" y="7224"/>
                      </a:moveTo>
                    </a:path>
                  </a:pathLst>
                </a:custGeom>
                <a:solidFill>
                  <a:schemeClr val="accent6">
                    <a:lumMod val="40000"/>
                    <a:lumOff val="6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2400"/>
                    <a:buFontTx/>
                    <a:buNone/>
                    <a:tabLst/>
                    <a:defRPr/>
                  </a:pPr>
                  <a:endParaRPr kumimoji="0" sz="1800" b="0" i="0" u="none" strike="noStrike" kern="1200" cap="none" spc="0" normalizeH="0" baseline="0" noProof="0" dirty="0">
                    <a:ln>
                      <a:noFill/>
                    </a:ln>
                    <a:solidFill>
                      <a:srgbClr val="005A74"/>
                    </a:solidFill>
                    <a:effectLst/>
                    <a:uLnTx/>
                    <a:uFillTx/>
                    <a:latin typeface="Arial"/>
                    <a:ea typeface="Arial"/>
                    <a:cs typeface="Arial"/>
                    <a:sym typeface="Arial"/>
                  </a:endParaRPr>
                </a:p>
              </p:txBody>
            </p:sp>
            <p:sp>
              <p:nvSpPr>
                <p:cNvPr id="61" name="Google Shape;417;p54">
                  <a:extLst>
                    <a:ext uri="{FF2B5EF4-FFF2-40B4-BE49-F238E27FC236}">
                      <a16:creationId xmlns:a16="http://schemas.microsoft.com/office/drawing/2014/main" id="{C98908E4-3DF5-4A22-A1E8-D22C670F0498}"/>
                    </a:ext>
                  </a:extLst>
                </p:cNvPr>
                <p:cNvSpPr/>
                <p:nvPr/>
              </p:nvSpPr>
              <p:spPr>
                <a:xfrm>
                  <a:off x="1257595" y="2700576"/>
                  <a:ext cx="1060830" cy="1700190"/>
                </a:xfrm>
                <a:custGeom>
                  <a:avLst/>
                  <a:gdLst/>
                  <a:ahLst/>
                  <a:cxnLst/>
                  <a:rect l="l" t="t" r="r" b="b"/>
                  <a:pathLst>
                    <a:path w="21600" h="21600" extrusionOk="0">
                      <a:moveTo>
                        <a:pt x="12873" y="20445"/>
                      </a:moveTo>
                      <a:lnTo>
                        <a:pt x="12873" y="20488"/>
                      </a:lnTo>
                      <a:cubicBezTo>
                        <a:pt x="12877" y="20641"/>
                        <a:pt x="12875" y="20730"/>
                        <a:pt x="12789" y="20779"/>
                      </a:cubicBezTo>
                      <a:cubicBezTo>
                        <a:pt x="12792" y="20791"/>
                        <a:pt x="12793" y="20800"/>
                        <a:pt x="12794" y="20808"/>
                      </a:cubicBezTo>
                      <a:cubicBezTo>
                        <a:pt x="12798" y="20833"/>
                        <a:pt x="12787" y="20903"/>
                        <a:pt x="12764" y="20946"/>
                      </a:cubicBezTo>
                      <a:cubicBezTo>
                        <a:pt x="12815" y="20958"/>
                        <a:pt x="12852" y="20977"/>
                        <a:pt x="12879" y="20992"/>
                      </a:cubicBezTo>
                      <a:cubicBezTo>
                        <a:pt x="12913" y="21009"/>
                        <a:pt x="12939" y="21036"/>
                        <a:pt x="12988" y="21109"/>
                      </a:cubicBezTo>
                      <a:cubicBezTo>
                        <a:pt x="13021" y="21155"/>
                        <a:pt x="13071" y="21228"/>
                        <a:pt x="13029" y="21290"/>
                      </a:cubicBezTo>
                      <a:lnTo>
                        <a:pt x="19358" y="21595"/>
                      </a:lnTo>
                      <a:cubicBezTo>
                        <a:pt x="19368" y="21588"/>
                        <a:pt x="19381" y="21584"/>
                        <a:pt x="19392" y="21578"/>
                      </a:cubicBezTo>
                      <a:cubicBezTo>
                        <a:pt x="19401" y="21574"/>
                        <a:pt x="19408" y="21570"/>
                        <a:pt x="19418" y="21566"/>
                      </a:cubicBezTo>
                      <a:cubicBezTo>
                        <a:pt x="19449" y="21555"/>
                        <a:pt x="19483" y="21547"/>
                        <a:pt x="19520" y="21547"/>
                      </a:cubicBezTo>
                      <a:lnTo>
                        <a:pt x="19563" y="21547"/>
                      </a:lnTo>
                      <a:lnTo>
                        <a:pt x="19624" y="21564"/>
                      </a:lnTo>
                      <a:cubicBezTo>
                        <a:pt x="19661" y="21576"/>
                        <a:pt x="19687" y="21589"/>
                        <a:pt x="19706" y="21600"/>
                      </a:cubicBezTo>
                      <a:lnTo>
                        <a:pt x="19777" y="21600"/>
                      </a:lnTo>
                      <a:cubicBezTo>
                        <a:pt x="19787" y="21596"/>
                        <a:pt x="19799" y="21593"/>
                        <a:pt x="19811" y="21590"/>
                      </a:cubicBezTo>
                      <a:cubicBezTo>
                        <a:pt x="19824" y="21549"/>
                        <a:pt x="19862" y="21524"/>
                        <a:pt x="19891" y="21510"/>
                      </a:cubicBezTo>
                      <a:cubicBezTo>
                        <a:pt x="19913" y="21499"/>
                        <a:pt x="19947" y="21488"/>
                        <a:pt x="19984" y="21475"/>
                      </a:cubicBezTo>
                      <a:cubicBezTo>
                        <a:pt x="19998" y="21471"/>
                        <a:pt x="20020" y="21464"/>
                        <a:pt x="20036" y="21458"/>
                      </a:cubicBezTo>
                      <a:cubicBezTo>
                        <a:pt x="20038" y="21440"/>
                        <a:pt x="20041" y="21425"/>
                        <a:pt x="20048" y="21410"/>
                      </a:cubicBezTo>
                      <a:cubicBezTo>
                        <a:pt x="19994" y="21359"/>
                        <a:pt x="20017" y="21306"/>
                        <a:pt x="20047" y="21276"/>
                      </a:cubicBezTo>
                      <a:lnTo>
                        <a:pt x="20022" y="21233"/>
                      </a:lnTo>
                      <a:cubicBezTo>
                        <a:pt x="20023" y="21227"/>
                        <a:pt x="20023" y="21222"/>
                        <a:pt x="20023" y="21217"/>
                      </a:cubicBezTo>
                      <a:cubicBezTo>
                        <a:pt x="20018" y="21217"/>
                        <a:pt x="20013" y="21216"/>
                        <a:pt x="20009" y="21215"/>
                      </a:cubicBezTo>
                      <a:cubicBezTo>
                        <a:pt x="19984" y="21222"/>
                        <a:pt x="19956" y="21226"/>
                        <a:pt x="19925" y="21226"/>
                      </a:cubicBezTo>
                      <a:lnTo>
                        <a:pt x="19851" y="21226"/>
                      </a:lnTo>
                      <a:lnTo>
                        <a:pt x="19789" y="21191"/>
                      </a:lnTo>
                      <a:cubicBezTo>
                        <a:pt x="19788" y="21191"/>
                        <a:pt x="19787" y="21191"/>
                        <a:pt x="19787" y="21190"/>
                      </a:cubicBezTo>
                      <a:cubicBezTo>
                        <a:pt x="19780" y="21191"/>
                        <a:pt x="19772" y="21191"/>
                        <a:pt x="19764" y="21191"/>
                      </a:cubicBezTo>
                      <a:lnTo>
                        <a:pt x="19587" y="21191"/>
                      </a:lnTo>
                      <a:lnTo>
                        <a:pt x="19580" y="21076"/>
                      </a:lnTo>
                      <a:cubicBezTo>
                        <a:pt x="19580" y="21072"/>
                        <a:pt x="19577" y="21061"/>
                        <a:pt x="19575" y="21052"/>
                      </a:cubicBezTo>
                      <a:cubicBezTo>
                        <a:pt x="19485" y="20988"/>
                        <a:pt x="19506" y="20933"/>
                        <a:pt x="19528" y="20904"/>
                      </a:cubicBezTo>
                      <a:cubicBezTo>
                        <a:pt x="19562" y="20864"/>
                        <a:pt x="19601" y="20820"/>
                        <a:pt x="19614" y="20782"/>
                      </a:cubicBezTo>
                      <a:lnTo>
                        <a:pt x="19632" y="20731"/>
                      </a:lnTo>
                      <a:cubicBezTo>
                        <a:pt x="19636" y="20719"/>
                        <a:pt x="19639" y="20709"/>
                        <a:pt x="19643" y="20701"/>
                      </a:cubicBezTo>
                      <a:cubicBezTo>
                        <a:pt x="19630" y="20682"/>
                        <a:pt x="19621" y="20658"/>
                        <a:pt x="19629" y="20631"/>
                      </a:cubicBezTo>
                      <a:lnTo>
                        <a:pt x="19630" y="20626"/>
                      </a:lnTo>
                      <a:cubicBezTo>
                        <a:pt x="19561" y="20574"/>
                        <a:pt x="19548" y="20517"/>
                        <a:pt x="19589" y="20467"/>
                      </a:cubicBezTo>
                      <a:cubicBezTo>
                        <a:pt x="19603" y="20450"/>
                        <a:pt x="19621" y="20438"/>
                        <a:pt x="19641" y="20423"/>
                      </a:cubicBezTo>
                      <a:cubicBezTo>
                        <a:pt x="19646" y="20419"/>
                        <a:pt x="19652" y="20416"/>
                        <a:pt x="19657" y="20412"/>
                      </a:cubicBezTo>
                      <a:cubicBezTo>
                        <a:pt x="19655" y="20409"/>
                        <a:pt x="19654" y="20407"/>
                        <a:pt x="19653" y="20404"/>
                      </a:cubicBezTo>
                      <a:cubicBezTo>
                        <a:pt x="19627" y="20356"/>
                        <a:pt x="19602" y="20311"/>
                        <a:pt x="19643" y="20263"/>
                      </a:cubicBezTo>
                      <a:lnTo>
                        <a:pt x="19678" y="20221"/>
                      </a:lnTo>
                      <a:lnTo>
                        <a:pt x="19753" y="20207"/>
                      </a:lnTo>
                      <a:cubicBezTo>
                        <a:pt x="19809" y="20190"/>
                        <a:pt x="19860" y="20177"/>
                        <a:pt x="19915" y="20177"/>
                      </a:cubicBezTo>
                      <a:lnTo>
                        <a:pt x="19940" y="20177"/>
                      </a:lnTo>
                      <a:cubicBezTo>
                        <a:pt x="19945" y="20171"/>
                        <a:pt x="19951" y="20165"/>
                        <a:pt x="19958" y="20158"/>
                      </a:cubicBezTo>
                      <a:cubicBezTo>
                        <a:pt x="20017" y="20104"/>
                        <a:pt x="20069" y="20067"/>
                        <a:pt x="20134" y="20049"/>
                      </a:cubicBezTo>
                      <a:cubicBezTo>
                        <a:pt x="20149" y="20032"/>
                        <a:pt x="20170" y="20017"/>
                        <a:pt x="20197" y="20006"/>
                      </a:cubicBezTo>
                      <a:cubicBezTo>
                        <a:pt x="20196" y="19989"/>
                        <a:pt x="20201" y="19974"/>
                        <a:pt x="20208" y="19962"/>
                      </a:cubicBezTo>
                      <a:cubicBezTo>
                        <a:pt x="20219" y="19941"/>
                        <a:pt x="20240" y="19922"/>
                        <a:pt x="20260" y="19906"/>
                      </a:cubicBezTo>
                      <a:cubicBezTo>
                        <a:pt x="20255" y="19883"/>
                        <a:pt x="20253" y="19863"/>
                        <a:pt x="20262" y="19840"/>
                      </a:cubicBezTo>
                      <a:cubicBezTo>
                        <a:pt x="20290" y="19777"/>
                        <a:pt x="20307" y="19738"/>
                        <a:pt x="20350" y="19711"/>
                      </a:cubicBezTo>
                      <a:cubicBezTo>
                        <a:pt x="20345" y="19677"/>
                        <a:pt x="20366" y="19651"/>
                        <a:pt x="20377" y="19639"/>
                      </a:cubicBezTo>
                      <a:cubicBezTo>
                        <a:pt x="20366" y="19624"/>
                        <a:pt x="20359" y="19606"/>
                        <a:pt x="20359" y="19584"/>
                      </a:cubicBezTo>
                      <a:cubicBezTo>
                        <a:pt x="20358" y="19546"/>
                        <a:pt x="20360" y="19523"/>
                        <a:pt x="20368" y="19503"/>
                      </a:cubicBezTo>
                      <a:cubicBezTo>
                        <a:pt x="20364" y="19454"/>
                        <a:pt x="20359" y="19411"/>
                        <a:pt x="20415" y="19373"/>
                      </a:cubicBezTo>
                      <a:lnTo>
                        <a:pt x="20416" y="19373"/>
                      </a:lnTo>
                      <a:cubicBezTo>
                        <a:pt x="20377" y="19338"/>
                        <a:pt x="20376" y="19304"/>
                        <a:pt x="20385" y="19279"/>
                      </a:cubicBezTo>
                      <a:cubicBezTo>
                        <a:pt x="20403" y="19230"/>
                        <a:pt x="20441" y="19195"/>
                        <a:pt x="20517" y="19157"/>
                      </a:cubicBezTo>
                      <a:cubicBezTo>
                        <a:pt x="20559" y="19136"/>
                        <a:pt x="20598" y="19125"/>
                        <a:pt x="20627" y="19117"/>
                      </a:cubicBezTo>
                      <a:cubicBezTo>
                        <a:pt x="20675" y="19093"/>
                        <a:pt x="20699" y="19080"/>
                        <a:pt x="20719" y="19069"/>
                      </a:cubicBezTo>
                      <a:cubicBezTo>
                        <a:pt x="20725" y="19034"/>
                        <a:pt x="20741" y="18986"/>
                        <a:pt x="20781" y="18946"/>
                      </a:cubicBezTo>
                      <a:cubicBezTo>
                        <a:pt x="20844" y="18886"/>
                        <a:pt x="20943" y="18867"/>
                        <a:pt x="21008" y="18858"/>
                      </a:cubicBezTo>
                      <a:cubicBezTo>
                        <a:pt x="21040" y="18837"/>
                        <a:pt x="21096" y="18810"/>
                        <a:pt x="21186" y="18810"/>
                      </a:cubicBezTo>
                      <a:lnTo>
                        <a:pt x="21194" y="18810"/>
                      </a:lnTo>
                      <a:cubicBezTo>
                        <a:pt x="21207" y="18804"/>
                        <a:pt x="21223" y="18798"/>
                        <a:pt x="21238" y="18791"/>
                      </a:cubicBezTo>
                      <a:cubicBezTo>
                        <a:pt x="21245" y="18789"/>
                        <a:pt x="21250" y="18786"/>
                        <a:pt x="21257" y="18784"/>
                      </a:cubicBezTo>
                      <a:cubicBezTo>
                        <a:pt x="21281" y="18775"/>
                        <a:pt x="21306" y="18768"/>
                        <a:pt x="21331" y="18765"/>
                      </a:cubicBezTo>
                      <a:cubicBezTo>
                        <a:pt x="21362" y="18761"/>
                        <a:pt x="21392" y="18756"/>
                        <a:pt x="21410" y="18753"/>
                      </a:cubicBezTo>
                      <a:cubicBezTo>
                        <a:pt x="21442" y="18733"/>
                        <a:pt x="21489" y="18705"/>
                        <a:pt x="21526" y="18685"/>
                      </a:cubicBezTo>
                      <a:cubicBezTo>
                        <a:pt x="21544" y="18676"/>
                        <a:pt x="21571" y="18662"/>
                        <a:pt x="21600" y="18649"/>
                      </a:cubicBezTo>
                      <a:cubicBezTo>
                        <a:pt x="21588" y="18636"/>
                        <a:pt x="21578" y="18619"/>
                        <a:pt x="21575" y="18600"/>
                      </a:cubicBezTo>
                      <a:cubicBezTo>
                        <a:pt x="21537" y="18588"/>
                        <a:pt x="21498" y="18571"/>
                        <a:pt x="21470" y="18548"/>
                      </a:cubicBezTo>
                      <a:cubicBezTo>
                        <a:pt x="21454" y="18534"/>
                        <a:pt x="21443" y="18520"/>
                        <a:pt x="21435" y="18509"/>
                      </a:cubicBezTo>
                      <a:cubicBezTo>
                        <a:pt x="21385" y="18495"/>
                        <a:pt x="21308" y="18467"/>
                        <a:pt x="21291" y="18404"/>
                      </a:cubicBezTo>
                      <a:cubicBezTo>
                        <a:pt x="21280" y="18396"/>
                        <a:pt x="21271" y="18390"/>
                        <a:pt x="21265" y="18385"/>
                      </a:cubicBezTo>
                      <a:cubicBezTo>
                        <a:pt x="21118" y="18377"/>
                        <a:pt x="21060" y="18315"/>
                        <a:pt x="21053" y="18261"/>
                      </a:cubicBezTo>
                      <a:cubicBezTo>
                        <a:pt x="21047" y="18208"/>
                        <a:pt x="21075" y="18163"/>
                        <a:pt x="21090" y="18139"/>
                      </a:cubicBezTo>
                      <a:cubicBezTo>
                        <a:pt x="21093" y="18133"/>
                        <a:pt x="21097" y="18127"/>
                        <a:pt x="21101" y="18120"/>
                      </a:cubicBezTo>
                      <a:cubicBezTo>
                        <a:pt x="21096" y="18108"/>
                        <a:pt x="21088" y="18091"/>
                        <a:pt x="21082" y="18079"/>
                      </a:cubicBezTo>
                      <a:cubicBezTo>
                        <a:pt x="20973" y="18028"/>
                        <a:pt x="20992" y="17964"/>
                        <a:pt x="21001" y="17945"/>
                      </a:cubicBezTo>
                      <a:lnTo>
                        <a:pt x="21014" y="17924"/>
                      </a:lnTo>
                      <a:cubicBezTo>
                        <a:pt x="21010" y="17915"/>
                        <a:pt x="21004" y="17903"/>
                        <a:pt x="20999" y="17890"/>
                      </a:cubicBezTo>
                      <a:cubicBezTo>
                        <a:pt x="20979" y="17844"/>
                        <a:pt x="20960" y="17795"/>
                        <a:pt x="20959" y="17783"/>
                      </a:cubicBezTo>
                      <a:cubicBezTo>
                        <a:pt x="20958" y="17774"/>
                        <a:pt x="20956" y="17767"/>
                        <a:pt x="20955" y="17761"/>
                      </a:cubicBezTo>
                      <a:cubicBezTo>
                        <a:pt x="20952" y="17761"/>
                        <a:pt x="20945" y="17757"/>
                        <a:pt x="20938" y="17752"/>
                      </a:cubicBezTo>
                      <a:cubicBezTo>
                        <a:pt x="20900" y="17729"/>
                        <a:pt x="20856" y="17701"/>
                        <a:pt x="20830" y="17677"/>
                      </a:cubicBezTo>
                      <a:cubicBezTo>
                        <a:pt x="20777" y="17630"/>
                        <a:pt x="20735" y="17553"/>
                        <a:pt x="20733" y="17502"/>
                      </a:cubicBezTo>
                      <a:lnTo>
                        <a:pt x="20733" y="17491"/>
                      </a:lnTo>
                      <a:cubicBezTo>
                        <a:pt x="20731" y="17491"/>
                        <a:pt x="20730" y="17489"/>
                        <a:pt x="20728" y="17489"/>
                      </a:cubicBezTo>
                      <a:cubicBezTo>
                        <a:pt x="20665" y="17455"/>
                        <a:pt x="20593" y="17416"/>
                        <a:pt x="20601" y="17352"/>
                      </a:cubicBezTo>
                      <a:cubicBezTo>
                        <a:pt x="20603" y="17308"/>
                        <a:pt x="20605" y="17270"/>
                        <a:pt x="20634" y="17237"/>
                      </a:cubicBezTo>
                      <a:cubicBezTo>
                        <a:pt x="20633" y="17237"/>
                        <a:pt x="20639" y="17221"/>
                        <a:pt x="20640" y="17215"/>
                      </a:cubicBezTo>
                      <a:lnTo>
                        <a:pt x="20651" y="17184"/>
                      </a:lnTo>
                      <a:cubicBezTo>
                        <a:pt x="20656" y="17158"/>
                        <a:pt x="20659" y="17142"/>
                        <a:pt x="20664" y="17125"/>
                      </a:cubicBezTo>
                      <a:cubicBezTo>
                        <a:pt x="20665" y="17121"/>
                        <a:pt x="20666" y="17117"/>
                        <a:pt x="20667" y="17113"/>
                      </a:cubicBezTo>
                      <a:lnTo>
                        <a:pt x="9287" y="7399"/>
                      </a:lnTo>
                      <a:lnTo>
                        <a:pt x="11345" y="1427"/>
                      </a:lnTo>
                      <a:cubicBezTo>
                        <a:pt x="11101" y="1394"/>
                        <a:pt x="10857" y="1359"/>
                        <a:pt x="10613" y="1326"/>
                      </a:cubicBezTo>
                      <a:cubicBezTo>
                        <a:pt x="10255" y="1277"/>
                        <a:pt x="9897" y="1228"/>
                        <a:pt x="9540" y="1178"/>
                      </a:cubicBezTo>
                      <a:cubicBezTo>
                        <a:pt x="9155" y="1124"/>
                        <a:pt x="8770" y="1069"/>
                        <a:pt x="8385" y="1014"/>
                      </a:cubicBezTo>
                      <a:cubicBezTo>
                        <a:pt x="7991" y="958"/>
                        <a:pt x="7597" y="900"/>
                        <a:pt x="7204" y="842"/>
                      </a:cubicBezTo>
                      <a:cubicBezTo>
                        <a:pt x="6855" y="791"/>
                        <a:pt x="6506" y="739"/>
                        <a:pt x="6158" y="687"/>
                      </a:cubicBezTo>
                      <a:cubicBezTo>
                        <a:pt x="5716" y="621"/>
                        <a:pt x="5275" y="553"/>
                        <a:pt x="4834" y="485"/>
                      </a:cubicBezTo>
                      <a:cubicBezTo>
                        <a:pt x="4529" y="437"/>
                        <a:pt x="4223" y="391"/>
                        <a:pt x="3918" y="343"/>
                      </a:cubicBezTo>
                      <a:cubicBezTo>
                        <a:pt x="3403" y="262"/>
                        <a:pt x="2892" y="179"/>
                        <a:pt x="2380" y="96"/>
                      </a:cubicBezTo>
                      <a:cubicBezTo>
                        <a:pt x="2181" y="64"/>
                        <a:pt x="1980" y="33"/>
                        <a:pt x="1781" y="0"/>
                      </a:cubicBezTo>
                      <a:cubicBezTo>
                        <a:pt x="1766" y="30"/>
                        <a:pt x="1721" y="98"/>
                        <a:pt x="1709" y="113"/>
                      </a:cubicBezTo>
                      <a:lnTo>
                        <a:pt x="1697" y="132"/>
                      </a:lnTo>
                      <a:cubicBezTo>
                        <a:pt x="1655" y="199"/>
                        <a:pt x="1631" y="233"/>
                        <a:pt x="1603" y="256"/>
                      </a:cubicBezTo>
                      <a:cubicBezTo>
                        <a:pt x="1595" y="263"/>
                        <a:pt x="1580" y="273"/>
                        <a:pt x="1563" y="284"/>
                      </a:cubicBezTo>
                      <a:lnTo>
                        <a:pt x="1572" y="284"/>
                      </a:lnTo>
                      <a:lnTo>
                        <a:pt x="1667" y="343"/>
                      </a:lnTo>
                      <a:cubicBezTo>
                        <a:pt x="1707" y="381"/>
                        <a:pt x="1715" y="428"/>
                        <a:pt x="1718" y="465"/>
                      </a:cubicBezTo>
                      <a:cubicBezTo>
                        <a:pt x="1721" y="497"/>
                        <a:pt x="1708" y="527"/>
                        <a:pt x="1698" y="551"/>
                      </a:cubicBezTo>
                      <a:cubicBezTo>
                        <a:pt x="1705" y="596"/>
                        <a:pt x="1736" y="685"/>
                        <a:pt x="1715" y="863"/>
                      </a:cubicBezTo>
                      <a:cubicBezTo>
                        <a:pt x="1691" y="1075"/>
                        <a:pt x="1597" y="1223"/>
                        <a:pt x="1509" y="1339"/>
                      </a:cubicBezTo>
                      <a:cubicBezTo>
                        <a:pt x="1420" y="1455"/>
                        <a:pt x="1235" y="1635"/>
                        <a:pt x="1227" y="1642"/>
                      </a:cubicBezTo>
                      <a:lnTo>
                        <a:pt x="1181" y="1677"/>
                      </a:lnTo>
                      <a:cubicBezTo>
                        <a:pt x="1187" y="1705"/>
                        <a:pt x="1187" y="1725"/>
                        <a:pt x="1178" y="1746"/>
                      </a:cubicBezTo>
                      <a:cubicBezTo>
                        <a:pt x="1205" y="1775"/>
                        <a:pt x="1225" y="1814"/>
                        <a:pt x="1212" y="1857"/>
                      </a:cubicBezTo>
                      <a:cubicBezTo>
                        <a:pt x="1198" y="1903"/>
                        <a:pt x="1054" y="2155"/>
                        <a:pt x="880" y="2263"/>
                      </a:cubicBezTo>
                      <a:cubicBezTo>
                        <a:pt x="736" y="2353"/>
                        <a:pt x="315" y="2644"/>
                        <a:pt x="223" y="2729"/>
                      </a:cubicBezTo>
                      <a:cubicBezTo>
                        <a:pt x="180" y="2768"/>
                        <a:pt x="148" y="2794"/>
                        <a:pt x="124" y="2813"/>
                      </a:cubicBezTo>
                      <a:cubicBezTo>
                        <a:pt x="118" y="2817"/>
                        <a:pt x="113" y="2821"/>
                        <a:pt x="109" y="2825"/>
                      </a:cubicBezTo>
                      <a:cubicBezTo>
                        <a:pt x="100" y="2865"/>
                        <a:pt x="63" y="2900"/>
                        <a:pt x="27" y="2930"/>
                      </a:cubicBezTo>
                      <a:cubicBezTo>
                        <a:pt x="44" y="2948"/>
                        <a:pt x="59" y="2968"/>
                        <a:pt x="63" y="2993"/>
                      </a:cubicBezTo>
                      <a:cubicBezTo>
                        <a:pt x="67" y="3019"/>
                        <a:pt x="62" y="3046"/>
                        <a:pt x="52" y="3088"/>
                      </a:cubicBezTo>
                      <a:cubicBezTo>
                        <a:pt x="52" y="3090"/>
                        <a:pt x="51" y="3092"/>
                        <a:pt x="51" y="3093"/>
                      </a:cubicBezTo>
                      <a:cubicBezTo>
                        <a:pt x="83" y="3130"/>
                        <a:pt x="79" y="3163"/>
                        <a:pt x="68" y="3187"/>
                      </a:cubicBezTo>
                      <a:cubicBezTo>
                        <a:pt x="56" y="3212"/>
                        <a:pt x="36" y="3229"/>
                        <a:pt x="0" y="3260"/>
                      </a:cubicBezTo>
                      <a:cubicBezTo>
                        <a:pt x="42" y="3292"/>
                        <a:pt x="68" y="3314"/>
                        <a:pt x="74" y="3348"/>
                      </a:cubicBezTo>
                      <a:lnTo>
                        <a:pt x="72" y="3348"/>
                      </a:lnTo>
                      <a:cubicBezTo>
                        <a:pt x="106" y="3374"/>
                        <a:pt x="185" y="3430"/>
                        <a:pt x="207" y="3442"/>
                      </a:cubicBezTo>
                      <a:cubicBezTo>
                        <a:pt x="253" y="3459"/>
                        <a:pt x="284" y="3492"/>
                        <a:pt x="293" y="3537"/>
                      </a:cubicBezTo>
                      <a:cubicBezTo>
                        <a:pt x="338" y="3558"/>
                        <a:pt x="371" y="3578"/>
                        <a:pt x="391" y="3597"/>
                      </a:cubicBezTo>
                      <a:cubicBezTo>
                        <a:pt x="462" y="3653"/>
                        <a:pt x="532" y="3707"/>
                        <a:pt x="515" y="3774"/>
                      </a:cubicBezTo>
                      <a:cubicBezTo>
                        <a:pt x="513" y="3782"/>
                        <a:pt x="509" y="3792"/>
                        <a:pt x="505" y="3801"/>
                      </a:cubicBezTo>
                      <a:cubicBezTo>
                        <a:pt x="514" y="3807"/>
                        <a:pt x="521" y="3813"/>
                        <a:pt x="528" y="3820"/>
                      </a:cubicBezTo>
                      <a:cubicBezTo>
                        <a:pt x="541" y="3833"/>
                        <a:pt x="648" y="3966"/>
                        <a:pt x="666" y="4019"/>
                      </a:cubicBezTo>
                      <a:cubicBezTo>
                        <a:pt x="671" y="4034"/>
                        <a:pt x="673" y="4047"/>
                        <a:pt x="674" y="4058"/>
                      </a:cubicBezTo>
                      <a:cubicBezTo>
                        <a:pt x="706" y="4077"/>
                        <a:pt x="746" y="4111"/>
                        <a:pt x="746" y="4161"/>
                      </a:cubicBezTo>
                      <a:lnTo>
                        <a:pt x="744" y="4192"/>
                      </a:lnTo>
                      <a:cubicBezTo>
                        <a:pt x="744" y="4197"/>
                        <a:pt x="743" y="4203"/>
                        <a:pt x="743" y="4210"/>
                      </a:cubicBezTo>
                      <a:cubicBezTo>
                        <a:pt x="850" y="4268"/>
                        <a:pt x="866" y="4310"/>
                        <a:pt x="866" y="4342"/>
                      </a:cubicBezTo>
                      <a:cubicBezTo>
                        <a:pt x="866" y="4350"/>
                        <a:pt x="860" y="4377"/>
                        <a:pt x="851" y="4410"/>
                      </a:cubicBezTo>
                      <a:cubicBezTo>
                        <a:pt x="843" y="4434"/>
                        <a:pt x="828" y="4486"/>
                        <a:pt x="824" y="4515"/>
                      </a:cubicBezTo>
                      <a:lnTo>
                        <a:pt x="826" y="4516"/>
                      </a:lnTo>
                      <a:cubicBezTo>
                        <a:pt x="867" y="4554"/>
                        <a:pt x="913" y="4597"/>
                        <a:pt x="895" y="4652"/>
                      </a:cubicBezTo>
                      <a:cubicBezTo>
                        <a:pt x="868" y="4777"/>
                        <a:pt x="852" y="4831"/>
                        <a:pt x="826" y="4864"/>
                      </a:cubicBezTo>
                      <a:cubicBezTo>
                        <a:pt x="863" y="4923"/>
                        <a:pt x="824" y="4966"/>
                        <a:pt x="795" y="4987"/>
                      </a:cubicBezTo>
                      <a:cubicBezTo>
                        <a:pt x="771" y="5009"/>
                        <a:pt x="625" y="5149"/>
                        <a:pt x="601" y="5189"/>
                      </a:cubicBezTo>
                      <a:lnTo>
                        <a:pt x="512" y="5342"/>
                      </a:lnTo>
                      <a:cubicBezTo>
                        <a:pt x="514" y="5359"/>
                        <a:pt x="519" y="5388"/>
                        <a:pt x="530" y="5428"/>
                      </a:cubicBezTo>
                      <a:cubicBezTo>
                        <a:pt x="542" y="5472"/>
                        <a:pt x="544" y="5525"/>
                        <a:pt x="544" y="5571"/>
                      </a:cubicBezTo>
                      <a:cubicBezTo>
                        <a:pt x="544" y="5590"/>
                        <a:pt x="544" y="5608"/>
                        <a:pt x="545" y="5621"/>
                      </a:cubicBezTo>
                      <a:cubicBezTo>
                        <a:pt x="575" y="5657"/>
                        <a:pt x="584" y="5702"/>
                        <a:pt x="585" y="5757"/>
                      </a:cubicBezTo>
                      <a:cubicBezTo>
                        <a:pt x="611" y="5787"/>
                        <a:pt x="637" y="5822"/>
                        <a:pt x="629" y="5865"/>
                      </a:cubicBezTo>
                      <a:cubicBezTo>
                        <a:pt x="628" y="5871"/>
                        <a:pt x="627" y="5884"/>
                        <a:pt x="627" y="5900"/>
                      </a:cubicBezTo>
                      <a:cubicBezTo>
                        <a:pt x="624" y="5983"/>
                        <a:pt x="620" y="6016"/>
                        <a:pt x="596" y="6046"/>
                      </a:cubicBezTo>
                      <a:cubicBezTo>
                        <a:pt x="596" y="6046"/>
                        <a:pt x="519" y="6134"/>
                        <a:pt x="443" y="6185"/>
                      </a:cubicBezTo>
                      <a:cubicBezTo>
                        <a:pt x="488" y="6217"/>
                        <a:pt x="521" y="6248"/>
                        <a:pt x="532" y="6283"/>
                      </a:cubicBezTo>
                      <a:cubicBezTo>
                        <a:pt x="535" y="6294"/>
                        <a:pt x="537" y="6307"/>
                        <a:pt x="539" y="6320"/>
                      </a:cubicBezTo>
                      <a:lnTo>
                        <a:pt x="549" y="6335"/>
                      </a:lnTo>
                      <a:cubicBezTo>
                        <a:pt x="562" y="6349"/>
                        <a:pt x="578" y="6367"/>
                        <a:pt x="589" y="6376"/>
                      </a:cubicBezTo>
                      <a:cubicBezTo>
                        <a:pt x="616" y="6398"/>
                        <a:pt x="633" y="6416"/>
                        <a:pt x="651" y="6436"/>
                      </a:cubicBezTo>
                      <a:cubicBezTo>
                        <a:pt x="683" y="6449"/>
                        <a:pt x="727" y="6472"/>
                        <a:pt x="743" y="6514"/>
                      </a:cubicBezTo>
                      <a:cubicBezTo>
                        <a:pt x="759" y="6530"/>
                        <a:pt x="779" y="6554"/>
                        <a:pt x="784" y="6583"/>
                      </a:cubicBezTo>
                      <a:lnTo>
                        <a:pt x="785" y="6583"/>
                      </a:lnTo>
                      <a:lnTo>
                        <a:pt x="824" y="6617"/>
                      </a:lnTo>
                      <a:cubicBezTo>
                        <a:pt x="904" y="6699"/>
                        <a:pt x="930" y="6727"/>
                        <a:pt x="937" y="6752"/>
                      </a:cubicBezTo>
                      <a:lnTo>
                        <a:pt x="954" y="6786"/>
                      </a:lnTo>
                      <a:cubicBezTo>
                        <a:pt x="975" y="6825"/>
                        <a:pt x="999" y="6872"/>
                        <a:pt x="1005" y="6892"/>
                      </a:cubicBezTo>
                      <a:lnTo>
                        <a:pt x="1012" y="6916"/>
                      </a:lnTo>
                      <a:cubicBezTo>
                        <a:pt x="1026" y="6919"/>
                        <a:pt x="1069" y="6947"/>
                        <a:pt x="1088" y="6988"/>
                      </a:cubicBezTo>
                      <a:cubicBezTo>
                        <a:pt x="1094" y="7000"/>
                        <a:pt x="1096" y="7012"/>
                        <a:pt x="1096" y="7023"/>
                      </a:cubicBezTo>
                      <a:cubicBezTo>
                        <a:pt x="1128" y="7041"/>
                        <a:pt x="1160" y="7064"/>
                        <a:pt x="1177" y="7090"/>
                      </a:cubicBezTo>
                      <a:cubicBezTo>
                        <a:pt x="1189" y="7103"/>
                        <a:pt x="1214" y="7124"/>
                        <a:pt x="1224" y="7131"/>
                      </a:cubicBezTo>
                      <a:cubicBezTo>
                        <a:pt x="1352" y="7210"/>
                        <a:pt x="1433" y="7265"/>
                        <a:pt x="1472" y="7306"/>
                      </a:cubicBezTo>
                      <a:cubicBezTo>
                        <a:pt x="1474" y="7308"/>
                        <a:pt x="1637" y="7505"/>
                        <a:pt x="1600" y="7598"/>
                      </a:cubicBezTo>
                      <a:cubicBezTo>
                        <a:pt x="1597" y="7605"/>
                        <a:pt x="1594" y="7613"/>
                        <a:pt x="1591" y="7620"/>
                      </a:cubicBezTo>
                      <a:cubicBezTo>
                        <a:pt x="1628" y="7638"/>
                        <a:pt x="1677" y="7665"/>
                        <a:pt x="1698" y="7690"/>
                      </a:cubicBezTo>
                      <a:cubicBezTo>
                        <a:pt x="1721" y="7716"/>
                        <a:pt x="1722" y="7744"/>
                        <a:pt x="1721" y="7767"/>
                      </a:cubicBezTo>
                      <a:cubicBezTo>
                        <a:pt x="1738" y="7790"/>
                        <a:pt x="1753" y="7822"/>
                        <a:pt x="1744" y="7854"/>
                      </a:cubicBezTo>
                      <a:lnTo>
                        <a:pt x="1716" y="7913"/>
                      </a:lnTo>
                      <a:cubicBezTo>
                        <a:pt x="1719" y="7918"/>
                        <a:pt x="1720" y="7924"/>
                        <a:pt x="1721" y="7930"/>
                      </a:cubicBezTo>
                      <a:cubicBezTo>
                        <a:pt x="1740" y="7964"/>
                        <a:pt x="1785" y="8051"/>
                        <a:pt x="1682" y="8115"/>
                      </a:cubicBezTo>
                      <a:cubicBezTo>
                        <a:pt x="1684" y="8116"/>
                        <a:pt x="1671" y="8135"/>
                        <a:pt x="1656" y="8156"/>
                      </a:cubicBezTo>
                      <a:cubicBezTo>
                        <a:pt x="1643" y="8174"/>
                        <a:pt x="1630" y="8191"/>
                        <a:pt x="1618" y="8207"/>
                      </a:cubicBezTo>
                      <a:cubicBezTo>
                        <a:pt x="1620" y="8208"/>
                        <a:pt x="1622" y="8209"/>
                        <a:pt x="1625" y="8210"/>
                      </a:cubicBezTo>
                      <a:cubicBezTo>
                        <a:pt x="1706" y="8213"/>
                        <a:pt x="1776" y="8241"/>
                        <a:pt x="1814" y="8287"/>
                      </a:cubicBezTo>
                      <a:cubicBezTo>
                        <a:pt x="1825" y="8297"/>
                        <a:pt x="1854" y="8319"/>
                        <a:pt x="1881" y="8338"/>
                      </a:cubicBezTo>
                      <a:cubicBezTo>
                        <a:pt x="1952" y="8391"/>
                        <a:pt x="1985" y="8415"/>
                        <a:pt x="1985" y="8460"/>
                      </a:cubicBezTo>
                      <a:cubicBezTo>
                        <a:pt x="1985" y="8458"/>
                        <a:pt x="1988" y="8461"/>
                        <a:pt x="1991" y="8468"/>
                      </a:cubicBezTo>
                      <a:cubicBezTo>
                        <a:pt x="2035" y="8496"/>
                        <a:pt x="2067" y="8520"/>
                        <a:pt x="2084" y="8548"/>
                      </a:cubicBezTo>
                      <a:cubicBezTo>
                        <a:pt x="2139" y="8550"/>
                        <a:pt x="2172" y="8554"/>
                        <a:pt x="2208" y="8568"/>
                      </a:cubicBezTo>
                      <a:cubicBezTo>
                        <a:pt x="2254" y="8585"/>
                        <a:pt x="2275" y="8610"/>
                        <a:pt x="2303" y="8645"/>
                      </a:cubicBezTo>
                      <a:lnTo>
                        <a:pt x="2304" y="8645"/>
                      </a:lnTo>
                      <a:cubicBezTo>
                        <a:pt x="2319" y="8615"/>
                        <a:pt x="2350" y="8589"/>
                        <a:pt x="2380" y="8565"/>
                      </a:cubicBezTo>
                      <a:cubicBezTo>
                        <a:pt x="2384" y="8554"/>
                        <a:pt x="2389" y="8543"/>
                        <a:pt x="2395" y="8534"/>
                      </a:cubicBezTo>
                      <a:cubicBezTo>
                        <a:pt x="2394" y="8534"/>
                        <a:pt x="2394" y="8533"/>
                        <a:pt x="2394" y="8532"/>
                      </a:cubicBezTo>
                      <a:cubicBezTo>
                        <a:pt x="2357" y="8453"/>
                        <a:pt x="2405" y="8404"/>
                        <a:pt x="2436" y="8382"/>
                      </a:cubicBezTo>
                      <a:cubicBezTo>
                        <a:pt x="2436" y="8381"/>
                        <a:pt x="2442" y="8372"/>
                        <a:pt x="2448" y="8364"/>
                      </a:cubicBezTo>
                      <a:cubicBezTo>
                        <a:pt x="2444" y="8317"/>
                        <a:pt x="2447" y="8255"/>
                        <a:pt x="2532" y="8216"/>
                      </a:cubicBezTo>
                      <a:cubicBezTo>
                        <a:pt x="2576" y="8195"/>
                        <a:pt x="2639" y="8170"/>
                        <a:pt x="2715" y="8170"/>
                      </a:cubicBezTo>
                      <a:lnTo>
                        <a:pt x="2784" y="8170"/>
                      </a:lnTo>
                      <a:cubicBezTo>
                        <a:pt x="2825" y="8145"/>
                        <a:pt x="2874" y="8132"/>
                        <a:pt x="2927" y="8132"/>
                      </a:cubicBezTo>
                      <a:lnTo>
                        <a:pt x="2992" y="8132"/>
                      </a:lnTo>
                      <a:lnTo>
                        <a:pt x="3053" y="8161"/>
                      </a:lnTo>
                      <a:cubicBezTo>
                        <a:pt x="3088" y="8179"/>
                        <a:pt x="3088" y="8179"/>
                        <a:pt x="3116" y="8199"/>
                      </a:cubicBezTo>
                      <a:lnTo>
                        <a:pt x="3154" y="8224"/>
                      </a:lnTo>
                      <a:cubicBezTo>
                        <a:pt x="3231" y="8270"/>
                        <a:pt x="3297" y="8312"/>
                        <a:pt x="3325" y="8361"/>
                      </a:cubicBezTo>
                      <a:cubicBezTo>
                        <a:pt x="3332" y="8374"/>
                        <a:pt x="3397" y="8490"/>
                        <a:pt x="3370" y="8547"/>
                      </a:cubicBezTo>
                      <a:cubicBezTo>
                        <a:pt x="3345" y="8607"/>
                        <a:pt x="3257" y="8626"/>
                        <a:pt x="3219" y="8635"/>
                      </a:cubicBezTo>
                      <a:lnTo>
                        <a:pt x="3168" y="8683"/>
                      </a:lnTo>
                      <a:lnTo>
                        <a:pt x="3089" y="8680"/>
                      </a:lnTo>
                      <a:lnTo>
                        <a:pt x="3012" y="8681"/>
                      </a:lnTo>
                      <a:cubicBezTo>
                        <a:pt x="3015" y="8682"/>
                        <a:pt x="3018" y="8684"/>
                        <a:pt x="3022" y="8686"/>
                      </a:cubicBezTo>
                      <a:cubicBezTo>
                        <a:pt x="3066" y="8714"/>
                        <a:pt x="3161" y="8784"/>
                        <a:pt x="3118" y="8857"/>
                      </a:cubicBezTo>
                      <a:lnTo>
                        <a:pt x="3095" y="8886"/>
                      </a:lnTo>
                      <a:cubicBezTo>
                        <a:pt x="3098" y="8917"/>
                        <a:pt x="3094" y="8954"/>
                        <a:pt x="3066" y="8985"/>
                      </a:cubicBezTo>
                      <a:cubicBezTo>
                        <a:pt x="3135" y="9009"/>
                        <a:pt x="3189" y="9040"/>
                        <a:pt x="3196" y="9094"/>
                      </a:cubicBezTo>
                      <a:lnTo>
                        <a:pt x="3205" y="9159"/>
                      </a:lnTo>
                      <a:lnTo>
                        <a:pt x="3191" y="9166"/>
                      </a:lnTo>
                      <a:cubicBezTo>
                        <a:pt x="3260" y="9224"/>
                        <a:pt x="3295" y="9257"/>
                        <a:pt x="3295" y="9301"/>
                      </a:cubicBezTo>
                      <a:lnTo>
                        <a:pt x="3300" y="9321"/>
                      </a:lnTo>
                      <a:cubicBezTo>
                        <a:pt x="3317" y="9392"/>
                        <a:pt x="3327" y="9442"/>
                        <a:pt x="3301" y="9486"/>
                      </a:cubicBezTo>
                      <a:cubicBezTo>
                        <a:pt x="3323" y="9508"/>
                        <a:pt x="3344" y="9538"/>
                        <a:pt x="3344" y="9583"/>
                      </a:cubicBezTo>
                      <a:cubicBezTo>
                        <a:pt x="3344" y="9675"/>
                        <a:pt x="3340" y="9730"/>
                        <a:pt x="3276" y="9770"/>
                      </a:cubicBezTo>
                      <a:lnTo>
                        <a:pt x="3224" y="9802"/>
                      </a:lnTo>
                      <a:lnTo>
                        <a:pt x="3047" y="9804"/>
                      </a:lnTo>
                      <a:lnTo>
                        <a:pt x="2997" y="9761"/>
                      </a:lnTo>
                      <a:cubicBezTo>
                        <a:pt x="2961" y="9758"/>
                        <a:pt x="2895" y="9747"/>
                        <a:pt x="2853" y="9709"/>
                      </a:cubicBezTo>
                      <a:cubicBezTo>
                        <a:pt x="2774" y="9664"/>
                        <a:pt x="2751" y="9623"/>
                        <a:pt x="2753" y="9588"/>
                      </a:cubicBezTo>
                      <a:cubicBezTo>
                        <a:pt x="2748" y="9584"/>
                        <a:pt x="2742" y="9580"/>
                        <a:pt x="2736" y="9576"/>
                      </a:cubicBezTo>
                      <a:cubicBezTo>
                        <a:pt x="2700" y="9573"/>
                        <a:pt x="2647" y="9562"/>
                        <a:pt x="2601" y="9530"/>
                      </a:cubicBezTo>
                      <a:cubicBezTo>
                        <a:pt x="2592" y="9524"/>
                        <a:pt x="2585" y="9519"/>
                        <a:pt x="2579" y="9514"/>
                      </a:cubicBezTo>
                      <a:cubicBezTo>
                        <a:pt x="2542" y="9511"/>
                        <a:pt x="2514" y="9504"/>
                        <a:pt x="2490" y="9494"/>
                      </a:cubicBezTo>
                      <a:cubicBezTo>
                        <a:pt x="2417" y="9474"/>
                        <a:pt x="2375" y="9445"/>
                        <a:pt x="2361" y="9406"/>
                      </a:cubicBezTo>
                      <a:cubicBezTo>
                        <a:pt x="2356" y="9408"/>
                        <a:pt x="2352" y="9411"/>
                        <a:pt x="2346" y="9413"/>
                      </a:cubicBezTo>
                      <a:lnTo>
                        <a:pt x="2335" y="9417"/>
                      </a:lnTo>
                      <a:cubicBezTo>
                        <a:pt x="2336" y="9430"/>
                        <a:pt x="2335" y="9443"/>
                        <a:pt x="2331" y="9457"/>
                      </a:cubicBezTo>
                      <a:cubicBezTo>
                        <a:pt x="2376" y="9475"/>
                        <a:pt x="2422" y="9505"/>
                        <a:pt x="2430" y="9554"/>
                      </a:cubicBezTo>
                      <a:cubicBezTo>
                        <a:pt x="2432" y="9568"/>
                        <a:pt x="2432" y="9598"/>
                        <a:pt x="2430" y="9632"/>
                      </a:cubicBezTo>
                      <a:cubicBezTo>
                        <a:pt x="2429" y="9664"/>
                        <a:pt x="2426" y="9701"/>
                        <a:pt x="2429" y="9720"/>
                      </a:cubicBezTo>
                      <a:cubicBezTo>
                        <a:pt x="2432" y="9720"/>
                        <a:pt x="2491" y="9845"/>
                        <a:pt x="2491" y="9889"/>
                      </a:cubicBezTo>
                      <a:cubicBezTo>
                        <a:pt x="2491" y="9921"/>
                        <a:pt x="2475" y="9944"/>
                        <a:pt x="2401" y="10051"/>
                      </a:cubicBezTo>
                      <a:cubicBezTo>
                        <a:pt x="2382" y="10079"/>
                        <a:pt x="2362" y="10107"/>
                        <a:pt x="2348" y="10127"/>
                      </a:cubicBezTo>
                      <a:cubicBezTo>
                        <a:pt x="2353" y="10138"/>
                        <a:pt x="2359" y="10149"/>
                        <a:pt x="2364" y="10156"/>
                      </a:cubicBezTo>
                      <a:cubicBezTo>
                        <a:pt x="2415" y="10191"/>
                        <a:pt x="2443" y="10242"/>
                        <a:pt x="2450" y="10280"/>
                      </a:cubicBezTo>
                      <a:cubicBezTo>
                        <a:pt x="2537" y="10308"/>
                        <a:pt x="2553" y="10356"/>
                        <a:pt x="2557" y="10374"/>
                      </a:cubicBezTo>
                      <a:cubicBezTo>
                        <a:pt x="2564" y="10394"/>
                        <a:pt x="2630" y="10509"/>
                        <a:pt x="2648" y="10531"/>
                      </a:cubicBezTo>
                      <a:cubicBezTo>
                        <a:pt x="2650" y="10531"/>
                        <a:pt x="2777" y="10634"/>
                        <a:pt x="2826" y="10670"/>
                      </a:cubicBezTo>
                      <a:cubicBezTo>
                        <a:pt x="2848" y="10677"/>
                        <a:pt x="2876" y="10684"/>
                        <a:pt x="2876" y="10684"/>
                      </a:cubicBezTo>
                      <a:lnTo>
                        <a:pt x="2902" y="10691"/>
                      </a:lnTo>
                      <a:cubicBezTo>
                        <a:pt x="2932" y="10684"/>
                        <a:pt x="2962" y="10680"/>
                        <a:pt x="2987" y="10680"/>
                      </a:cubicBezTo>
                      <a:lnTo>
                        <a:pt x="3064" y="10688"/>
                      </a:lnTo>
                      <a:cubicBezTo>
                        <a:pt x="3088" y="10681"/>
                        <a:pt x="3118" y="10676"/>
                        <a:pt x="3154" y="10676"/>
                      </a:cubicBezTo>
                      <a:lnTo>
                        <a:pt x="3240" y="10686"/>
                      </a:lnTo>
                      <a:cubicBezTo>
                        <a:pt x="3305" y="10702"/>
                        <a:pt x="3399" y="10735"/>
                        <a:pt x="3448" y="10777"/>
                      </a:cubicBezTo>
                      <a:cubicBezTo>
                        <a:pt x="3468" y="10794"/>
                        <a:pt x="3488" y="10812"/>
                        <a:pt x="3574" y="11038"/>
                      </a:cubicBezTo>
                      <a:cubicBezTo>
                        <a:pt x="3580" y="11053"/>
                        <a:pt x="3629" y="11187"/>
                        <a:pt x="3581" y="11247"/>
                      </a:cubicBezTo>
                      <a:cubicBezTo>
                        <a:pt x="3575" y="11254"/>
                        <a:pt x="3560" y="11270"/>
                        <a:pt x="3543" y="11287"/>
                      </a:cubicBezTo>
                      <a:cubicBezTo>
                        <a:pt x="3528" y="11301"/>
                        <a:pt x="3510" y="11317"/>
                        <a:pt x="3502" y="11327"/>
                      </a:cubicBezTo>
                      <a:cubicBezTo>
                        <a:pt x="3497" y="11378"/>
                        <a:pt x="3467" y="11473"/>
                        <a:pt x="3367" y="11548"/>
                      </a:cubicBezTo>
                      <a:cubicBezTo>
                        <a:pt x="3261" y="11628"/>
                        <a:pt x="3185" y="11684"/>
                        <a:pt x="3064" y="11685"/>
                      </a:cubicBezTo>
                      <a:cubicBezTo>
                        <a:pt x="3063" y="11706"/>
                        <a:pt x="3056" y="11727"/>
                        <a:pt x="3035" y="11748"/>
                      </a:cubicBezTo>
                      <a:lnTo>
                        <a:pt x="2975" y="11790"/>
                      </a:lnTo>
                      <a:cubicBezTo>
                        <a:pt x="2975" y="11803"/>
                        <a:pt x="2974" y="11814"/>
                        <a:pt x="2975" y="11821"/>
                      </a:cubicBezTo>
                      <a:cubicBezTo>
                        <a:pt x="2975" y="11823"/>
                        <a:pt x="2989" y="11884"/>
                        <a:pt x="2976" y="11924"/>
                      </a:cubicBezTo>
                      <a:lnTo>
                        <a:pt x="2967" y="11946"/>
                      </a:lnTo>
                      <a:cubicBezTo>
                        <a:pt x="2979" y="11969"/>
                        <a:pt x="2990" y="12000"/>
                        <a:pt x="2981" y="12028"/>
                      </a:cubicBezTo>
                      <a:cubicBezTo>
                        <a:pt x="2980" y="12035"/>
                        <a:pt x="2976" y="12066"/>
                        <a:pt x="2976" y="12077"/>
                      </a:cubicBezTo>
                      <a:lnTo>
                        <a:pt x="2962" y="12121"/>
                      </a:lnTo>
                      <a:cubicBezTo>
                        <a:pt x="2967" y="12126"/>
                        <a:pt x="2972" y="12130"/>
                        <a:pt x="2976" y="12134"/>
                      </a:cubicBezTo>
                      <a:cubicBezTo>
                        <a:pt x="3068" y="12173"/>
                        <a:pt x="3074" y="12223"/>
                        <a:pt x="3070" y="12250"/>
                      </a:cubicBezTo>
                      <a:cubicBezTo>
                        <a:pt x="3140" y="12282"/>
                        <a:pt x="3267" y="12344"/>
                        <a:pt x="3306" y="12387"/>
                      </a:cubicBezTo>
                      <a:lnTo>
                        <a:pt x="3330" y="12412"/>
                      </a:lnTo>
                      <a:cubicBezTo>
                        <a:pt x="3478" y="12569"/>
                        <a:pt x="3500" y="12599"/>
                        <a:pt x="3495" y="12642"/>
                      </a:cubicBezTo>
                      <a:cubicBezTo>
                        <a:pt x="3494" y="12650"/>
                        <a:pt x="3492" y="12663"/>
                        <a:pt x="3492" y="12675"/>
                      </a:cubicBezTo>
                      <a:cubicBezTo>
                        <a:pt x="3518" y="12702"/>
                        <a:pt x="3537" y="12725"/>
                        <a:pt x="3542" y="12752"/>
                      </a:cubicBezTo>
                      <a:cubicBezTo>
                        <a:pt x="3543" y="12757"/>
                        <a:pt x="3544" y="12762"/>
                        <a:pt x="3544" y="12766"/>
                      </a:cubicBezTo>
                      <a:cubicBezTo>
                        <a:pt x="3602" y="12784"/>
                        <a:pt x="3673" y="12811"/>
                        <a:pt x="3706" y="12842"/>
                      </a:cubicBezTo>
                      <a:cubicBezTo>
                        <a:pt x="3760" y="12893"/>
                        <a:pt x="3761" y="13029"/>
                        <a:pt x="3761" y="13030"/>
                      </a:cubicBezTo>
                      <a:cubicBezTo>
                        <a:pt x="3761" y="13043"/>
                        <a:pt x="3757" y="13063"/>
                        <a:pt x="3749" y="13086"/>
                      </a:cubicBezTo>
                      <a:cubicBezTo>
                        <a:pt x="3747" y="13093"/>
                        <a:pt x="3743" y="13105"/>
                        <a:pt x="3741" y="13115"/>
                      </a:cubicBezTo>
                      <a:lnTo>
                        <a:pt x="3747" y="13120"/>
                      </a:lnTo>
                      <a:cubicBezTo>
                        <a:pt x="3838" y="13163"/>
                        <a:pt x="3875" y="13201"/>
                        <a:pt x="3875" y="13250"/>
                      </a:cubicBezTo>
                      <a:cubicBezTo>
                        <a:pt x="3875" y="13251"/>
                        <a:pt x="3874" y="13252"/>
                        <a:pt x="3874" y="13253"/>
                      </a:cubicBezTo>
                      <a:cubicBezTo>
                        <a:pt x="3920" y="13283"/>
                        <a:pt x="3981" y="13330"/>
                        <a:pt x="3995" y="13371"/>
                      </a:cubicBezTo>
                      <a:cubicBezTo>
                        <a:pt x="4023" y="13411"/>
                        <a:pt x="4060" y="13466"/>
                        <a:pt x="4025" y="13522"/>
                      </a:cubicBezTo>
                      <a:cubicBezTo>
                        <a:pt x="4023" y="13525"/>
                        <a:pt x="4020" y="13531"/>
                        <a:pt x="4018" y="13538"/>
                      </a:cubicBezTo>
                      <a:cubicBezTo>
                        <a:pt x="4030" y="13555"/>
                        <a:pt x="4039" y="13577"/>
                        <a:pt x="4039" y="13605"/>
                      </a:cubicBezTo>
                      <a:cubicBezTo>
                        <a:pt x="4056" y="13602"/>
                        <a:pt x="4123" y="13634"/>
                        <a:pt x="4144" y="13642"/>
                      </a:cubicBezTo>
                      <a:cubicBezTo>
                        <a:pt x="4174" y="13644"/>
                        <a:pt x="4278" y="13657"/>
                        <a:pt x="4320" y="13725"/>
                      </a:cubicBezTo>
                      <a:lnTo>
                        <a:pt x="4349" y="13768"/>
                      </a:lnTo>
                      <a:cubicBezTo>
                        <a:pt x="4354" y="13776"/>
                        <a:pt x="4360" y="13785"/>
                        <a:pt x="4364" y="13791"/>
                      </a:cubicBezTo>
                      <a:cubicBezTo>
                        <a:pt x="4389" y="13811"/>
                        <a:pt x="4427" y="13849"/>
                        <a:pt x="4415" y="13901"/>
                      </a:cubicBezTo>
                      <a:cubicBezTo>
                        <a:pt x="4415" y="13901"/>
                        <a:pt x="4417" y="13908"/>
                        <a:pt x="4419" y="13914"/>
                      </a:cubicBezTo>
                      <a:cubicBezTo>
                        <a:pt x="4433" y="13924"/>
                        <a:pt x="4447" y="13934"/>
                        <a:pt x="4467" y="13954"/>
                      </a:cubicBezTo>
                      <a:cubicBezTo>
                        <a:pt x="4479" y="13965"/>
                        <a:pt x="4503" y="13996"/>
                        <a:pt x="4530" y="14033"/>
                      </a:cubicBezTo>
                      <a:cubicBezTo>
                        <a:pt x="4543" y="14050"/>
                        <a:pt x="4557" y="14070"/>
                        <a:pt x="4569" y="14086"/>
                      </a:cubicBezTo>
                      <a:cubicBezTo>
                        <a:pt x="4625" y="14092"/>
                        <a:pt x="4661" y="14110"/>
                        <a:pt x="4683" y="14127"/>
                      </a:cubicBezTo>
                      <a:cubicBezTo>
                        <a:pt x="4764" y="14134"/>
                        <a:pt x="4845" y="14156"/>
                        <a:pt x="4879" y="14208"/>
                      </a:cubicBezTo>
                      <a:cubicBezTo>
                        <a:pt x="4911" y="14251"/>
                        <a:pt x="4941" y="14296"/>
                        <a:pt x="4941" y="14338"/>
                      </a:cubicBezTo>
                      <a:cubicBezTo>
                        <a:pt x="4941" y="14339"/>
                        <a:pt x="4937" y="14461"/>
                        <a:pt x="4892" y="14529"/>
                      </a:cubicBezTo>
                      <a:cubicBezTo>
                        <a:pt x="4873" y="14557"/>
                        <a:pt x="4840" y="14587"/>
                        <a:pt x="4787" y="14633"/>
                      </a:cubicBezTo>
                      <a:cubicBezTo>
                        <a:pt x="4785" y="14635"/>
                        <a:pt x="4783" y="14636"/>
                        <a:pt x="4781" y="14638"/>
                      </a:cubicBezTo>
                      <a:cubicBezTo>
                        <a:pt x="4792" y="14650"/>
                        <a:pt x="4800" y="14660"/>
                        <a:pt x="4804" y="14667"/>
                      </a:cubicBezTo>
                      <a:lnTo>
                        <a:pt x="4811" y="14679"/>
                      </a:lnTo>
                      <a:cubicBezTo>
                        <a:pt x="4816" y="14682"/>
                        <a:pt x="4821" y="14684"/>
                        <a:pt x="4827" y="14687"/>
                      </a:cubicBezTo>
                      <a:lnTo>
                        <a:pt x="4885" y="14715"/>
                      </a:lnTo>
                      <a:cubicBezTo>
                        <a:pt x="4893" y="14718"/>
                        <a:pt x="4900" y="14722"/>
                        <a:pt x="4907" y="14726"/>
                      </a:cubicBezTo>
                      <a:cubicBezTo>
                        <a:pt x="4913" y="14725"/>
                        <a:pt x="4918" y="14725"/>
                        <a:pt x="4924" y="14725"/>
                      </a:cubicBezTo>
                      <a:lnTo>
                        <a:pt x="5040" y="14740"/>
                      </a:lnTo>
                      <a:lnTo>
                        <a:pt x="5108" y="14766"/>
                      </a:lnTo>
                      <a:cubicBezTo>
                        <a:pt x="5122" y="14774"/>
                        <a:pt x="5132" y="14782"/>
                        <a:pt x="5147" y="14794"/>
                      </a:cubicBezTo>
                      <a:cubicBezTo>
                        <a:pt x="5155" y="14800"/>
                        <a:pt x="5165" y="14809"/>
                        <a:pt x="5175" y="14817"/>
                      </a:cubicBezTo>
                      <a:cubicBezTo>
                        <a:pt x="5301" y="14839"/>
                        <a:pt x="5321" y="14904"/>
                        <a:pt x="5324" y="14925"/>
                      </a:cubicBezTo>
                      <a:cubicBezTo>
                        <a:pt x="5324" y="14926"/>
                        <a:pt x="5338" y="15055"/>
                        <a:pt x="5321" y="15104"/>
                      </a:cubicBezTo>
                      <a:cubicBezTo>
                        <a:pt x="5319" y="15111"/>
                        <a:pt x="5263" y="15272"/>
                        <a:pt x="5205" y="15325"/>
                      </a:cubicBezTo>
                      <a:cubicBezTo>
                        <a:pt x="5174" y="15353"/>
                        <a:pt x="5151" y="15376"/>
                        <a:pt x="5134" y="15393"/>
                      </a:cubicBezTo>
                      <a:cubicBezTo>
                        <a:pt x="5142" y="15403"/>
                        <a:pt x="5147" y="15416"/>
                        <a:pt x="5150" y="15429"/>
                      </a:cubicBezTo>
                      <a:lnTo>
                        <a:pt x="5153" y="15441"/>
                      </a:lnTo>
                      <a:cubicBezTo>
                        <a:pt x="5213" y="15489"/>
                        <a:pt x="5283" y="15561"/>
                        <a:pt x="5190" y="15629"/>
                      </a:cubicBezTo>
                      <a:cubicBezTo>
                        <a:pt x="5179" y="15641"/>
                        <a:pt x="5127" y="15699"/>
                        <a:pt x="5099" y="15736"/>
                      </a:cubicBezTo>
                      <a:cubicBezTo>
                        <a:pt x="5140" y="15788"/>
                        <a:pt x="5175" y="15848"/>
                        <a:pt x="5107" y="15905"/>
                      </a:cubicBezTo>
                      <a:cubicBezTo>
                        <a:pt x="5100" y="15913"/>
                        <a:pt x="5075" y="15942"/>
                        <a:pt x="5050" y="15971"/>
                      </a:cubicBezTo>
                      <a:cubicBezTo>
                        <a:pt x="5023" y="16003"/>
                        <a:pt x="4994" y="16035"/>
                        <a:pt x="4977" y="16053"/>
                      </a:cubicBezTo>
                      <a:cubicBezTo>
                        <a:pt x="5000" y="16059"/>
                        <a:pt x="5021" y="16068"/>
                        <a:pt x="5039" y="16081"/>
                      </a:cubicBezTo>
                      <a:lnTo>
                        <a:pt x="5064" y="16094"/>
                      </a:lnTo>
                      <a:cubicBezTo>
                        <a:pt x="5174" y="16150"/>
                        <a:pt x="5232" y="16182"/>
                        <a:pt x="5248" y="16231"/>
                      </a:cubicBezTo>
                      <a:lnTo>
                        <a:pt x="5257" y="16254"/>
                      </a:lnTo>
                      <a:cubicBezTo>
                        <a:pt x="5265" y="16272"/>
                        <a:pt x="5271" y="16288"/>
                        <a:pt x="5276" y="16303"/>
                      </a:cubicBezTo>
                      <a:cubicBezTo>
                        <a:pt x="5359" y="16299"/>
                        <a:pt x="5427" y="16304"/>
                        <a:pt x="5481" y="16324"/>
                      </a:cubicBezTo>
                      <a:lnTo>
                        <a:pt x="5536" y="16330"/>
                      </a:lnTo>
                      <a:cubicBezTo>
                        <a:pt x="5591" y="16330"/>
                        <a:pt x="5691" y="16333"/>
                        <a:pt x="5744" y="16347"/>
                      </a:cubicBezTo>
                      <a:cubicBezTo>
                        <a:pt x="5744" y="16347"/>
                        <a:pt x="5772" y="16354"/>
                        <a:pt x="5810" y="16356"/>
                      </a:cubicBezTo>
                      <a:lnTo>
                        <a:pt x="5857" y="16357"/>
                      </a:lnTo>
                      <a:cubicBezTo>
                        <a:pt x="5915" y="16358"/>
                        <a:pt x="5974" y="16360"/>
                        <a:pt x="6031" y="16376"/>
                      </a:cubicBezTo>
                      <a:cubicBezTo>
                        <a:pt x="6095" y="16391"/>
                        <a:pt x="6152" y="16404"/>
                        <a:pt x="6195" y="16426"/>
                      </a:cubicBezTo>
                      <a:cubicBezTo>
                        <a:pt x="6280" y="16426"/>
                        <a:pt x="6346" y="16435"/>
                        <a:pt x="6393" y="16452"/>
                      </a:cubicBezTo>
                      <a:cubicBezTo>
                        <a:pt x="6442" y="16462"/>
                        <a:pt x="6499" y="16473"/>
                        <a:pt x="6537" y="16509"/>
                      </a:cubicBezTo>
                      <a:cubicBezTo>
                        <a:pt x="6537" y="16509"/>
                        <a:pt x="6538" y="16509"/>
                        <a:pt x="6538" y="16509"/>
                      </a:cubicBezTo>
                      <a:cubicBezTo>
                        <a:pt x="6551" y="16509"/>
                        <a:pt x="6669" y="16538"/>
                        <a:pt x="6720" y="16581"/>
                      </a:cubicBezTo>
                      <a:lnTo>
                        <a:pt x="6731" y="16591"/>
                      </a:lnTo>
                      <a:cubicBezTo>
                        <a:pt x="6748" y="16589"/>
                        <a:pt x="6767" y="16588"/>
                        <a:pt x="6785" y="16588"/>
                      </a:cubicBezTo>
                      <a:lnTo>
                        <a:pt x="6858" y="16588"/>
                      </a:lnTo>
                      <a:lnTo>
                        <a:pt x="6889" y="16604"/>
                      </a:lnTo>
                      <a:cubicBezTo>
                        <a:pt x="6933" y="16606"/>
                        <a:pt x="6996" y="16614"/>
                        <a:pt x="7047" y="16641"/>
                      </a:cubicBezTo>
                      <a:cubicBezTo>
                        <a:pt x="7053" y="16643"/>
                        <a:pt x="7069" y="16649"/>
                        <a:pt x="7084" y="16654"/>
                      </a:cubicBezTo>
                      <a:cubicBezTo>
                        <a:pt x="7114" y="16646"/>
                        <a:pt x="7144" y="16640"/>
                        <a:pt x="7179" y="16640"/>
                      </a:cubicBezTo>
                      <a:cubicBezTo>
                        <a:pt x="7334" y="16647"/>
                        <a:pt x="7409" y="16653"/>
                        <a:pt x="7462" y="16675"/>
                      </a:cubicBezTo>
                      <a:cubicBezTo>
                        <a:pt x="7517" y="16679"/>
                        <a:pt x="7593" y="16691"/>
                        <a:pt x="7645" y="16730"/>
                      </a:cubicBezTo>
                      <a:cubicBezTo>
                        <a:pt x="7679" y="16758"/>
                        <a:pt x="7698" y="16774"/>
                        <a:pt x="7713" y="16783"/>
                      </a:cubicBezTo>
                      <a:cubicBezTo>
                        <a:pt x="7755" y="16790"/>
                        <a:pt x="7823" y="16807"/>
                        <a:pt x="7866" y="16849"/>
                      </a:cubicBezTo>
                      <a:cubicBezTo>
                        <a:pt x="7872" y="16854"/>
                        <a:pt x="7887" y="16865"/>
                        <a:pt x="7903" y="16876"/>
                      </a:cubicBezTo>
                      <a:cubicBezTo>
                        <a:pt x="7950" y="16909"/>
                        <a:pt x="7979" y="16930"/>
                        <a:pt x="7997" y="16952"/>
                      </a:cubicBezTo>
                      <a:cubicBezTo>
                        <a:pt x="8024" y="16958"/>
                        <a:pt x="8053" y="16969"/>
                        <a:pt x="8079" y="16987"/>
                      </a:cubicBezTo>
                      <a:cubicBezTo>
                        <a:pt x="8112" y="17011"/>
                        <a:pt x="8129" y="17038"/>
                        <a:pt x="8141" y="17056"/>
                      </a:cubicBezTo>
                      <a:cubicBezTo>
                        <a:pt x="8145" y="17061"/>
                        <a:pt x="8161" y="17074"/>
                        <a:pt x="8169" y="17079"/>
                      </a:cubicBezTo>
                      <a:cubicBezTo>
                        <a:pt x="8169" y="17078"/>
                        <a:pt x="8169" y="17078"/>
                        <a:pt x="8169" y="17078"/>
                      </a:cubicBezTo>
                      <a:cubicBezTo>
                        <a:pt x="8176" y="17078"/>
                        <a:pt x="8251" y="17109"/>
                        <a:pt x="8251" y="17109"/>
                      </a:cubicBezTo>
                      <a:lnTo>
                        <a:pt x="8355" y="17151"/>
                      </a:lnTo>
                      <a:lnTo>
                        <a:pt x="8323" y="17226"/>
                      </a:lnTo>
                      <a:cubicBezTo>
                        <a:pt x="8328" y="17243"/>
                        <a:pt x="8328" y="17260"/>
                        <a:pt x="8328" y="17279"/>
                      </a:cubicBezTo>
                      <a:cubicBezTo>
                        <a:pt x="8328" y="17287"/>
                        <a:pt x="8327" y="17296"/>
                        <a:pt x="8327" y="17304"/>
                      </a:cubicBezTo>
                      <a:cubicBezTo>
                        <a:pt x="8352" y="17330"/>
                        <a:pt x="8359" y="17357"/>
                        <a:pt x="8362" y="17376"/>
                      </a:cubicBezTo>
                      <a:cubicBezTo>
                        <a:pt x="8375" y="17381"/>
                        <a:pt x="8388" y="17386"/>
                        <a:pt x="8395" y="17390"/>
                      </a:cubicBezTo>
                      <a:cubicBezTo>
                        <a:pt x="8420" y="17401"/>
                        <a:pt x="8437" y="17415"/>
                        <a:pt x="8478" y="17450"/>
                      </a:cubicBezTo>
                      <a:cubicBezTo>
                        <a:pt x="8492" y="17462"/>
                        <a:pt x="8508" y="17475"/>
                        <a:pt x="8523" y="17486"/>
                      </a:cubicBezTo>
                      <a:cubicBezTo>
                        <a:pt x="8545" y="17488"/>
                        <a:pt x="8563" y="17489"/>
                        <a:pt x="8563" y="17489"/>
                      </a:cubicBezTo>
                      <a:lnTo>
                        <a:pt x="8612" y="17493"/>
                      </a:lnTo>
                      <a:lnTo>
                        <a:pt x="8650" y="17511"/>
                      </a:lnTo>
                      <a:cubicBezTo>
                        <a:pt x="8650" y="17511"/>
                        <a:pt x="8821" y="17595"/>
                        <a:pt x="8844" y="17606"/>
                      </a:cubicBezTo>
                      <a:cubicBezTo>
                        <a:pt x="8870" y="17619"/>
                        <a:pt x="8975" y="17665"/>
                        <a:pt x="9005" y="17673"/>
                      </a:cubicBezTo>
                      <a:cubicBezTo>
                        <a:pt x="9082" y="17681"/>
                        <a:pt x="9148" y="17688"/>
                        <a:pt x="9205" y="17714"/>
                      </a:cubicBezTo>
                      <a:cubicBezTo>
                        <a:pt x="9221" y="17722"/>
                        <a:pt x="9237" y="17731"/>
                        <a:pt x="9251" y="17741"/>
                      </a:cubicBezTo>
                      <a:lnTo>
                        <a:pt x="9412" y="17731"/>
                      </a:lnTo>
                      <a:cubicBezTo>
                        <a:pt x="9439" y="17731"/>
                        <a:pt x="9465" y="17734"/>
                        <a:pt x="9489" y="17739"/>
                      </a:cubicBezTo>
                      <a:cubicBezTo>
                        <a:pt x="9507" y="17741"/>
                        <a:pt x="9534" y="17743"/>
                        <a:pt x="9562" y="17745"/>
                      </a:cubicBezTo>
                      <a:cubicBezTo>
                        <a:pt x="9632" y="17750"/>
                        <a:pt x="9672" y="17753"/>
                        <a:pt x="9702" y="17758"/>
                      </a:cubicBezTo>
                      <a:lnTo>
                        <a:pt x="9771" y="17757"/>
                      </a:lnTo>
                      <a:cubicBezTo>
                        <a:pt x="9855" y="17757"/>
                        <a:pt x="9961" y="17763"/>
                        <a:pt x="10038" y="17805"/>
                      </a:cubicBezTo>
                      <a:cubicBezTo>
                        <a:pt x="10173" y="17880"/>
                        <a:pt x="10274" y="17990"/>
                        <a:pt x="10329" y="18124"/>
                      </a:cubicBezTo>
                      <a:cubicBezTo>
                        <a:pt x="10396" y="18285"/>
                        <a:pt x="10409" y="18325"/>
                        <a:pt x="10388" y="18384"/>
                      </a:cubicBezTo>
                      <a:cubicBezTo>
                        <a:pt x="10379" y="18411"/>
                        <a:pt x="10357" y="18446"/>
                        <a:pt x="10321" y="18477"/>
                      </a:cubicBezTo>
                      <a:cubicBezTo>
                        <a:pt x="10322" y="18477"/>
                        <a:pt x="10323" y="18477"/>
                        <a:pt x="10323" y="18478"/>
                      </a:cubicBezTo>
                      <a:cubicBezTo>
                        <a:pt x="10349" y="18489"/>
                        <a:pt x="10366" y="18502"/>
                        <a:pt x="10381" y="18512"/>
                      </a:cubicBezTo>
                      <a:cubicBezTo>
                        <a:pt x="10394" y="18519"/>
                        <a:pt x="10465" y="18540"/>
                        <a:pt x="10517" y="18554"/>
                      </a:cubicBezTo>
                      <a:cubicBezTo>
                        <a:pt x="10522" y="18552"/>
                        <a:pt x="10528" y="18551"/>
                        <a:pt x="10533" y="18550"/>
                      </a:cubicBezTo>
                      <a:cubicBezTo>
                        <a:pt x="10543" y="18533"/>
                        <a:pt x="10556" y="18519"/>
                        <a:pt x="10577" y="18505"/>
                      </a:cubicBezTo>
                      <a:lnTo>
                        <a:pt x="10629" y="18471"/>
                      </a:lnTo>
                      <a:lnTo>
                        <a:pt x="10713" y="18470"/>
                      </a:lnTo>
                      <a:cubicBezTo>
                        <a:pt x="10715" y="18470"/>
                        <a:pt x="10933" y="18480"/>
                        <a:pt x="11009" y="18545"/>
                      </a:cubicBezTo>
                      <a:cubicBezTo>
                        <a:pt x="11024" y="18558"/>
                        <a:pt x="11182" y="18686"/>
                        <a:pt x="11182" y="18686"/>
                      </a:cubicBezTo>
                      <a:cubicBezTo>
                        <a:pt x="11191" y="18695"/>
                        <a:pt x="11308" y="18811"/>
                        <a:pt x="11345" y="18838"/>
                      </a:cubicBezTo>
                      <a:cubicBezTo>
                        <a:pt x="11385" y="18857"/>
                        <a:pt x="11420" y="18874"/>
                        <a:pt x="11446" y="18896"/>
                      </a:cubicBezTo>
                      <a:cubicBezTo>
                        <a:pt x="11478" y="18904"/>
                        <a:pt x="11509" y="18915"/>
                        <a:pt x="11535" y="18928"/>
                      </a:cubicBezTo>
                      <a:cubicBezTo>
                        <a:pt x="11568" y="18944"/>
                        <a:pt x="11650" y="18988"/>
                        <a:pt x="11650" y="18988"/>
                      </a:cubicBezTo>
                      <a:lnTo>
                        <a:pt x="11694" y="19011"/>
                      </a:lnTo>
                      <a:lnTo>
                        <a:pt x="11706" y="19045"/>
                      </a:lnTo>
                      <a:cubicBezTo>
                        <a:pt x="11743" y="19059"/>
                        <a:pt x="11784" y="19079"/>
                        <a:pt x="11809" y="19114"/>
                      </a:cubicBezTo>
                      <a:lnTo>
                        <a:pt x="11809" y="19113"/>
                      </a:lnTo>
                      <a:cubicBezTo>
                        <a:pt x="11811" y="19113"/>
                        <a:pt x="11824" y="19125"/>
                        <a:pt x="11838" y="19137"/>
                      </a:cubicBezTo>
                      <a:cubicBezTo>
                        <a:pt x="11892" y="19183"/>
                        <a:pt x="11922" y="19209"/>
                        <a:pt x="11932" y="19239"/>
                      </a:cubicBezTo>
                      <a:cubicBezTo>
                        <a:pt x="11956" y="19244"/>
                        <a:pt x="11978" y="19250"/>
                        <a:pt x="11998" y="19261"/>
                      </a:cubicBezTo>
                      <a:cubicBezTo>
                        <a:pt x="12027" y="19276"/>
                        <a:pt x="12038" y="19287"/>
                        <a:pt x="12126" y="19375"/>
                      </a:cubicBezTo>
                      <a:cubicBezTo>
                        <a:pt x="12155" y="19404"/>
                        <a:pt x="12185" y="19434"/>
                        <a:pt x="12204" y="19452"/>
                      </a:cubicBezTo>
                      <a:cubicBezTo>
                        <a:pt x="12246" y="19466"/>
                        <a:pt x="12298" y="19485"/>
                        <a:pt x="12330" y="19523"/>
                      </a:cubicBezTo>
                      <a:lnTo>
                        <a:pt x="12349" y="19542"/>
                      </a:lnTo>
                      <a:cubicBezTo>
                        <a:pt x="12419" y="19611"/>
                        <a:pt x="12604" y="19792"/>
                        <a:pt x="12712" y="19983"/>
                      </a:cubicBezTo>
                      <a:cubicBezTo>
                        <a:pt x="12819" y="20171"/>
                        <a:pt x="12873" y="20326"/>
                        <a:pt x="12873" y="20445"/>
                      </a:cubicBezTo>
                      <a:close/>
                      <a:moveTo>
                        <a:pt x="12873" y="20445"/>
                      </a:moveTo>
                    </a:path>
                  </a:pathLst>
                </a:custGeom>
                <a:solidFill>
                  <a:schemeClr val="accent6">
                    <a:lumMod val="40000"/>
                    <a:lumOff val="6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513F3A"/>
                    </a:solidFill>
                    <a:effectLst/>
                    <a:uLnTx/>
                    <a:uFillTx/>
                    <a:latin typeface="Arial"/>
                    <a:ea typeface="Arial"/>
                    <a:cs typeface="Arial"/>
                    <a:sym typeface="Arial"/>
                  </a:endParaRPr>
                </a:p>
              </p:txBody>
            </p:sp>
            <p:sp>
              <p:nvSpPr>
                <p:cNvPr id="62" name="Google Shape;418;p54">
                  <a:extLst>
                    <a:ext uri="{FF2B5EF4-FFF2-40B4-BE49-F238E27FC236}">
                      <a16:creationId xmlns:a16="http://schemas.microsoft.com/office/drawing/2014/main" id="{FFC35D90-A127-4F82-AEE1-D54D48DC21C0}"/>
                    </a:ext>
                  </a:extLst>
                </p:cNvPr>
                <p:cNvSpPr/>
                <p:nvPr/>
              </p:nvSpPr>
              <p:spPr>
                <a:xfrm>
                  <a:off x="1331074" y="2051522"/>
                  <a:ext cx="999108" cy="811296"/>
                </a:xfrm>
                <a:custGeom>
                  <a:avLst/>
                  <a:gdLst/>
                  <a:ahLst/>
                  <a:cxnLst/>
                  <a:rect l="l" t="t" r="r" b="b"/>
                  <a:pathLst>
                    <a:path w="21600" h="21600" extrusionOk="0">
                      <a:moveTo>
                        <a:pt x="230" y="14680"/>
                      </a:moveTo>
                      <a:cubicBezTo>
                        <a:pt x="196" y="14737"/>
                        <a:pt x="152" y="14808"/>
                        <a:pt x="137" y="14849"/>
                      </a:cubicBezTo>
                      <a:cubicBezTo>
                        <a:pt x="113" y="15068"/>
                        <a:pt x="98" y="15128"/>
                        <a:pt x="75" y="15178"/>
                      </a:cubicBezTo>
                      <a:cubicBezTo>
                        <a:pt x="71" y="15197"/>
                        <a:pt x="38" y="15355"/>
                        <a:pt x="34" y="15395"/>
                      </a:cubicBezTo>
                      <a:cubicBezTo>
                        <a:pt x="47" y="15505"/>
                        <a:pt x="59" y="15616"/>
                        <a:pt x="15" y="15711"/>
                      </a:cubicBezTo>
                      <a:cubicBezTo>
                        <a:pt x="9" y="15723"/>
                        <a:pt x="2" y="15748"/>
                        <a:pt x="0" y="15758"/>
                      </a:cubicBezTo>
                      <a:cubicBezTo>
                        <a:pt x="4" y="15762"/>
                        <a:pt x="21" y="15888"/>
                        <a:pt x="24" y="15909"/>
                      </a:cubicBezTo>
                      <a:lnTo>
                        <a:pt x="62" y="16131"/>
                      </a:lnTo>
                      <a:lnTo>
                        <a:pt x="23" y="16209"/>
                      </a:lnTo>
                      <a:cubicBezTo>
                        <a:pt x="24" y="16248"/>
                        <a:pt x="25" y="16292"/>
                        <a:pt x="25" y="16292"/>
                      </a:cubicBezTo>
                      <a:lnTo>
                        <a:pt x="25" y="16395"/>
                      </a:lnTo>
                      <a:cubicBezTo>
                        <a:pt x="39" y="16434"/>
                        <a:pt x="53" y="16476"/>
                        <a:pt x="65" y="16505"/>
                      </a:cubicBezTo>
                      <a:cubicBezTo>
                        <a:pt x="80" y="16518"/>
                        <a:pt x="99" y="16537"/>
                        <a:pt x="119" y="16564"/>
                      </a:cubicBezTo>
                      <a:cubicBezTo>
                        <a:pt x="152" y="16611"/>
                        <a:pt x="169" y="16655"/>
                        <a:pt x="177" y="16677"/>
                      </a:cubicBezTo>
                      <a:cubicBezTo>
                        <a:pt x="180" y="16683"/>
                        <a:pt x="185" y="16695"/>
                        <a:pt x="191" y="16709"/>
                      </a:cubicBezTo>
                      <a:lnTo>
                        <a:pt x="204" y="16737"/>
                      </a:lnTo>
                      <a:cubicBezTo>
                        <a:pt x="990" y="16993"/>
                        <a:pt x="1780" y="17243"/>
                        <a:pt x="2572" y="17489"/>
                      </a:cubicBezTo>
                      <a:cubicBezTo>
                        <a:pt x="2827" y="17569"/>
                        <a:pt x="3083" y="17645"/>
                        <a:pt x="3338" y="17723"/>
                      </a:cubicBezTo>
                      <a:cubicBezTo>
                        <a:pt x="3889" y="17892"/>
                        <a:pt x="4441" y="18060"/>
                        <a:pt x="4994" y="18224"/>
                      </a:cubicBezTo>
                      <a:cubicBezTo>
                        <a:pt x="5336" y="18325"/>
                        <a:pt x="5680" y="18425"/>
                        <a:pt x="6023" y="18525"/>
                      </a:cubicBezTo>
                      <a:cubicBezTo>
                        <a:pt x="6483" y="18658"/>
                        <a:pt x="6943" y="18791"/>
                        <a:pt x="7403" y="18921"/>
                      </a:cubicBezTo>
                      <a:cubicBezTo>
                        <a:pt x="7792" y="19031"/>
                        <a:pt x="8180" y="19140"/>
                        <a:pt x="8569" y="19248"/>
                      </a:cubicBezTo>
                      <a:cubicBezTo>
                        <a:pt x="8986" y="19363"/>
                        <a:pt x="9402" y="19475"/>
                        <a:pt x="9818" y="19587"/>
                      </a:cubicBezTo>
                      <a:cubicBezTo>
                        <a:pt x="10196" y="19689"/>
                        <a:pt x="10574" y="19791"/>
                        <a:pt x="10953" y="19890"/>
                      </a:cubicBezTo>
                      <a:cubicBezTo>
                        <a:pt x="11995" y="20164"/>
                        <a:pt x="13042" y="20430"/>
                        <a:pt x="14094" y="20687"/>
                      </a:cubicBezTo>
                      <a:cubicBezTo>
                        <a:pt x="14318" y="20742"/>
                        <a:pt x="14543" y="20796"/>
                        <a:pt x="14767" y="20850"/>
                      </a:cubicBezTo>
                      <a:cubicBezTo>
                        <a:pt x="15836" y="21108"/>
                        <a:pt x="16910" y="21359"/>
                        <a:pt x="17986" y="21600"/>
                      </a:cubicBezTo>
                      <a:lnTo>
                        <a:pt x="19108" y="14083"/>
                      </a:lnTo>
                      <a:cubicBezTo>
                        <a:pt x="19123" y="14021"/>
                        <a:pt x="19175" y="13843"/>
                        <a:pt x="19303" y="13765"/>
                      </a:cubicBezTo>
                      <a:cubicBezTo>
                        <a:pt x="19313" y="13733"/>
                        <a:pt x="19332" y="13692"/>
                        <a:pt x="19363" y="13654"/>
                      </a:cubicBezTo>
                      <a:cubicBezTo>
                        <a:pt x="19364" y="13658"/>
                        <a:pt x="19366" y="13662"/>
                        <a:pt x="19367" y="13667"/>
                      </a:cubicBezTo>
                      <a:cubicBezTo>
                        <a:pt x="19337" y="13484"/>
                        <a:pt x="19397" y="13396"/>
                        <a:pt x="19447" y="13355"/>
                      </a:cubicBezTo>
                      <a:lnTo>
                        <a:pt x="19335" y="13281"/>
                      </a:lnTo>
                      <a:lnTo>
                        <a:pt x="19396" y="13099"/>
                      </a:lnTo>
                      <a:cubicBezTo>
                        <a:pt x="19396" y="12947"/>
                        <a:pt x="19440" y="12854"/>
                        <a:pt x="19525" y="12811"/>
                      </a:cubicBezTo>
                      <a:cubicBezTo>
                        <a:pt x="19551" y="12797"/>
                        <a:pt x="19575" y="12792"/>
                        <a:pt x="19597" y="12788"/>
                      </a:cubicBezTo>
                      <a:cubicBezTo>
                        <a:pt x="19526" y="12740"/>
                        <a:pt x="19496" y="12669"/>
                        <a:pt x="19485" y="12607"/>
                      </a:cubicBezTo>
                      <a:lnTo>
                        <a:pt x="19339" y="12607"/>
                      </a:lnTo>
                      <a:lnTo>
                        <a:pt x="19313" y="12433"/>
                      </a:lnTo>
                      <a:cubicBezTo>
                        <a:pt x="19237" y="12458"/>
                        <a:pt x="19145" y="12429"/>
                        <a:pt x="19089" y="12366"/>
                      </a:cubicBezTo>
                      <a:cubicBezTo>
                        <a:pt x="19089" y="12365"/>
                        <a:pt x="18957" y="12209"/>
                        <a:pt x="18938" y="12037"/>
                      </a:cubicBezTo>
                      <a:cubicBezTo>
                        <a:pt x="18936" y="12009"/>
                        <a:pt x="18936" y="11980"/>
                        <a:pt x="18940" y="11951"/>
                      </a:cubicBezTo>
                      <a:cubicBezTo>
                        <a:pt x="18944" y="11922"/>
                        <a:pt x="18953" y="11893"/>
                        <a:pt x="18967" y="11865"/>
                      </a:cubicBezTo>
                      <a:cubicBezTo>
                        <a:pt x="18976" y="11846"/>
                        <a:pt x="18987" y="11830"/>
                        <a:pt x="18998" y="11816"/>
                      </a:cubicBezTo>
                      <a:cubicBezTo>
                        <a:pt x="18960" y="11755"/>
                        <a:pt x="18928" y="11682"/>
                        <a:pt x="18931" y="11598"/>
                      </a:cubicBezTo>
                      <a:cubicBezTo>
                        <a:pt x="18932" y="11570"/>
                        <a:pt x="18937" y="11541"/>
                        <a:pt x="18947" y="11510"/>
                      </a:cubicBezTo>
                      <a:cubicBezTo>
                        <a:pt x="18971" y="11440"/>
                        <a:pt x="19011" y="11395"/>
                        <a:pt x="19046" y="11367"/>
                      </a:cubicBezTo>
                      <a:cubicBezTo>
                        <a:pt x="19036" y="11263"/>
                        <a:pt x="19033" y="11124"/>
                        <a:pt x="19130" y="11038"/>
                      </a:cubicBezTo>
                      <a:cubicBezTo>
                        <a:pt x="19141" y="11028"/>
                        <a:pt x="19153" y="11020"/>
                        <a:pt x="19164" y="11013"/>
                      </a:cubicBezTo>
                      <a:cubicBezTo>
                        <a:pt x="19191" y="10946"/>
                        <a:pt x="19234" y="10899"/>
                        <a:pt x="19292" y="10871"/>
                      </a:cubicBezTo>
                      <a:cubicBezTo>
                        <a:pt x="19294" y="10870"/>
                        <a:pt x="19296" y="10869"/>
                        <a:pt x="19297" y="10868"/>
                      </a:cubicBezTo>
                      <a:cubicBezTo>
                        <a:pt x="19310" y="10822"/>
                        <a:pt x="19329" y="10776"/>
                        <a:pt x="19359" y="10737"/>
                      </a:cubicBezTo>
                      <a:lnTo>
                        <a:pt x="19381" y="10709"/>
                      </a:lnTo>
                      <a:cubicBezTo>
                        <a:pt x="19387" y="10678"/>
                        <a:pt x="19396" y="10647"/>
                        <a:pt x="19411" y="10615"/>
                      </a:cubicBezTo>
                      <a:cubicBezTo>
                        <a:pt x="19421" y="10593"/>
                        <a:pt x="19436" y="10568"/>
                        <a:pt x="19452" y="10540"/>
                      </a:cubicBezTo>
                      <a:cubicBezTo>
                        <a:pt x="19465" y="10517"/>
                        <a:pt x="19480" y="10492"/>
                        <a:pt x="19494" y="10462"/>
                      </a:cubicBezTo>
                      <a:cubicBezTo>
                        <a:pt x="19518" y="10392"/>
                        <a:pt x="19535" y="10336"/>
                        <a:pt x="19581" y="10272"/>
                      </a:cubicBezTo>
                      <a:cubicBezTo>
                        <a:pt x="19590" y="10258"/>
                        <a:pt x="19600" y="10247"/>
                        <a:pt x="19608" y="10236"/>
                      </a:cubicBezTo>
                      <a:cubicBezTo>
                        <a:pt x="19629" y="10113"/>
                        <a:pt x="19688" y="10047"/>
                        <a:pt x="19740" y="10011"/>
                      </a:cubicBezTo>
                      <a:cubicBezTo>
                        <a:pt x="19794" y="9974"/>
                        <a:pt x="19853" y="9961"/>
                        <a:pt x="19900" y="9955"/>
                      </a:cubicBezTo>
                      <a:cubicBezTo>
                        <a:pt x="19930" y="9925"/>
                        <a:pt x="19966" y="9906"/>
                        <a:pt x="20001" y="9900"/>
                      </a:cubicBezTo>
                      <a:cubicBezTo>
                        <a:pt x="20013" y="9874"/>
                        <a:pt x="20028" y="9850"/>
                        <a:pt x="20046" y="9829"/>
                      </a:cubicBezTo>
                      <a:cubicBezTo>
                        <a:pt x="20087" y="9748"/>
                        <a:pt x="20130" y="9668"/>
                        <a:pt x="20196" y="9620"/>
                      </a:cubicBezTo>
                      <a:lnTo>
                        <a:pt x="20237" y="9590"/>
                      </a:lnTo>
                      <a:cubicBezTo>
                        <a:pt x="20254" y="9553"/>
                        <a:pt x="20266" y="9524"/>
                        <a:pt x="20272" y="9502"/>
                      </a:cubicBezTo>
                      <a:cubicBezTo>
                        <a:pt x="20257" y="9470"/>
                        <a:pt x="20234" y="9389"/>
                        <a:pt x="20259" y="9293"/>
                      </a:cubicBezTo>
                      <a:cubicBezTo>
                        <a:pt x="20269" y="9252"/>
                        <a:pt x="20286" y="9217"/>
                        <a:pt x="20300" y="9191"/>
                      </a:cubicBezTo>
                      <a:cubicBezTo>
                        <a:pt x="20305" y="9113"/>
                        <a:pt x="20318" y="9030"/>
                        <a:pt x="20373" y="8967"/>
                      </a:cubicBezTo>
                      <a:lnTo>
                        <a:pt x="20429" y="8917"/>
                      </a:lnTo>
                      <a:cubicBezTo>
                        <a:pt x="20445" y="8905"/>
                        <a:pt x="20488" y="8871"/>
                        <a:pt x="20500" y="8855"/>
                      </a:cubicBezTo>
                      <a:cubicBezTo>
                        <a:pt x="20519" y="8790"/>
                        <a:pt x="20542" y="8720"/>
                        <a:pt x="20597" y="8664"/>
                      </a:cubicBezTo>
                      <a:cubicBezTo>
                        <a:pt x="20629" y="8633"/>
                        <a:pt x="20663" y="8615"/>
                        <a:pt x="20694" y="8599"/>
                      </a:cubicBezTo>
                      <a:cubicBezTo>
                        <a:pt x="20698" y="8580"/>
                        <a:pt x="20704" y="8556"/>
                        <a:pt x="20710" y="8531"/>
                      </a:cubicBezTo>
                      <a:cubicBezTo>
                        <a:pt x="20736" y="8420"/>
                        <a:pt x="20768" y="8290"/>
                        <a:pt x="20795" y="8225"/>
                      </a:cubicBezTo>
                      <a:cubicBezTo>
                        <a:pt x="20821" y="8160"/>
                        <a:pt x="20854" y="8111"/>
                        <a:pt x="20880" y="8077"/>
                      </a:cubicBezTo>
                      <a:cubicBezTo>
                        <a:pt x="20857" y="7961"/>
                        <a:pt x="20886" y="7853"/>
                        <a:pt x="20963" y="7768"/>
                      </a:cubicBezTo>
                      <a:cubicBezTo>
                        <a:pt x="20980" y="7749"/>
                        <a:pt x="21022" y="7674"/>
                        <a:pt x="21045" y="7634"/>
                      </a:cubicBezTo>
                      <a:cubicBezTo>
                        <a:pt x="21093" y="7547"/>
                        <a:pt x="21123" y="7494"/>
                        <a:pt x="21165" y="7457"/>
                      </a:cubicBezTo>
                      <a:cubicBezTo>
                        <a:pt x="21174" y="7448"/>
                        <a:pt x="21184" y="7441"/>
                        <a:pt x="21193" y="7435"/>
                      </a:cubicBezTo>
                      <a:cubicBezTo>
                        <a:pt x="21206" y="7385"/>
                        <a:pt x="21227" y="7328"/>
                        <a:pt x="21274" y="7281"/>
                      </a:cubicBezTo>
                      <a:cubicBezTo>
                        <a:pt x="21285" y="7271"/>
                        <a:pt x="21295" y="7263"/>
                        <a:pt x="21305" y="7256"/>
                      </a:cubicBezTo>
                      <a:cubicBezTo>
                        <a:pt x="21317" y="7175"/>
                        <a:pt x="21352" y="7083"/>
                        <a:pt x="21437" y="6980"/>
                      </a:cubicBezTo>
                      <a:cubicBezTo>
                        <a:pt x="21487" y="6920"/>
                        <a:pt x="21529" y="6880"/>
                        <a:pt x="21564" y="6847"/>
                      </a:cubicBezTo>
                      <a:cubicBezTo>
                        <a:pt x="21578" y="6834"/>
                        <a:pt x="21591" y="6824"/>
                        <a:pt x="21600" y="6812"/>
                      </a:cubicBezTo>
                      <a:cubicBezTo>
                        <a:pt x="21591" y="6811"/>
                        <a:pt x="21572" y="6758"/>
                        <a:pt x="21533" y="6678"/>
                      </a:cubicBezTo>
                      <a:lnTo>
                        <a:pt x="21512" y="6636"/>
                      </a:lnTo>
                      <a:cubicBezTo>
                        <a:pt x="21479" y="6565"/>
                        <a:pt x="21434" y="6467"/>
                        <a:pt x="21476" y="6333"/>
                      </a:cubicBezTo>
                      <a:lnTo>
                        <a:pt x="21484" y="6312"/>
                      </a:lnTo>
                      <a:cubicBezTo>
                        <a:pt x="21484" y="6312"/>
                        <a:pt x="21484" y="6312"/>
                        <a:pt x="21484" y="6311"/>
                      </a:cubicBezTo>
                      <a:cubicBezTo>
                        <a:pt x="21479" y="6303"/>
                        <a:pt x="21473" y="6292"/>
                        <a:pt x="21468" y="6282"/>
                      </a:cubicBezTo>
                      <a:lnTo>
                        <a:pt x="21437" y="6283"/>
                      </a:lnTo>
                      <a:cubicBezTo>
                        <a:pt x="21293" y="6283"/>
                        <a:pt x="21230" y="6176"/>
                        <a:pt x="21206" y="6112"/>
                      </a:cubicBezTo>
                      <a:cubicBezTo>
                        <a:pt x="21200" y="6097"/>
                        <a:pt x="21195" y="6082"/>
                        <a:pt x="21191" y="6067"/>
                      </a:cubicBezTo>
                      <a:lnTo>
                        <a:pt x="21149" y="6067"/>
                      </a:lnTo>
                      <a:lnTo>
                        <a:pt x="21077" y="6022"/>
                      </a:lnTo>
                      <a:cubicBezTo>
                        <a:pt x="20982" y="5946"/>
                        <a:pt x="20930" y="5787"/>
                        <a:pt x="20949" y="5629"/>
                      </a:cubicBezTo>
                      <a:cubicBezTo>
                        <a:pt x="20947" y="5646"/>
                        <a:pt x="20930" y="5620"/>
                        <a:pt x="20925" y="5612"/>
                      </a:cubicBezTo>
                      <a:cubicBezTo>
                        <a:pt x="20882" y="5557"/>
                        <a:pt x="20832" y="5491"/>
                        <a:pt x="20809" y="5367"/>
                      </a:cubicBezTo>
                      <a:cubicBezTo>
                        <a:pt x="20800" y="5320"/>
                        <a:pt x="20798" y="5276"/>
                        <a:pt x="20797" y="5232"/>
                      </a:cubicBezTo>
                      <a:cubicBezTo>
                        <a:pt x="20796" y="5214"/>
                        <a:pt x="20796" y="5202"/>
                        <a:pt x="20795" y="5194"/>
                      </a:cubicBezTo>
                      <a:cubicBezTo>
                        <a:pt x="20795" y="5192"/>
                        <a:pt x="20795" y="5191"/>
                        <a:pt x="20794" y="5190"/>
                      </a:cubicBezTo>
                      <a:cubicBezTo>
                        <a:pt x="20794" y="5185"/>
                        <a:pt x="20793" y="5181"/>
                        <a:pt x="20792" y="5178"/>
                      </a:cubicBezTo>
                      <a:lnTo>
                        <a:pt x="16055" y="4061"/>
                      </a:lnTo>
                      <a:cubicBezTo>
                        <a:pt x="16053" y="4061"/>
                        <a:pt x="16035" y="4059"/>
                        <a:pt x="16017" y="4058"/>
                      </a:cubicBezTo>
                      <a:lnTo>
                        <a:pt x="15956" y="4111"/>
                      </a:lnTo>
                      <a:cubicBezTo>
                        <a:pt x="15864" y="4190"/>
                        <a:pt x="15732" y="4229"/>
                        <a:pt x="15552" y="4229"/>
                      </a:cubicBezTo>
                      <a:cubicBezTo>
                        <a:pt x="15512" y="4229"/>
                        <a:pt x="15477" y="4227"/>
                        <a:pt x="15454" y="4226"/>
                      </a:cubicBezTo>
                      <a:cubicBezTo>
                        <a:pt x="15381" y="4222"/>
                        <a:pt x="15325" y="4194"/>
                        <a:pt x="15265" y="4164"/>
                      </a:cubicBezTo>
                      <a:cubicBezTo>
                        <a:pt x="15220" y="4141"/>
                        <a:pt x="15174" y="4118"/>
                        <a:pt x="15133" y="4108"/>
                      </a:cubicBezTo>
                      <a:cubicBezTo>
                        <a:pt x="15128" y="4107"/>
                        <a:pt x="15128" y="4104"/>
                        <a:pt x="15130" y="4102"/>
                      </a:cubicBezTo>
                      <a:cubicBezTo>
                        <a:pt x="15106" y="4115"/>
                        <a:pt x="15076" y="4125"/>
                        <a:pt x="15033" y="4129"/>
                      </a:cubicBezTo>
                      <a:cubicBezTo>
                        <a:pt x="14944" y="4131"/>
                        <a:pt x="14897" y="4115"/>
                        <a:pt x="14861" y="4104"/>
                      </a:cubicBezTo>
                      <a:lnTo>
                        <a:pt x="14813" y="4104"/>
                      </a:lnTo>
                      <a:cubicBezTo>
                        <a:pt x="14792" y="4114"/>
                        <a:pt x="14772" y="4124"/>
                        <a:pt x="14749" y="4132"/>
                      </a:cubicBezTo>
                      <a:lnTo>
                        <a:pt x="14688" y="4143"/>
                      </a:lnTo>
                      <a:cubicBezTo>
                        <a:pt x="14610" y="4143"/>
                        <a:pt x="14546" y="4095"/>
                        <a:pt x="14492" y="4044"/>
                      </a:cubicBezTo>
                      <a:cubicBezTo>
                        <a:pt x="14467" y="4068"/>
                        <a:pt x="14442" y="4095"/>
                        <a:pt x="14427" y="4110"/>
                      </a:cubicBezTo>
                      <a:cubicBezTo>
                        <a:pt x="14388" y="4153"/>
                        <a:pt x="14355" y="4183"/>
                        <a:pt x="14343" y="4192"/>
                      </a:cubicBezTo>
                      <a:cubicBezTo>
                        <a:pt x="14306" y="4219"/>
                        <a:pt x="14269" y="4237"/>
                        <a:pt x="14215" y="4243"/>
                      </a:cubicBezTo>
                      <a:cubicBezTo>
                        <a:pt x="14189" y="4246"/>
                        <a:pt x="14158" y="4246"/>
                        <a:pt x="14122" y="4242"/>
                      </a:cubicBezTo>
                      <a:cubicBezTo>
                        <a:pt x="14085" y="4238"/>
                        <a:pt x="14042" y="4230"/>
                        <a:pt x="13992" y="4218"/>
                      </a:cubicBezTo>
                      <a:cubicBezTo>
                        <a:pt x="13907" y="4198"/>
                        <a:pt x="13738" y="4186"/>
                        <a:pt x="13623" y="4186"/>
                      </a:cubicBezTo>
                      <a:lnTo>
                        <a:pt x="13575" y="4187"/>
                      </a:lnTo>
                      <a:cubicBezTo>
                        <a:pt x="13508" y="4192"/>
                        <a:pt x="13496" y="4193"/>
                        <a:pt x="13430" y="4225"/>
                      </a:cubicBezTo>
                      <a:cubicBezTo>
                        <a:pt x="13340" y="4267"/>
                        <a:pt x="13246" y="4269"/>
                        <a:pt x="13170" y="4271"/>
                      </a:cubicBezTo>
                      <a:cubicBezTo>
                        <a:pt x="13146" y="4272"/>
                        <a:pt x="13124" y="4271"/>
                        <a:pt x="13108" y="4274"/>
                      </a:cubicBezTo>
                      <a:cubicBezTo>
                        <a:pt x="13101" y="4278"/>
                        <a:pt x="13064" y="4306"/>
                        <a:pt x="13042" y="4323"/>
                      </a:cubicBezTo>
                      <a:cubicBezTo>
                        <a:pt x="12999" y="4355"/>
                        <a:pt x="12956" y="4388"/>
                        <a:pt x="12910" y="4408"/>
                      </a:cubicBezTo>
                      <a:lnTo>
                        <a:pt x="12812" y="4427"/>
                      </a:lnTo>
                      <a:cubicBezTo>
                        <a:pt x="12757" y="4428"/>
                        <a:pt x="12710" y="4409"/>
                        <a:pt x="12681" y="4395"/>
                      </a:cubicBezTo>
                      <a:cubicBezTo>
                        <a:pt x="12648" y="4397"/>
                        <a:pt x="12597" y="4402"/>
                        <a:pt x="12560" y="4411"/>
                      </a:cubicBezTo>
                      <a:cubicBezTo>
                        <a:pt x="12482" y="4428"/>
                        <a:pt x="12270" y="4432"/>
                        <a:pt x="12186" y="4414"/>
                      </a:cubicBezTo>
                      <a:cubicBezTo>
                        <a:pt x="12037" y="4384"/>
                        <a:pt x="11980" y="4226"/>
                        <a:pt x="11955" y="4158"/>
                      </a:cubicBezTo>
                      <a:cubicBezTo>
                        <a:pt x="11944" y="4139"/>
                        <a:pt x="11899" y="4104"/>
                        <a:pt x="11869" y="4086"/>
                      </a:cubicBezTo>
                      <a:cubicBezTo>
                        <a:pt x="11862" y="4091"/>
                        <a:pt x="11854" y="4096"/>
                        <a:pt x="11847" y="4102"/>
                      </a:cubicBezTo>
                      <a:cubicBezTo>
                        <a:pt x="11826" y="4115"/>
                        <a:pt x="11805" y="4129"/>
                        <a:pt x="11782" y="4142"/>
                      </a:cubicBezTo>
                      <a:cubicBezTo>
                        <a:pt x="11709" y="4185"/>
                        <a:pt x="11615" y="4199"/>
                        <a:pt x="11491" y="4213"/>
                      </a:cubicBezTo>
                      <a:cubicBezTo>
                        <a:pt x="11458" y="4217"/>
                        <a:pt x="11427" y="4220"/>
                        <a:pt x="11407" y="4225"/>
                      </a:cubicBezTo>
                      <a:cubicBezTo>
                        <a:pt x="11387" y="4230"/>
                        <a:pt x="11357" y="4250"/>
                        <a:pt x="11325" y="4271"/>
                      </a:cubicBezTo>
                      <a:cubicBezTo>
                        <a:pt x="11300" y="4288"/>
                        <a:pt x="11274" y="4305"/>
                        <a:pt x="11248" y="4319"/>
                      </a:cubicBezTo>
                      <a:lnTo>
                        <a:pt x="11212" y="4338"/>
                      </a:lnTo>
                      <a:lnTo>
                        <a:pt x="11147" y="4345"/>
                      </a:lnTo>
                      <a:cubicBezTo>
                        <a:pt x="11096" y="4345"/>
                        <a:pt x="11030" y="4326"/>
                        <a:pt x="10972" y="4249"/>
                      </a:cubicBezTo>
                      <a:lnTo>
                        <a:pt x="10961" y="4249"/>
                      </a:lnTo>
                      <a:cubicBezTo>
                        <a:pt x="10915" y="4249"/>
                        <a:pt x="10878" y="4235"/>
                        <a:pt x="10836" y="4218"/>
                      </a:cubicBezTo>
                      <a:lnTo>
                        <a:pt x="10766" y="4192"/>
                      </a:lnTo>
                      <a:cubicBezTo>
                        <a:pt x="10771" y="4195"/>
                        <a:pt x="10755" y="4202"/>
                        <a:pt x="10719" y="4236"/>
                      </a:cubicBezTo>
                      <a:cubicBezTo>
                        <a:pt x="10652" y="4294"/>
                        <a:pt x="10597" y="4299"/>
                        <a:pt x="10546" y="4299"/>
                      </a:cubicBezTo>
                      <a:cubicBezTo>
                        <a:pt x="10509" y="4299"/>
                        <a:pt x="10478" y="4298"/>
                        <a:pt x="10453" y="4295"/>
                      </a:cubicBezTo>
                      <a:cubicBezTo>
                        <a:pt x="10403" y="4289"/>
                        <a:pt x="10376" y="4278"/>
                        <a:pt x="10358" y="4268"/>
                      </a:cubicBezTo>
                      <a:cubicBezTo>
                        <a:pt x="10349" y="4263"/>
                        <a:pt x="10342" y="4258"/>
                        <a:pt x="10337" y="4254"/>
                      </a:cubicBezTo>
                      <a:cubicBezTo>
                        <a:pt x="10224" y="4176"/>
                        <a:pt x="10246" y="4021"/>
                        <a:pt x="10260" y="3943"/>
                      </a:cubicBezTo>
                      <a:cubicBezTo>
                        <a:pt x="10250" y="3936"/>
                        <a:pt x="10240" y="3929"/>
                        <a:pt x="10231" y="3922"/>
                      </a:cubicBezTo>
                      <a:cubicBezTo>
                        <a:pt x="10162" y="3873"/>
                        <a:pt x="10123" y="3821"/>
                        <a:pt x="10089" y="3776"/>
                      </a:cubicBezTo>
                      <a:cubicBezTo>
                        <a:pt x="10080" y="3778"/>
                        <a:pt x="10060" y="3775"/>
                        <a:pt x="10038" y="3774"/>
                      </a:cubicBezTo>
                      <a:cubicBezTo>
                        <a:pt x="9979" y="3769"/>
                        <a:pt x="9918" y="3763"/>
                        <a:pt x="9880" y="3753"/>
                      </a:cubicBezTo>
                      <a:cubicBezTo>
                        <a:pt x="9784" y="3727"/>
                        <a:pt x="9720" y="3652"/>
                        <a:pt x="9677" y="3602"/>
                      </a:cubicBezTo>
                      <a:cubicBezTo>
                        <a:pt x="9666" y="3588"/>
                        <a:pt x="9655" y="3574"/>
                        <a:pt x="9643" y="3564"/>
                      </a:cubicBezTo>
                      <a:cubicBezTo>
                        <a:pt x="9638" y="3578"/>
                        <a:pt x="9611" y="3586"/>
                        <a:pt x="9589" y="3591"/>
                      </a:cubicBezTo>
                      <a:lnTo>
                        <a:pt x="9551" y="3599"/>
                      </a:lnTo>
                      <a:cubicBezTo>
                        <a:pt x="9517" y="3605"/>
                        <a:pt x="9445" y="3603"/>
                        <a:pt x="9376" y="3599"/>
                      </a:cubicBezTo>
                      <a:lnTo>
                        <a:pt x="9310" y="3595"/>
                      </a:lnTo>
                      <a:cubicBezTo>
                        <a:pt x="9239" y="3594"/>
                        <a:pt x="9203" y="3578"/>
                        <a:pt x="9136" y="3544"/>
                      </a:cubicBezTo>
                      <a:cubicBezTo>
                        <a:pt x="9097" y="3523"/>
                        <a:pt x="8993" y="3470"/>
                        <a:pt x="8957" y="3469"/>
                      </a:cubicBezTo>
                      <a:cubicBezTo>
                        <a:pt x="8951" y="3470"/>
                        <a:pt x="8935" y="3481"/>
                        <a:pt x="8901" y="3524"/>
                      </a:cubicBezTo>
                      <a:lnTo>
                        <a:pt x="8864" y="3565"/>
                      </a:lnTo>
                      <a:cubicBezTo>
                        <a:pt x="8815" y="3609"/>
                        <a:pt x="8763" y="3621"/>
                        <a:pt x="8719" y="3625"/>
                      </a:cubicBezTo>
                      <a:cubicBezTo>
                        <a:pt x="8708" y="3637"/>
                        <a:pt x="8694" y="3649"/>
                        <a:pt x="8677" y="3661"/>
                      </a:cubicBezTo>
                      <a:cubicBezTo>
                        <a:pt x="8622" y="3699"/>
                        <a:pt x="8562" y="3700"/>
                        <a:pt x="8508" y="3701"/>
                      </a:cubicBezTo>
                      <a:cubicBezTo>
                        <a:pt x="8451" y="3707"/>
                        <a:pt x="8335" y="3739"/>
                        <a:pt x="8302" y="3753"/>
                      </a:cubicBezTo>
                      <a:lnTo>
                        <a:pt x="8266" y="3773"/>
                      </a:lnTo>
                      <a:lnTo>
                        <a:pt x="8224" y="3770"/>
                      </a:lnTo>
                      <a:cubicBezTo>
                        <a:pt x="8183" y="3770"/>
                        <a:pt x="8146" y="3757"/>
                        <a:pt x="8117" y="3746"/>
                      </a:cubicBezTo>
                      <a:cubicBezTo>
                        <a:pt x="8114" y="3749"/>
                        <a:pt x="8102" y="3755"/>
                        <a:pt x="8097" y="3760"/>
                      </a:cubicBezTo>
                      <a:cubicBezTo>
                        <a:pt x="8038" y="3816"/>
                        <a:pt x="7962" y="3823"/>
                        <a:pt x="7910" y="3823"/>
                      </a:cubicBezTo>
                      <a:cubicBezTo>
                        <a:pt x="7822" y="3823"/>
                        <a:pt x="7686" y="3798"/>
                        <a:pt x="7613" y="3756"/>
                      </a:cubicBezTo>
                      <a:cubicBezTo>
                        <a:pt x="7547" y="3719"/>
                        <a:pt x="7511" y="3666"/>
                        <a:pt x="7491" y="3623"/>
                      </a:cubicBezTo>
                      <a:cubicBezTo>
                        <a:pt x="7484" y="3625"/>
                        <a:pt x="7478" y="3626"/>
                        <a:pt x="7473" y="3627"/>
                      </a:cubicBezTo>
                      <a:lnTo>
                        <a:pt x="7414" y="3636"/>
                      </a:lnTo>
                      <a:cubicBezTo>
                        <a:pt x="7358" y="3636"/>
                        <a:pt x="7279" y="3611"/>
                        <a:pt x="7225" y="3489"/>
                      </a:cubicBezTo>
                      <a:cubicBezTo>
                        <a:pt x="7209" y="3467"/>
                        <a:pt x="7139" y="3409"/>
                        <a:pt x="7022" y="3319"/>
                      </a:cubicBezTo>
                      <a:lnTo>
                        <a:pt x="6984" y="3289"/>
                      </a:lnTo>
                      <a:cubicBezTo>
                        <a:pt x="6969" y="3297"/>
                        <a:pt x="6913" y="3288"/>
                        <a:pt x="6854" y="3240"/>
                      </a:cubicBezTo>
                      <a:cubicBezTo>
                        <a:pt x="6801" y="3198"/>
                        <a:pt x="6569" y="2913"/>
                        <a:pt x="6538" y="2761"/>
                      </a:cubicBezTo>
                      <a:cubicBezTo>
                        <a:pt x="6516" y="2655"/>
                        <a:pt x="6553" y="2551"/>
                        <a:pt x="6599" y="2420"/>
                      </a:cubicBezTo>
                      <a:cubicBezTo>
                        <a:pt x="6613" y="2379"/>
                        <a:pt x="6638" y="2309"/>
                        <a:pt x="6641" y="2285"/>
                      </a:cubicBezTo>
                      <a:cubicBezTo>
                        <a:pt x="6640" y="2296"/>
                        <a:pt x="6629" y="2273"/>
                        <a:pt x="6623" y="2260"/>
                      </a:cubicBezTo>
                      <a:cubicBezTo>
                        <a:pt x="6606" y="2223"/>
                        <a:pt x="6582" y="2172"/>
                        <a:pt x="6582" y="2101"/>
                      </a:cubicBezTo>
                      <a:cubicBezTo>
                        <a:pt x="6582" y="2074"/>
                        <a:pt x="6582" y="2008"/>
                        <a:pt x="6659" y="1860"/>
                      </a:cubicBezTo>
                      <a:cubicBezTo>
                        <a:pt x="6659" y="1860"/>
                        <a:pt x="6659" y="1860"/>
                        <a:pt x="6658" y="1859"/>
                      </a:cubicBezTo>
                      <a:cubicBezTo>
                        <a:pt x="6643" y="1812"/>
                        <a:pt x="6629" y="1771"/>
                        <a:pt x="6625" y="1723"/>
                      </a:cubicBezTo>
                      <a:cubicBezTo>
                        <a:pt x="6620" y="1646"/>
                        <a:pt x="6643" y="1584"/>
                        <a:pt x="6667" y="1532"/>
                      </a:cubicBezTo>
                      <a:cubicBezTo>
                        <a:pt x="6621" y="1443"/>
                        <a:pt x="6608" y="1323"/>
                        <a:pt x="6608" y="1284"/>
                      </a:cubicBezTo>
                      <a:cubicBezTo>
                        <a:pt x="6608" y="1305"/>
                        <a:pt x="6598" y="1279"/>
                        <a:pt x="6589" y="1253"/>
                      </a:cubicBezTo>
                      <a:cubicBezTo>
                        <a:pt x="6562" y="1177"/>
                        <a:pt x="6561" y="1093"/>
                        <a:pt x="6561" y="1011"/>
                      </a:cubicBezTo>
                      <a:cubicBezTo>
                        <a:pt x="6561" y="1006"/>
                        <a:pt x="6561" y="1000"/>
                        <a:pt x="6561" y="995"/>
                      </a:cubicBezTo>
                      <a:cubicBezTo>
                        <a:pt x="6529" y="959"/>
                        <a:pt x="6512" y="939"/>
                        <a:pt x="6499" y="920"/>
                      </a:cubicBezTo>
                      <a:cubicBezTo>
                        <a:pt x="6453" y="858"/>
                        <a:pt x="6416" y="807"/>
                        <a:pt x="6390" y="724"/>
                      </a:cubicBezTo>
                      <a:cubicBezTo>
                        <a:pt x="6378" y="707"/>
                        <a:pt x="6296" y="597"/>
                        <a:pt x="6242" y="528"/>
                      </a:cubicBezTo>
                      <a:cubicBezTo>
                        <a:pt x="6158" y="540"/>
                        <a:pt x="6017" y="571"/>
                        <a:pt x="5981" y="585"/>
                      </a:cubicBezTo>
                      <a:lnTo>
                        <a:pt x="5894" y="603"/>
                      </a:lnTo>
                      <a:cubicBezTo>
                        <a:pt x="5831" y="603"/>
                        <a:pt x="5772" y="578"/>
                        <a:pt x="5724" y="558"/>
                      </a:cubicBezTo>
                      <a:cubicBezTo>
                        <a:pt x="5710" y="552"/>
                        <a:pt x="5697" y="546"/>
                        <a:pt x="5686" y="543"/>
                      </a:cubicBezTo>
                      <a:cubicBezTo>
                        <a:pt x="5550" y="520"/>
                        <a:pt x="5490" y="354"/>
                        <a:pt x="5455" y="254"/>
                      </a:cubicBezTo>
                      <a:cubicBezTo>
                        <a:pt x="5432" y="207"/>
                        <a:pt x="5421" y="165"/>
                        <a:pt x="5416" y="125"/>
                      </a:cubicBezTo>
                      <a:cubicBezTo>
                        <a:pt x="5415" y="114"/>
                        <a:pt x="5413" y="105"/>
                        <a:pt x="5413" y="95"/>
                      </a:cubicBezTo>
                      <a:cubicBezTo>
                        <a:pt x="5410" y="61"/>
                        <a:pt x="5412" y="30"/>
                        <a:pt x="5416" y="5"/>
                      </a:cubicBezTo>
                      <a:cubicBezTo>
                        <a:pt x="5416" y="3"/>
                        <a:pt x="5416" y="1"/>
                        <a:pt x="5416" y="0"/>
                      </a:cubicBezTo>
                      <a:cubicBezTo>
                        <a:pt x="5358" y="40"/>
                        <a:pt x="5315" y="56"/>
                        <a:pt x="5270" y="56"/>
                      </a:cubicBezTo>
                      <a:lnTo>
                        <a:pt x="5083" y="51"/>
                      </a:lnTo>
                      <a:cubicBezTo>
                        <a:pt x="5079" y="50"/>
                        <a:pt x="5075" y="48"/>
                        <a:pt x="5071" y="47"/>
                      </a:cubicBezTo>
                      <a:cubicBezTo>
                        <a:pt x="5047" y="64"/>
                        <a:pt x="5003" y="84"/>
                        <a:pt x="4955" y="84"/>
                      </a:cubicBezTo>
                      <a:lnTo>
                        <a:pt x="4868" y="84"/>
                      </a:lnTo>
                      <a:lnTo>
                        <a:pt x="4808" y="8"/>
                      </a:lnTo>
                      <a:lnTo>
                        <a:pt x="4753" y="41"/>
                      </a:lnTo>
                      <a:cubicBezTo>
                        <a:pt x="4713" y="110"/>
                        <a:pt x="4658" y="147"/>
                        <a:pt x="4591" y="147"/>
                      </a:cubicBezTo>
                      <a:lnTo>
                        <a:pt x="4509" y="126"/>
                      </a:lnTo>
                      <a:cubicBezTo>
                        <a:pt x="4507" y="211"/>
                        <a:pt x="4505" y="282"/>
                        <a:pt x="4504" y="288"/>
                      </a:cubicBezTo>
                      <a:cubicBezTo>
                        <a:pt x="4499" y="345"/>
                        <a:pt x="4483" y="381"/>
                        <a:pt x="4466" y="419"/>
                      </a:cubicBezTo>
                      <a:cubicBezTo>
                        <a:pt x="4458" y="445"/>
                        <a:pt x="4433" y="560"/>
                        <a:pt x="4414" y="611"/>
                      </a:cubicBezTo>
                      <a:cubicBezTo>
                        <a:pt x="4395" y="660"/>
                        <a:pt x="4349" y="757"/>
                        <a:pt x="4272" y="800"/>
                      </a:cubicBezTo>
                      <a:cubicBezTo>
                        <a:pt x="4278" y="842"/>
                        <a:pt x="4281" y="878"/>
                        <a:pt x="4281" y="892"/>
                      </a:cubicBezTo>
                      <a:cubicBezTo>
                        <a:pt x="4281" y="947"/>
                        <a:pt x="4267" y="1000"/>
                        <a:pt x="4252" y="1057"/>
                      </a:cubicBezTo>
                      <a:cubicBezTo>
                        <a:pt x="4248" y="1135"/>
                        <a:pt x="4205" y="1271"/>
                        <a:pt x="4185" y="1311"/>
                      </a:cubicBezTo>
                      <a:cubicBezTo>
                        <a:pt x="4179" y="1325"/>
                        <a:pt x="4163" y="1368"/>
                        <a:pt x="4151" y="1404"/>
                      </a:cubicBezTo>
                      <a:cubicBezTo>
                        <a:pt x="4164" y="1442"/>
                        <a:pt x="4176" y="1482"/>
                        <a:pt x="4181" y="1505"/>
                      </a:cubicBezTo>
                      <a:cubicBezTo>
                        <a:pt x="4214" y="1640"/>
                        <a:pt x="4107" y="2095"/>
                        <a:pt x="4106" y="2100"/>
                      </a:cubicBezTo>
                      <a:cubicBezTo>
                        <a:pt x="4104" y="2107"/>
                        <a:pt x="3975" y="2556"/>
                        <a:pt x="3912" y="2642"/>
                      </a:cubicBezTo>
                      <a:cubicBezTo>
                        <a:pt x="3905" y="2652"/>
                        <a:pt x="3895" y="2663"/>
                        <a:pt x="3884" y="2675"/>
                      </a:cubicBezTo>
                      <a:cubicBezTo>
                        <a:pt x="3886" y="2732"/>
                        <a:pt x="3885" y="2795"/>
                        <a:pt x="3878" y="2833"/>
                      </a:cubicBezTo>
                      <a:cubicBezTo>
                        <a:pt x="3848" y="3036"/>
                        <a:pt x="3815" y="3156"/>
                        <a:pt x="3783" y="3230"/>
                      </a:cubicBezTo>
                      <a:cubicBezTo>
                        <a:pt x="3788" y="3272"/>
                        <a:pt x="3786" y="3333"/>
                        <a:pt x="3703" y="3681"/>
                      </a:cubicBezTo>
                      <a:lnTo>
                        <a:pt x="3679" y="3744"/>
                      </a:lnTo>
                      <a:lnTo>
                        <a:pt x="3676" y="3744"/>
                      </a:lnTo>
                      <a:cubicBezTo>
                        <a:pt x="3679" y="3820"/>
                        <a:pt x="3673" y="3919"/>
                        <a:pt x="3610" y="3996"/>
                      </a:cubicBezTo>
                      <a:cubicBezTo>
                        <a:pt x="3616" y="3990"/>
                        <a:pt x="3603" y="4023"/>
                        <a:pt x="3599" y="4037"/>
                      </a:cubicBezTo>
                      <a:cubicBezTo>
                        <a:pt x="3598" y="4070"/>
                        <a:pt x="3525" y="4314"/>
                        <a:pt x="3443" y="4386"/>
                      </a:cubicBezTo>
                      <a:cubicBezTo>
                        <a:pt x="3440" y="4389"/>
                        <a:pt x="3435" y="4395"/>
                        <a:pt x="3429" y="4402"/>
                      </a:cubicBezTo>
                      <a:cubicBezTo>
                        <a:pt x="3434" y="4463"/>
                        <a:pt x="3434" y="4536"/>
                        <a:pt x="3421" y="4587"/>
                      </a:cubicBezTo>
                      <a:cubicBezTo>
                        <a:pt x="3412" y="4620"/>
                        <a:pt x="3251" y="5011"/>
                        <a:pt x="3179" y="5164"/>
                      </a:cubicBezTo>
                      <a:lnTo>
                        <a:pt x="3186" y="5284"/>
                      </a:lnTo>
                      <a:lnTo>
                        <a:pt x="3096" y="5375"/>
                      </a:lnTo>
                      <a:cubicBezTo>
                        <a:pt x="3068" y="5399"/>
                        <a:pt x="3035" y="5431"/>
                        <a:pt x="3013" y="5455"/>
                      </a:cubicBezTo>
                      <a:cubicBezTo>
                        <a:pt x="3017" y="5539"/>
                        <a:pt x="3023" y="5644"/>
                        <a:pt x="3023" y="5671"/>
                      </a:cubicBezTo>
                      <a:cubicBezTo>
                        <a:pt x="3023" y="5742"/>
                        <a:pt x="3000" y="5799"/>
                        <a:pt x="2968" y="5878"/>
                      </a:cubicBezTo>
                      <a:cubicBezTo>
                        <a:pt x="2962" y="5890"/>
                        <a:pt x="2957" y="5903"/>
                        <a:pt x="2952" y="5915"/>
                      </a:cubicBezTo>
                      <a:cubicBezTo>
                        <a:pt x="2965" y="6027"/>
                        <a:pt x="2972" y="6191"/>
                        <a:pt x="2880" y="6279"/>
                      </a:cubicBezTo>
                      <a:cubicBezTo>
                        <a:pt x="2875" y="6341"/>
                        <a:pt x="2859" y="6411"/>
                        <a:pt x="2818" y="6470"/>
                      </a:cubicBezTo>
                      <a:cubicBezTo>
                        <a:pt x="2810" y="6498"/>
                        <a:pt x="2742" y="6743"/>
                        <a:pt x="2724" y="6831"/>
                      </a:cubicBezTo>
                      <a:cubicBezTo>
                        <a:pt x="2728" y="6875"/>
                        <a:pt x="2728" y="6920"/>
                        <a:pt x="2727" y="6954"/>
                      </a:cubicBezTo>
                      <a:lnTo>
                        <a:pt x="2725" y="7008"/>
                      </a:lnTo>
                      <a:lnTo>
                        <a:pt x="2705" y="7055"/>
                      </a:lnTo>
                      <a:cubicBezTo>
                        <a:pt x="2630" y="7230"/>
                        <a:pt x="2542" y="7439"/>
                        <a:pt x="2512" y="7518"/>
                      </a:cubicBezTo>
                      <a:cubicBezTo>
                        <a:pt x="2510" y="7594"/>
                        <a:pt x="2503" y="7651"/>
                        <a:pt x="2491" y="7690"/>
                      </a:cubicBezTo>
                      <a:cubicBezTo>
                        <a:pt x="2262" y="8539"/>
                        <a:pt x="2075" y="9173"/>
                        <a:pt x="1940" y="9560"/>
                      </a:cubicBezTo>
                      <a:cubicBezTo>
                        <a:pt x="1755" y="10095"/>
                        <a:pt x="1489" y="10760"/>
                        <a:pt x="1301" y="11025"/>
                      </a:cubicBezTo>
                      <a:cubicBezTo>
                        <a:pt x="1234" y="11121"/>
                        <a:pt x="1182" y="11199"/>
                        <a:pt x="1145" y="11256"/>
                      </a:cubicBezTo>
                      <a:cubicBezTo>
                        <a:pt x="1070" y="11368"/>
                        <a:pt x="1045" y="11406"/>
                        <a:pt x="986" y="11430"/>
                      </a:cubicBezTo>
                      <a:lnTo>
                        <a:pt x="959" y="11438"/>
                      </a:lnTo>
                      <a:cubicBezTo>
                        <a:pt x="961" y="11491"/>
                        <a:pt x="954" y="11552"/>
                        <a:pt x="930" y="11613"/>
                      </a:cubicBezTo>
                      <a:cubicBezTo>
                        <a:pt x="908" y="11671"/>
                        <a:pt x="817" y="11913"/>
                        <a:pt x="797" y="11974"/>
                      </a:cubicBezTo>
                      <a:cubicBezTo>
                        <a:pt x="780" y="12024"/>
                        <a:pt x="753" y="12071"/>
                        <a:pt x="722" y="12126"/>
                      </a:cubicBezTo>
                      <a:cubicBezTo>
                        <a:pt x="710" y="12148"/>
                        <a:pt x="696" y="12170"/>
                        <a:pt x="686" y="12191"/>
                      </a:cubicBezTo>
                      <a:cubicBezTo>
                        <a:pt x="687" y="12341"/>
                        <a:pt x="607" y="12474"/>
                        <a:pt x="606" y="12475"/>
                      </a:cubicBezTo>
                      <a:cubicBezTo>
                        <a:pt x="566" y="12575"/>
                        <a:pt x="501" y="12730"/>
                        <a:pt x="406" y="12873"/>
                      </a:cubicBezTo>
                      <a:cubicBezTo>
                        <a:pt x="333" y="12980"/>
                        <a:pt x="234" y="13135"/>
                        <a:pt x="173" y="13231"/>
                      </a:cubicBezTo>
                      <a:cubicBezTo>
                        <a:pt x="177" y="13261"/>
                        <a:pt x="180" y="13292"/>
                        <a:pt x="180" y="13322"/>
                      </a:cubicBezTo>
                      <a:cubicBezTo>
                        <a:pt x="180" y="13350"/>
                        <a:pt x="178" y="13417"/>
                        <a:pt x="176" y="13481"/>
                      </a:cubicBezTo>
                      <a:cubicBezTo>
                        <a:pt x="218" y="13529"/>
                        <a:pt x="249" y="13595"/>
                        <a:pt x="258" y="13680"/>
                      </a:cubicBezTo>
                      <a:cubicBezTo>
                        <a:pt x="263" y="13723"/>
                        <a:pt x="263" y="13761"/>
                        <a:pt x="263" y="13798"/>
                      </a:cubicBezTo>
                      <a:lnTo>
                        <a:pt x="274" y="13846"/>
                      </a:lnTo>
                      <a:cubicBezTo>
                        <a:pt x="364" y="13955"/>
                        <a:pt x="359" y="14062"/>
                        <a:pt x="340" y="14133"/>
                      </a:cubicBezTo>
                      <a:cubicBezTo>
                        <a:pt x="338" y="14155"/>
                        <a:pt x="334" y="14247"/>
                        <a:pt x="332" y="14291"/>
                      </a:cubicBezTo>
                      <a:lnTo>
                        <a:pt x="144" y="14341"/>
                      </a:lnTo>
                      <a:lnTo>
                        <a:pt x="331" y="14338"/>
                      </a:lnTo>
                      <a:cubicBezTo>
                        <a:pt x="332" y="14393"/>
                        <a:pt x="332" y="14468"/>
                        <a:pt x="304" y="14542"/>
                      </a:cubicBezTo>
                      <a:cubicBezTo>
                        <a:pt x="293" y="14574"/>
                        <a:pt x="274" y="14606"/>
                        <a:pt x="230" y="14680"/>
                      </a:cubicBezTo>
                      <a:close/>
                      <a:moveTo>
                        <a:pt x="230" y="14680"/>
                      </a:moveTo>
                    </a:path>
                  </a:pathLst>
                </a:custGeom>
                <a:solidFill>
                  <a:schemeClr val="accent6">
                    <a:lumMod val="40000"/>
                    <a:lumOff val="6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513F3A"/>
                    </a:solidFill>
                    <a:effectLst/>
                    <a:uLnTx/>
                    <a:uFillTx/>
                    <a:latin typeface="Arial"/>
                    <a:ea typeface="Arial"/>
                    <a:cs typeface="Arial"/>
                    <a:sym typeface="Arial"/>
                  </a:endParaRPr>
                </a:p>
              </p:txBody>
            </p:sp>
            <p:sp>
              <p:nvSpPr>
                <p:cNvPr id="63" name="Google Shape;419;p54">
                  <a:extLst>
                    <a:ext uri="{FF2B5EF4-FFF2-40B4-BE49-F238E27FC236}">
                      <a16:creationId xmlns:a16="http://schemas.microsoft.com/office/drawing/2014/main" id="{89EE38D0-B9BD-49AA-B532-0383269D7A2D}"/>
                    </a:ext>
                  </a:extLst>
                </p:cNvPr>
                <p:cNvSpPr/>
                <p:nvPr/>
              </p:nvSpPr>
              <p:spPr>
                <a:xfrm>
                  <a:off x="1539261" y="1647396"/>
                  <a:ext cx="825606" cy="581202"/>
                </a:xfrm>
                <a:custGeom>
                  <a:avLst/>
                  <a:gdLst/>
                  <a:ahLst/>
                  <a:cxnLst/>
                  <a:rect l="l" t="t" r="r" b="b"/>
                  <a:pathLst>
                    <a:path w="21600" h="21600" extrusionOk="0">
                      <a:moveTo>
                        <a:pt x="31" y="3375"/>
                      </a:moveTo>
                      <a:lnTo>
                        <a:pt x="32" y="3424"/>
                      </a:lnTo>
                      <a:cubicBezTo>
                        <a:pt x="34" y="3526"/>
                        <a:pt x="36" y="3629"/>
                        <a:pt x="20" y="3719"/>
                      </a:cubicBezTo>
                      <a:cubicBezTo>
                        <a:pt x="23" y="3766"/>
                        <a:pt x="23" y="3821"/>
                        <a:pt x="23" y="3892"/>
                      </a:cubicBezTo>
                      <a:cubicBezTo>
                        <a:pt x="23" y="3919"/>
                        <a:pt x="23" y="3948"/>
                        <a:pt x="24" y="3974"/>
                      </a:cubicBezTo>
                      <a:cubicBezTo>
                        <a:pt x="136" y="4029"/>
                        <a:pt x="182" y="4151"/>
                        <a:pt x="198" y="4244"/>
                      </a:cubicBezTo>
                      <a:cubicBezTo>
                        <a:pt x="207" y="4299"/>
                        <a:pt x="212" y="4338"/>
                        <a:pt x="217" y="4368"/>
                      </a:cubicBezTo>
                      <a:cubicBezTo>
                        <a:pt x="286" y="4453"/>
                        <a:pt x="356" y="4552"/>
                        <a:pt x="347" y="4715"/>
                      </a:cubicBezTo>
                      <a:cubicBezTo>
                        <a:pt x="343" y="4757"/>
                        <a:pt x="340" y="4791"/>
                        <a:pt x="338" y="4818"/>
                      </a:cubicBezTo>
                      <a:cubicBezTo>
                        <a:pt x="388" y="4885"/>
                        <a:pt x="411" y="4965"/>
                        <a:pt x="422" y="5032"/>
                      </a:cubicBezTo>
                      <a:cubicBezTo>
                        <a:pt x="445" y="5176"/>
                        <a:pt x="473" y="5948"/>
                        <a:pt x="438" y="6388"/>
                      </a:cubicBezTo>
                      <a:cubicBezTo>
                        <a:pt x="422" y="6574"/>
                        <a:pt x="400" y="6793"/>
                        <a:pt x="380" y="6992"/>
                      </a:cubicBezTo>
                      <a:cubicBezTo>
                        <a:pt x="357" y="7218"/>
                        <a:pt x="336" y="7414"/>
                        <a:pt x="336" y="7488"/>
                      </a:cubicBezTo>
                      <a:cubicBezTo>
                        <a:pt x="365" y="7529"/>
                        <a:pt x="405" y="7618"/>
                        <a:pt x="405" y="7744"/>
                      </a:cubicBezTo>
                      <a:cubicBezTo>
                        <a:pt x="406" y="7714"/>
                        <a:pt x="424" y="7757"/>
                        <a:pt x="438" y="7796"/>
                      </a:cubicBezTo>
                      <a:cubicBezTo>
                        <a:pt x="469" y="7883"/>
                        <a:pt x="495" y="7951"/>
                        <a:pt x="505" y="8026"/>
                      </a:cubicBezTo>
                      <a:cubicBezTo>
                        <a:pt x="525" y="8159"/>
                        <a:pt x="509" y="8781"/>
                        <a:pt x="486" y="9014"/>
                      </a:cubicBezTo>
                      <a:cubicBezTo>
                        <a:pt x="485" y="9017"/>
                        <a:pt x="474" y="9106"/>
                        <a:pt x="455" y="9235"/>
                      </a:cubicBezTo>
                      <a:cubicBezTo>
                        <a:pt x="520" y="9259"/>
                        <a:pt x="583" y="9302"/>
                        <a:pt x="626" y="9363"/>
                      </a:cubicBezTo>
                      <a:cubicBezTo>
                        <a:pt x="739" y="9512"/>
                        <a:pt x="810" y="9614"/>
                        <a:pt x="822" y="9753"/>
                      </a:cubicBezTo>
                      <a:cubicBezTo>
                        <a:pt x="861" y="9779"/>
                        <a:pt x="896" y="9815"/>
                        <a:pt x="920" y="9869"/>
                      </a:cubicBezTo>
                      <a:cubicBezTo>
                        <a:pt x="959" y="9885"/>
                        <a:pt x="998" y="9913"/>
                        <a:pt x="1032" y="9961"/>
                      </a:cubicBezTo>
                      <a:cubicBezTo>
                        <a:pt x="1101" y="10045"/>
                        <a:pt x="1208" y="10175"/>
                        <a:pt x="1192" y="10375"/>
                      </a:cubicBezTo>
                      <a:cubicBezTo>
                        <a:pt x="1173" y="10653"/>
                        <a:pt x="980" y="10689"/>
                        <a:pt x="859" y="10694"/>
                      </a:cubicBezTo>
                      <a:lnTo>
                        <a:pt x="717" y="10747"/>
                      </a:lnTo>
                      <a:cubicBezTo>
                        <a:pt x="680" y="10747"/>
                        <a:pt x="639" y="10743"/>
                        <a:pt x="599" y="10729"/>
                      </a:cubicBezTo>
                      <a:cubicBezTo>
                        <a:pt x="591" y="10734"/>
                        <a:pt x="582" y="10737"/>
                        <a:pt x="574" y="10740"/>
                      </a:cubicBezTo>
                      <a:cubicBezTo>
                        <a:pt x="570" y="10742"/>
                        <a:pt x="561" y="10745"/>
                        <a:pt x="550" y="10749"/>
                      </a:cubicBezTo>
                      <a:cubicBezTo>
                        <a:pt x="497" y="10880"/>
                        <a:pt x="408" y="10911"/>
                        <a:pt x="372" y="10919"/>
                      </a:cubicBezTo>
                      <a:cubicBezTo>
                        <a:pt x="369" y="10992"/>
                        <a:pt x="359" y="11054"/>
                        <a:pt x="340" y="11110"/>
                      </a:cubicBezTo>
                      <a:cubicBezTo>
                        <a:pt x="336" y="11123"/>
                        <a:pt x="331" y="11148"/>
                        <a:pt x="326" y="11175"/>
                      </a:cubicBezTo>
                      <a:cubicBezTo>
                        <a:pt x="327" y="11177"/>
                        <a:pt x="328" y="11178"/>
                        <a:pt x="329" y="11180"/>
                      </a:cubicBezTo>
                      <a:lnTo>
                        <a:pt x="552" y="11154"/>
                      </a:lnTo>
                      <a:cubicBezTo>
                        <a:pt x="571" y="11147"/>
                        <a:pt x="591" y="11143"/>
                        <a:pt x="613" y="11143"/>
                      </a:cubicBezTo>
                      <a:lnTo>
                        <a:pt x="725" y="11143"/>
                      </a:lnTo>
                      <a:lnTo>
                        <a:pt x="801" y="11277"/>
                      </a:lnTo>
                      <a:cubicBezTo>
                        <a:pt x="807" y="11289"/>
                        <a:pt x="817" y="11309"/>
                        <a:pt x="826" y="11331"/>
                      </a:cubicBezTo>
                      <a:cubicBezTo>
                        <a:pt x="868" y="11370"/>
                        <a:pt x="897" y="11420"/>
                        <a:pt x="915" y="11455"/>
                      </a:cubicBezTo>
                      <a:cubicBezTo>
                        <a:pt x="981" y="11582"/>
                        <a:pt x="984" y="11698"/>
                        <a:pt x="975" y="11773"/>
                      </a:cubicBezTo>
                      <a:cubicBezTo>
                        <a:pt x="947" y="12012"/>
                        <a:pt x="778" y="12091"/>
                        <a:pt x="697" y="12130"/>
                      </a:cubicBezTo>
                      <a:lnTo>
                        <a:pt x="626" y="12255"/>
                      </a:lnTo>
                      <a:cubicBezTo>
                        <a:pt x="616" y="12267"/>
                        <a:pt x="607" y="12277"/>
                        <a:pt x="597" y="12286"/>
                      </a:cubicBezTo>
                      <a:cubicBezTo>
                        <a:pt x="601" y="12328"/>
                        <a:pt x="600" y="12367"/>
                        <a:pt x="599" y="12399"/>
                      </a:cubicBezTo>
                      <a:cubicBezTo>
                        <a:pt x="633" y="12480"/>
                        <a:pt x="660" y="12581"/>
                        <a:pt x="661" y="12685"/>
                      </a:cubicBezTo>
                      <a:lnTo>
                        <a:pt x="661" y="12826"/>
                      </a:lnTo>
                      <a:lnTo>
                        <a:pt x="575" y="12974"/>
                      </a:lnTo>
                      <a:cubicBezTo>
                        <a:pt x="553" y="13003"/>
                        <a:pt x="529" y="13030"/>
                        <a:pt x="507" y="13054"/>
                      </a:cubicBezTo>
                      <a:cubicBezTo>
                        <a:pt x="473" y="13155"/>
                        <a:pt x="418" y="13279"/>
                        <a:pt x="306" y="13313"/>
                      </a:cubicBezTo>
                      <a:cubicBezTo>
                        <a:pt x="279" y="13320"/>
                        <a:pt x="244" y="13326"/>
                        <a:pt x="213" y="13326"/>
                      </a:cubicBezTo>
                      <a:lnTo>
                        <a:pt x="206" y="13326"/>
                      </a:lnTo>
                      <a:lnTo>
                        <a:pt x="170" y="13398"/>
                      </a:lnTo>
                      <a:lnTo>
                        <a:pt x="52" y="13354"/>
                      </a:lnTo>
                      <a:cubicBezTo>
                        <a:pt x="41" y="13400"/>
                        <a:pt x="27" y="13459"/>
                        <a:pt x="12" y="13522"/>
                      </a:cubicBezTo>
                      <a:cubicBezTo>
                        <a:pt x="8" y="13540"/>
                        <a:pt x="4" y="13556"/>
                        <a:pt x="0" y="13573"/>
                      </a:cubicBezTo>
                      <a:lnTo>
                        <a:pt x="4" y="13576"/>
                      </a:lnTo>
                      <a:cubicBezTo>
                        <a:pt x="92" y="13645"/>
                        <a:pt x="186" y="13885"/>
                        <a:pt x="223" y="14008"/>
                      </a:cubicBezTo>
                      <a:lnTo>
                        <a:pt x="231" y="14004"/>
                      </a:lnTo>
                      <a:cubicBezTo>
                        <a:pt x="245" y="13988"/>
                        <a:pt x="321" y="13902"/>
                        <a:pt x="427" y="13902"/>
                      </a:cubicBezTo>
                      <a:lnTo>
                        <a:pt x="525" y="13902"/>
                      </a:lnTo>
                      <a:lnTo>
                        <a:pt x="567" y="13956"/>
                      </a:lnTo>
                      <a:cubicBezTo>
                        <a:pt x="601" y="13928"/>
                        <a:pt x="644" y="13905"/>
                        <a:pt x="697" y="13905"/>
                      </a:cubicBezTo>
                      <a:lnTo>
                        <a:pt x="794" y="13932"/>
                      </a:lnTo>
                      <a:cubicBezTo>
                        <a:pt x="825" y="13941"/>
                        <a:pt x="949" y="13985"/>
                        <a:pt x="1010" y="14176"/>
                      </a:cubicBezTo>
                      <a:cubicBezTo>
                        <a:pt x="1021" y="14207"/>
                        <a:pt x="1029" y="14246"/>
                        <a:pt x="1034" y="14290"/>
                      </a:cubicBezTo>
                      <a:cubicBezTo>
                        <a:pt x="1040" y="14292"/>
                        <a:pt x="1047" y="14293"/>
                        <a:pt x="1053" y="14294"/>
                      </a:cubicBezTo>
                      <a:cubicBezTo>
                        <a:pt x="1101" y="14305"/>
                        <a:pt x="1140" y="14314"/>
                        <a:pt x="1176" y="14338"/>
                      </a:cubicBezTo>
                      <a:cubicBezTo>
                        <a:pt x="1188" y="14335"/>
                        <a:pt x="1199" y="14334"/>
                        <a:pt x="1208" y="14334"/>
                      </a:cubicBezTo>
                      <a:cubicBezTo>
                        <a:pt x="1232" y="14326"/>
                        <a:pt x="1253" y="14323"/>
                        <a:pt x="1274" y="14323"/>
                      </a:cubicBezTo>
                      <a:lnTo>
                        <a:pt x="1350" y="14340"/>
                      </a:lnTo>
                      <a:cubicBezTo>
                        <a:pt x="1439" y="14380"/>
                        <a:pt x="1695" y="14686"/>
                        <a:pt x="1662" y="15015"/>
                      </a:cubicBezTo>
                      <a:cubicBezTo>
                        <a:pt x="1656" y="15074"/>
                        <a:pt x="1646" y="15125"/>
                        <a:pt x="1636" y="15165"/>
                      </a:cubicBezTo>
                      <a:cubicBezTo>
                        <a:pt x="1637" y="15169"/>
                        <a:pt x="1638" y="15172"/>
                        <a:pt x="1640" y="15176"/>
                      </a:cubicBezTo>
                      <a:cubicBezTo>
                        <a:pt x="1644" y="15193"/>
                        <a:pt x="1650" y="15211"/>
                        <a:pt x="1656" y="15229"/>
                      </a:cubicBezTo>
                      <a:cubicBezTo>
                        <a:pt x="1669" y="15235"/>
                        <a:pt x="1683" y="15242"/>
                        <a:pt x="1697" y="15248"/>
                      </a:cubicBezTo>
                      <a:cubicBezTo>
                        <a:pt x="1713" y="15256"/>
                        <a:pt x="1730" y="15266"/>
                        <a:pt x="1746" y="15272"/>
                      </a:cubicBezTo>
                      <a:cubicBezTo>
                        <a:pt x="1866" y="15226"/>
                        <a:pt x="2124" y="15166"/>
                        <a:pt x="2234" y="15166"/>
                      </a:cubicBezTo>
                      <a:lnTo>
                        <a:pt x="2303" y="15166"/>
                      </a:lnTo>
                      <a:lnTo>
                        <a:pt x="2394" y="15228"/>
                      </a:lnTo>
                      <a:cubicBezTo>
                        <a:pt x="2449" y="15280"/>
                        <a:pt x="2734" y="15695"/>
                        <a:pt x="2778" y="15857"/>
                      </a:cubicBezTo>
                      <a:lnTo>
                        <a:pt x="2829" y="15940"/>
                      </a:lnTo>
                      <a:cubicBezTo>
                        <a:pt x="2909" y="16043"/>
                        <a:pt x="2980" y="16133"/>
                        <a:pt x="3004" y="16277"/>
                      </a:cubicBezTo>
                      <a:cubicBezTo>
                        <a:pt x="3015" y="16341"/>
                        <a:pt x="3015" y="16407"/>
                        <a:pt x="3016" y="16484"/>
                      </a:cubicBezTo>
                      <a:cubicBezTo>
                        <a:pt x="3016" y="16524"/>
                        <a:pt x="3015" y="16569"/>
                        <a:pt x="3019" y="16600"/>
                      </a:cubicBezTo>
                      <a:cubicBezTo>
                        <a:pt x="3058" y="16716"/>
                        <a:pt x="3071" y="16788"/>
                        <a:pt x="3073" y="16849"/>
                      </a:cubicBezTo>
                      <a:cubicBezTo>
                        <a:pt x="3130" y="16957"/>
                        <a:pt x="3167" y="17126"/>
                        <a:pt x="3167" y="17232"/>
                      </a:cubicBezTo>
                      <a:cubicBezTo>
                        <a:pt x="3167" y="17332"/>
                        <a:pt x="3138" y="17413"/>
                        <a:pt x="3110" y="17479"/>
                      </a:cubicBezTo>
                      <a:cubicBezTo>
                        <a:pt x="3152" y="17612"/>
                        <a:pt x="3185" y="17778"/>
                        <a:pt x="3108" y="17932"/>
                      </a:cubicBezTo>
                      <a:cubicBezTo>
                        <a:pt x="3098" y="17951"/>
                        <a:pt x="3083" y="17982"/>
                        <a:pt x="3068" y="18015"/>
                      </a:cubicBezTo>
                      <a:cubicBezTo>
                        <a:pt x="3099" y="18110"/>
                        <a:pt x="3124" y="18234"/>
                        <a:pt x="3107" y="18377"/>
                      </a:cubicBezTo>
                      <a:cubicBezTo>
                        <a:pt x="3095" y="18482"/>
                        <a:pt x="3061" y="18594"/>
                        <a:pt x="3024" y="18712"/>
                      </a:cubicBezTo>
                      <a:cubicBezTo>
                        <a:pt x="3014" y="18745"/>
                        <a:pt x="3004" y="18777"/>
                        <a:pt x="2995" y="18807"/>
                      </a:cubicBezTo>
                      <a:cubicBezTo>
                        <a:pt x="3039" y="18875"/>
                        <a:pt x="3138" y="19030"/>
                        <a:pt x="3171" y="19067"/>
                      </a:cubicBezTo>
                      <a:cubicBezTo>
                        <a:pt x="3192" y="19058"/>
                        <a:pt x="3255" y="19069"/>
                        <a:pt x="3321" y="19129"/>
                      </a:cubicBezTo>
                      <a:lnTo>
                        <a:pt x="3360" y="19164"/>
                      </a:lnTo>
                      <a:cubicBezTo>
                        <a:pt x="3541" y="19325"/>
                        <a:pt x="3633" y="19414"/>
                        <a:pt x="3686" y="19487"/>
                      </a:cubicBezTo>
                      <a:cubicBezTo>
                        <a:pt x="3831" y="19468"/>
                        <a:pt x="3949" y="19554"/>
                        <a:pt x="3999" y="19628"/>
                      </a:cubicBezTo>
                      <a:cubicBezTo>
                        <a:pt x="4027" y="19671"/>
                        <a:pt x="4047" y="19713"/>
                        <a:pt x="4060" y="19748"/>
                      </a:cubicBezTo>
                      <a:cubicBezTo>
                        <a:pt x="4096" y="19758"/>
                        <a:pt x="4150" y="19770"/>
                        <a:pt x="4192" y="19770"/>
                      </a:cubicBezTo>
                      <a:cubicBezTo>
                        <a:pt x="4266" y="19708"/>
                        <a:pt x="4366" y="19656"/>
                        <a:pt x="4450" y="19656"/>
                      </a:cubicBezTo>
                      <a:cubicBezTo>
                        <a:pt x="4508" y="19661"/>
                        <a:pt x="4541" y="19675"/>
                        <a:pt x="4570" y="19687"/>
                      </a:cubicBezTo>
                      <a:cubicBezTo>
                        <a:pt x="4661" y="19651"/>
                        <a:pt x="4795" y="19612"/>
                        <a:pt x="4813" y="19609"/>
                      </a:cubicBezTo>
                      <a:cubicBezTo>
                        <a:pt x="4838" y="19603"/>
                        <a:pt x="4874" y="19600"/>
                        <a:pt x="4912" y="19599"/>
                      </a:cubicBezTo>
                      <a:cubicBezTo>
                        <a:pt x="4950" y="19552"/>
                        <a:pt x="5009" y="19501"/>
                        <a:pt x="5093" y="19497"/>
                      </a:cubicBezTo>
                      <a:lnTo>
                        <a:pt x="5108" y="19496"/>
                      </a:lnTo>
                      <a:cubicBezTo>
                        <a:pt x="5164" y="19417"/>
                        <a:pt x="5286" y="19278"/>
                        <a:pt x="5458" y="19275"/>
                      </a:cubicBezTo>
                      <a:cubicBezTo>
                        <a:pt x="5584" y="19275"/>
                        <a:pt x="5717" y="19349"/>
                        <a:pt x="5854" y="19430"/>
                      </a:cubicBezTo>
                      <a:cubicBezTo>
                        <a:pt x="5868" y="19438"/>
                        <a:pt x="5881" y="19446"/>
                        <a:pt x="5891" y="19452"/>
                      </a:cubicBezTo>
                      <a:cubicBezTo>
                        <a:pt x="5916" y="19452"/>
                        <a:pt x="5953" y="19455"/>
                        <a:pt x="5993" y="19457"/>
                      </a:cubicBezTo>
                      <a:cubicBezTo>
                        <a:pt x="6031" y="19460"/>
                        <a:pt x="6072" y="19463"/>
                        <a:pt x="6105" y="19463"/>
                      </a:cubicBezTo>
                      <a:cubicBezTo>
                        <a:pt x="6320" y="19416"/>
                        <a:pt x="6434" y="19418"/>
                        <a:pt x="6537" y="19511"/>
                      </a:cubicBezTo>
                      <a:cubicBezTo>
                        <a:pt x="6576" y="19546"/>
                        <a:pt x="6612" y="19592"/>
                        <a:pt x="6647" y="19639"/>
                      </a:cubicBezTo>
                      <a:cubicBezTo>
                        <a:pt x="6661" y="19658"/>
                        <a:pt x="6683" y="19687"/>
                        <a:pt x="6691" y="19695"/>
                      </a:cubicBezTo>
                      <a:cubicBezTo>
                        <a:pt x="6706" y="19696"/>
                        <a:pt x="6753" y="19699"/>
                        <a:pt x="6799" y="19702"/>
                      </a:cubicBezTo>
                      <a:cubicBezTo>
                        <a:pt x="6924" y="19713"/>
                        <a:pt x="7007" y="19721"/>
                        <a:pt x="7078" y="19794"/>
                      </a:cubicBezTo>
                      <a:cubicBezTo>
                        <a:pt x="7099" y="19816"/>
                        <a:pt x="7130" y="19857"/>
                        <a:pt x="7162" y="19906"/>
                      </a:cubicBezTo>
                      <a:cubicBezTo>
                        <a:pt x="7179" y="19932"/>
                        <a:pt x="7197" y="19963"/>
                        <a:pt x="7215" y="19982"/>
                      </a:cubicBezTo>
                      <a:cubicBezTo>
                        <a:pt x="7349" y="20092"/>
                        <a:pt x="7405" y="20143"/>
                        <a:pt x="7444" y="20224"/>
                      </a:cubicBezTo>
                      <a:cubicBezTo>
                        <a:pt x="7461" y="20259"/>
                        <a:pt x="7472" y="20300"/>
                        <a:pt x="7480" y="20342"/>
                      </a:cubicBezTo>
                      <a:cubicBezTo>
                        <a:pt x="7562" y="20294"/>
                        <a:pt x="7674" y="20269"/>
                        <a:pt x="7773" y="20309"/>
                      </a:cubicBezTo>
                      <a:lnTo>
                        <a:pt x="7875" y="20352"/>
                      </a:lnTo>
                      <a:cubicBezTo>
                        <a:pt x="7889" y="20360"/>
                        <a:pt x="7921" y="20355"/>
                        <a:pt x="7957" y="20355"/>
                      </a:cubicBezTo>
                      <a:cubicBezTo>
                        <a:pt x="8045" y="20355"/>
                        <a:pt x="8112" y="20381"/>
                        <a:pt x="8162" y="20436"/>
                      </a:cubicBezTo>
                      <a:cubicBezTo>
                        <a:pt x="8213" y="20399"/>
                        <a:pt x="8272" y="20362"/>
                        <a:pt x="8342" y="20343"/>
                      </a:cubicBezTo>
                      <a:cubicBezTo>
                        <a:pt x="8376" y="20334"/>
                        <a:pt x="8429" y="20326"/>
                        <a:pt x="8487" y="20318"/>
                      </a:cubicBezTo>
                      <a:cubicBezTo>
                        <a:pt x="8542" y="20310"/>
                        <a:pt x="8657" y="20295"/>
                        <a:pt x="8691" y="20276"/>
                      </a:cubicBezTo>
                      <a:lnTo>
                        <a:pt x="8741" y="20239"/>
                      </a:lnTo>
                      <a:cubicBezTo>
                        <a:pt x="8805" y="20189"/>
                        <a:pt x="8884" y="20127"/>
                        <a:pt x="8987" y="20127"/>
                      </a:cubicBezTo>
                      <a:lnTo>
                        <a:pt x="9077" y="20143"/>
                      </a:lnTo>
                      <a:cubicBezTo>
                        <a:pt x="9190" y="20185"/>
                        <a:pt x="9379" y="20342"/>
                        <a:pt x="9452" y="20482"/>
                      </a:cubicBezTo>
                      <a:cubicBezTo>
                        <a:pt x="9476" y="20525"/>
                        <a:pt x="9491" y="20572"/>
                        <a:pt x="9503" y="20611"/>
                      </a:cubicBezTo>
                      <a:cubicBezTo>
                        <a:pt x="9581" y="20615"/>
                        <a:pt x="9693" y="20614"/>
                        <a:pt x="9740" y="20601"/>
                      </a:cubicBezTo>
                      <a:cubicBezTo>
                        <a:pt x="9831" y="20577"/>
                        <a:pt x="9970" y="20567"/>
                        <a:pt x="10001" y="20567"/>
                      </a:cubicBezTo>
                      <a:lnTo>
                        <a:pt x="10044" y="20567"/>
                      </a:lnTo>
                      <a:lnTo>
                        <a:pt x="10118" y="20604"/>
                      </a:lnTo>
                      <a:cubicBezTo>
                        <a:pt x="10120" y="20610"/>
                        <a:pt x="10142" y="20586"/>
                        <a:pt x="10168" y="20563"/>
                      </a:cubicBezTo>
                      <a:cubicBezTo>
                        <a:pt x="10239" y="20502"/>
                        <a:pt x="10319" y="20432"/>
                        <a:pt x="10406" y="20410"/>
                      </a:cubicBezTo>
                      <a:cubicBezTo>
                        <a:pt x="10445" y="20400"/>
                        <a:pt x="10496" y="20397"/>
                        <a:pt x="10553" y="20396"/>
                      </a:cubicBezTo>
                      <a:cubicBezTo>
                        <a:pt x="10606" y="20394"/>
                        <a:pt x="10680" y="20392"/>
                        <a:pt x="10713" y="20374"/>
                      </a:cubicBezTo>
                      <a:cubicBezTo>
                        <a:pt x="10851" y="20298"/>
                        <a:pt x="10915" y="20289"/>
                        <a:pt x="11023" y="20280"/>
                      </a:cubicBezTo>
                      <a:cubicBezTo>
                        <a:pt x="11044" y="20278"/>
                        <a:pt x="11074" y="20277"/>
                        <a:pt x="11110" y="20277"/>
                      </a:cubicBezTo>
                      <a:cubicBezTo>
                        <a:pt x="11110" y="20277"/>
                        <a:pt x="11110" y="20277"/>
                        <a:pt x="11110" y="20277"/>
                      </a:cubicBezTo>
                      <a:cubicBezTo>
                        <a:pt x="11195" y="20277"/>
                        <a:pt x="11359" y="20283"/>
                        <a:pt x="11506" y="20306"/>
                      </a:cubicBezTo>
                      <a:cubicBezTo>
                        <a:pt x="11555" y="20313"/>
                        <a:pt x="11601" y="20322"/>
                        <a:pt x="11643" y="20333"/>
                      </a:cubicBezTo>
                      <a:cubicBezTo>
                        <a:pt x="11697" y="20348"/>
                        <a:pt x="11737" y="20355"/>
                        <a:pt x="11768" y="20355"/>
                      </a:cubicBezTo>
                      <a:lnTo>
                        <a:pt x="11787" y="20327"/>
                      </a:lnTo>
                      <a:cubicBezTo>
                        <a:pt x="11963" y="20114"/>
                        <a:pt x="12057" y="20013"/>
                        <a:pt x="12172" y="20013"/>
                      </a:cubicBezTo>
                      <a:lnTo>
                        <a:pt x="12265" y="20039"/>
                      </a:lnTo>
                      <a:cubicBezTo>
                        <a:pt x="12314" y="20068"/>
                        <a:pt x="12354" y="20114"/>
                        <a:pt x="12397" y="20164"/>
                      </a:cubicBezTo>
                      <a:cubicBezTo>
                        <a:pt x="12403" y="20172"/>
                        <a:pt x="12410" y="20180"/>
                        <a:pt x="12417" y="20189"/>
                      </a:cubicBezTo>
                      <a:cubicBezTo>
                        <a:pt x="12464" y="20165"/>
                        <a:pt x="12512" y="20148"/>
                        <a:pt x="12569" y="20148"/>
                      </a:cubicBezTo>
                      <a:cubicBezTo>
                        <a:pt x="12643" y="20155"/>
                        <a:pt x="12682" y="20167"/>
                        <a:pt x="12721" y="20182"/>
                      </a:cubicBezTo>
                      <a:cubicBezTo>
                        <a:pt x="12747" y="20191"/>
                        <a:pt x="12767" y="20199"/>
                        <a:pt x="12782" y="20199"/>
                      </a:cubicBezTo>
                      <a:cubicBezTo>
                        <a:pt x="12785" y="20189"/>
                        <a:pt x="12832" y="20161"/>
                        <a:pt x="12902" y="20161"/>
                      </a:cubicBezTo>
                      <a:cubicBezTo>
                        <a:pt x="12928" y="20161"/>
                        <a:pt x="12965" y="20165"/>
                        <a:pt x="13019" y="20179"/>
                      </a:cubicBezTo>
                      <a:cubicBezTo>
                        <a:pt x="13115" y="20204"/>
                        <a:pt x="13200" y="20254"/>
                        <a:pt x="13269" y="20294"/>
                      </a:cubicBezTo>
                      <a:cubicBezTo>
                        <a:pt x="13298" y="20311"/>
                        <a:pt x="13324" y="20327"/>
                        <a:pt x="13344" y="20334"/>
                      </a:cubicBezTo>
                      <a:cubicBezTo>
                        <a:pt x="13371" y="20335"/>
                        <a:pt x="13405" y="20337"/>
                        <a:pt x="13445" y="20337"/>
                      </a:cubicBezTo>
                      <a:cubicBezTo>
                        <a:pt x="13622" y="20337"/>
                        <a:pt x="13672" y="20289"/>
                        <a:pt x="13672" y="20289"/>
                      </a:cubicBezTo>
                      <a:lnTo>
                        <a:pt x="13723" y="20238"/>
                      </a:lnTo>
                      <a:cubicBezTo>
                        <a:pt x="13805" y="20156"/>
                        <a:pt x="13833" y="20129"/>
                        <a:pt x="13896" y="20109"/>
                      </a:cubicBezTo>
                      <a:lnTo>
                        <a:pt x="13981" y="20097"/>
                      </a:lnTo>
                      <a:cubicBezTo>
                        <a:pt x="14036" y="20097"/>
                        <a:pt x="14120" y="20110"/>
                        <a:pt x="14120" y="20110"/>
                      </a:cubicBezTo>
                      <a:lnTo>
                        <a:pt x="19604" y="21600"/>
                      </a:lnTo>
                      <a:cubicBezTo>
                        <a:pt x="19603" y="21593"/>
                        <a:pt x="19604" y="21588"/>
                        <a:pt x="19603" y="21581"/>
                      </a:cubicBezTo>
                      <a:cubicBezTo>
                        <a:pt x="19597" y="21544"/>
                        <a:pt x="19595" y="21510"/>
                        <a:pt x="19596" y="21487"/>
                      </a:cubicBezTo>
                      <a:cubicBezTo>
                        <a:pt x="19599" y="21358"/>
                        <a:pt x="19648" y="21256"/>
                        <a:pt x="19740" y="21186"/>
                      </a:cubicBezTo>
                      <a:cubicBezTo>
                        <a:pt x="19750" y="21151"/>
                        <a:pt x="19764" y="21112"/>
                        <a:pt x="19784" y="21071"/>
                      </a:cubicBezTo>
                      <a:cubicBezTo>
                        <a:pt x="19788" y="21062"/>
                        <a:pt x="19792" y="21053"/>
                        <a:pt x="19797" y="21044"/>
                      </a:cubicBezTo>
                      <a:cubicBezTo>
                        <a:pt x="19758" y="20961"/>
                        <a:pt x="19719" y="20854"/>
                        <a:pt x="19738" y="20721"/>
                      </a:cubicBezTo>
                      <a:cubicBezTo>
                        <a:pt x="19746" y="20665"/>
                        <a:pt x="19761" y="20619"/>
                        <a:pt x="19777" y="20583"/>
                      </a:cubicBezTo>
                      <a:cubicBezTo>
                        <a:pt x="19776" y="20579"/>
                        <a:pt x="19775" y="20576"/>
                        <a:pt x="19774" y="20572"/>
                      </a:cubicBezTo>
                      <a:lnTo>
                        <a:pt x="19663" y="20382"/>
                      </a:lnTo>
                      <a:lnTo>
                        <a:pt x="19690" y="20301"/>
                      </a:lnTo>
                      <a:cubicBezTo>
                        <a:pt x="19657" y="20241"/>
                        <a:pt x="19642" y="20179"/>
                        <a:pt x="19637" y="20125"/>
                      </a:cubicBezTo>
                      <a:cubicBezTo>
                        <a:pt x="19561" y="20013"/>
                        <a:pt x="19567" y="19878"/>
                        <a:pt x="19572" y="19827"/>
                      </a:cubicBezTo>
                      <a:cubicBezTo>
                        <a:pt x="19581" y="19740"/>
                        <a:pt x="19594" y="19605"/>
                        <a:pt x="19661" y="19497"/>
                      </a:cubicBezTo>
                      <a:cubicBezTo>
                        <a:pt x="19673" y="19461"/>
                        <a:pt x="19683" y="19413"/>
                        <a:pt x="19688" y="19387"/>
                      </a:cubicBezTo>
                      <a:cubicBezTo>
                        <a:pt x="19696" y="19347"/>
                        <a:pt x="19703" y="19292"/>
                        <a:pt x="19706" y="19269"/>
                      </a:cubicBezTo>
                      <a:cubicBezTo>
                        <a:pt x="19707" y="19264"/>
                        <a:pt x="19708" y="19251"/>
                        <a:pt x="19708" y="19251"/>
                      </a:cubicBezTo>
                      <a:lnTo>
                        <a:pt x="21600" y="4615"/>
                      </a:lnTo>
                      <a:cubicBezTo>
                        <a:pt x="16507" y="3295"/>
                        <a:pt x="11363" y="1744"/>
                        <a:pt x="6300" y="0"/>
                      </a:cubicBezTo>
                      <a:cubicBezTo>
                        <a:pt x="6300" y="23"/>
                        <a:pt x="6300" y="47"/>
                        <a:pt x="6299" y="72"/>
                      </a:cubicBezTo>
                      <a:cubicBezTo>
                        <a:pt x="6298" y="164"/>
                        <a:pt x="6284" y="246"/>
                        <a:pt x="6258" y="314"/>
                      </a:cubicBezTo>
                      <a:cubicBezTo>
                        <a:pt x="6284" y="366"/>
                        <a:pt x="6303" y="430"/>
                        <a:pt x="6303" y="512"/>
                      </a:cubicBezTo>
                      <a:cubicBezTo>
                        <a:pt x="6303" y="559"/>
                        <a:pt x="6302" y="600"/>
                        <a:pt x="6301" y="637"/>
                      </a:cubicBezTo>
                      <a:lnTo>
                        <a:pt x="6322" y="674"/>
                      </a:lnTo>
                      <a:cubicBezTo>
                        <a:pt x="6332" y="697"/>
                        <a:pt x="6340" y="720"/>
                        <a:pt x="6346" y="740"/>
                      </a:cubicBezTo>
                      <a:cubicBezTo>
                        <a:pt x="6351" y="748"/>
                        <a:pt x="6357" y="756"/>
                        <a:pt x="6362" y="764"/>
                      </a:cubicBezTo>
                      <a:cubicBezTo>
                        <a:pt x="6367" y="764"/>
                        <a:pt x="6373" y="763"/>
                        <a:pt x="6378" y="763"/>
                      </a:cubicBezTo>
                      <a:lnTo>
                        <a:pt x="6425" y="769"/>
                      </a:lnTo>
                      <a:cubicBezTo>
                        <a:pt x="6512" y="788"/>
                        <a:pt x="6676" y="822"/>
                        <a:pt x="6726" y="1009"/>
                      </a:cubicBezTo>
                      <a:cubicBezTo>
                        <a:pt x="6774" y="1068"/>
                        <a:pt x="6850" y="1186"/>
                        <a:pt x="6835" y="1362"/>
                      </a:cubicBezTo>
                      <a:cubicBezTo>
                        <a:pt x="6822" y="1486"/>
                        <a:pt x="6754" y="1595"/>
                        <a:pt x="6688" y="1671"/>
                      </a:cubicBezTo>
                      <a:cubicBezTo>
                        <a:pt x="6690" y="1712"/>
                        <a:pt x="6692" y="1756"/>
                        <a:pt x="6695" y="1794"/>
                      </a:cubicBezTo>
                      <a:cubicBezTo>
                        <a:pt x="6705" y="1815"/>
                        <a:pt x="6716" y="1838"/>
                        <a:pt x="6725" y="1861"/>
                      </a:cubicBezTo>
                      <a:cubicBezTo>
                        <a:pt x="6788" y="1967"/>
                        <a:pt x="6899" y="2160"/>
                        <a:pt x="6817" y="2382"/>
                      </a:cubicBezTo>
                      <a:cubicBezTo>
                        <a:pt x="6794" y="2452"/>
                        <a:pt x="6739" y="2620"/>
                        <a:pt x="6612" y="2690"/>
                      </a:cubicBezTo>
                      <a:cubicBezTo>
                        <a:pt x="6612" y="2707"/>
                        <a:pt x="6610" y="2723"/>
                        <a:pt x="6608" y="2738"/>
                      </a:cubicBezTo>
                      <a:cubicBezTo>
                        <a:pt x="6604" y="2773"/>
                        <a:pt x="6599" y="2862"/>
                        <a:pt x="6598" y="2886"/>
                      </a:cubicBezTo>
                      <a:cubicBezTo>
                        <a:pt x="6598" y="3023"/>
                        <a:pt x="6517" y="3230"/>
                        <a:pt x="6383" y="3286"/>
                      </a:cubicBezTo>
                      <a:cubicBezTo>
                        <a:pt x="6412" y="3317"/>
                        <a:pt x="6441" y="3361"/>
                        <a:pt x="6460" y="3423"/>
                      </a:cubicBezTo>
                      <a:lnTo>
                        <a:pt x="6444" y="3443"/>
                      </a:lnTo>
                      <a:cubicBezTo>
                        <a:pt x="6437" y="3436"/>
                        <a:pt x="6429" y="3428"/>
                        <a:pt x="6420" y="3420"/>
                      </a:cubicBezTo>
                      <a:cubicBezTo>
                        <a:pt x="6421" y="3421"/>
                        <a:pt x="6429" y="3429"/>
                        <a:pt x="6443" y="3444"/>
                      </a:cubicBezTo>
                      <a:lnTo>
                        <a:pt x="6312" y="3604"/>
                      </a:lnTo>
                      <a:cubicBezTo>
                        <a:pt x="6314" y="3608"/>
                        <a:pt x="6316" y="3613"/>
                        <a:pt x="6318" y="3618"/>
                      </a:cubicBezTo>
                      <a:lnTo>
                        <a:pt x="6480" y="3500"/>
                      </a:lnTo>
                      <a:cubicBezTo>
                        <a:pt x="6480" y="3500"/>
                        <a:pt x="6472" y="3479"/>
                        <a:pt x="6453" y="3454"/>
                      </a:cubicBezTo>
                      <a:cubicBezTo>
                        <a:pt x="6522" y="3528"/>
                        <a:pt x="6675" y="3712"/>
                        <a:pt x="6686" y="3894"/>
                      </a:cubicBezTo>
                      <a:cubicBezTo>
                        <a:pt x="6703" y="4036"/>
                        <a:pt x="6728" y="4242"/>
                        <a:pt x="6605" y="4372"/>
                      </a:cubicBezTo>
                      <a:cubicBezTo>
                        <a:pt x="6598" y="4379"/>
                        <a:pt x="6586" y="4392"/>
                        <a:pt x="6574" y="4406"/>
                      </a:cubicBezTo>
                      <a:cubicBezTo>
                        <a:pt x="6615" y="4502"/>
                        <a:pt x="6643" y="4575"/>
                        <a:pt x="6643" y="4673"/>
                      </a:cubicBezTo>
                      <a:cubicBezTo>
                        <a:pt x="6643" y="4770"/>
                        <a:pt x="6615" y="4842"/>
                        <a:pt x="6585" y="4919"/>
                      </a:cubicBezTo>
                      <a:lnTo>
                        <a:pt x="6558" y="5050"/>
                      </a:lnTo>
                      <a:cubicBezTo>
                        <a:pt x="6560" y="5055"/>
                        <a:pt x="6562" y="5060"/>
                        <a:pt x="6564" y="5064"/>
                      </a:cubicBezTo>
                      <a:cubicBezTo>
                        <a:pt x="6611" y="5168"/>
                        <a:pt x="6644" y="5246"/>
                        <a:pt x="6659" y="5326"/>
                      </a:cubicBezTo>
                      <a:cubicBezTo>
                        <a:pt x="6871" y="5548"/>
                        <a:pt x="6849" y="5777"/>
                        <a:pt x="6817" y="5895"/>
                      </a:cubicBezTo>
                      <a:cubicBezTo>
                        <a:pt x="6804" y="5944"/>
                        <a:pt x="6793" y="5983"/>
                        <a:pt x="6786" y="6011"/>
                      </a:cubicBezTo>
                      <a:cubicBezTo>
                        <a:pt x="6781" y="6141"/>
                        <a:pt x="6718" y="6276"/>
                        <a:pt x="6671" y="6330"/>
                      </a:cubicBezTo>
                      <a:cubicBezTo>
                        <a:pt x="6613" y="6398"/>
                        <a:pt x="6523" y="6418"/>
                        <a:pt x="6474" y="6424"/>
                      </a:cubicBezTo>
                      <a:cubicBezTo>
                        <a:pt x="6468" y="6439"/>
                        <a:pt x="6459" y="6461"/>
                        <a:pt x="6449" y="6485"/>
                      </a:cubicBezTo>
                      <a:cubicBezTo>
                        <a:pt x="6432" y="6525"/>
                        <a:pt x="6411" y="6577"/>
                        <a:pt x="6401" y="6606"/>
                      </a:cubicBezTo>
                      <a:cubicBezTo>
                        <a:pt x="6390" y="6690"/>
                        <a:pt x="6366" y="6838"/>
                        <a:pt x="6271" y="6921"/>
                      </a:cubicBezTo>
                      <a:cubicBezTo>
                        <a:pt x="6212" y="6967"/>
                        <a:pt x="6178" y="6997"/>
                        <a:pt x="6160" y="7015"/>
                      </a:cubicBezTo>
                      <a:cubicBezTo>
                        <a:pt x="6160" y="7042"/>
                        <a:pt x="6162" y="7072"/>
                        <a:pt x="6163" y="7103"/>
                      </a:cubicBezTo>
                      <a:cubicBezTo>
                        <a:pt x="6171" y="7284"/>
                        <a:pt x="6178" y="7472"/>
                        <a:pt x="6072" y="7599"/>
                      </a:cubicBezTo>
                      <a:cubicBezTo>
                        <a:pt x="6054" y="7619"/>
                        <a:pt x="6025" y="7656"/>
                        <a:pt x="5995" y="7694"/>
                      </a:cubicBezTo>
                      <a:cubicBezTo>
                        <a:pt x="5998" y="7700"/>
                        <a:pt x="6001" y="7706"/>
                        <a:pt x="6004" y="7713"/>
                      </a:cubicBezTo>
                      <a:cubicBezTo>
                        <a:pt x="6055" y="7797"/>
                        <a:pt x="6150" y="7917"/>
                        <a:pt x="6130" y="8109"/>
                      </a:cubicBezTo>
                      <a:cubicBezTo>
                        <a:pt x="6120" y="8209"/>
                        <a:pt x="6038" y="8444"/>
                        <a:pt x="5897" y="8498"/>
                      </a:cubicBezTo>
                      <a:cubicBezTo>
                        <a:pt x="5896" y="8507"/>
                        <a:pt x="5894" y="8516"/>
                        <a:pt x="5893" y="8523"/>
                      </a:cubicBezTo>
                      <a:lnTo>
                        <a:pt x="5892" y="8527"/>
                      </a:lnTo>
                      <a:cubicBezTo>
                        <a:pt x="5921" y="8584"/>
                        <a:pt x="5946" y="8657"/>
                        <a:pt x="5949" y="8745"/>
                      </a:cubicBezTo>
                      <a:cubicBezTo>
                        <a:pt x="5953" y="8819"/>
                        <a:pt x="5940" y="8881"/>
                        <a:pt x="5920" y="8934"/>
                      </a:cubicBezTo>
                      <a:cubicBezTo>
                        <a:pt x="5939" y="9008"/>
                        <a:pt x="5934" y="9075"/>
                        <a:pt x="5924" y="9127"/>
                      </a:cubicBezTo>
                      <a:cubicBezTo>
                        <a:pt x="5956" y="9263"/>
                        <a:pt x="5984" y="9460"/>
                        <a:pt x="5925" y="9604"/>
                      </a:cubicBezTo>
                      <a:cubicBezTo>
                        <a:pt x="5847" y="9792"/>
                        <a:pt x="5771" y="9919"/>
                        <a:pt x="5652" y="9937"/>
                      </a:cubicBezTo>
                      <a:lnTo>
                        <a:pt x="5589" y="9940"/>
                      </a:lnTo>
                      <a:cubicBezTo>
                        <a:pt x="5583" y="9941"/>
                        <a:pt x="5576" y="9941"/>
                        <a:pt x="5569" y="9941"/>
                      </a:cubicBezTo>
                      <a:cubicBezTo>
                        <a:pt x="5560" y="9975"/>
                        <a:pt x="5548" y="10017"/>
                        <a:pt x="5530" y="10072"/>
                      </a:cubicBezTo>
                      <a:lnTo>
                        <a:pt x="5496" y="10147"/>
                      </a:lnTo>
                      <a:lnTo>
                        <a:pt x="5428" y="10260"/>
                      </a:lnTo>
                      <a:lnTo>
                        <a:pt x="5293" y="10278"/>
                      </a:lnTo>
                      <a:cubicBezTo>
                        <a:pt x="5238" y="10278"/>
                        <a:pt x="5157" y="10255"/>
                        <a:pt x="5079" y="10144"/>
                      </a:cubicBezTo>
                      <a:cubicBezTo>
                        <a:pt x="5007" y="10040"/>
                        <a:pt x="4963" y="9953"/>
                        <a:pt x="4936" y="9881"/>
                      </a:cubicBezTo>
                      <a:lnTo>
                        <a:pt x="4894" y="9881"/>
                      </a:lnTo>
                      <a:lnTo>
                        <a:pt x="4741" y="9666"/>
                      </a:lnTo>
                      <a:lnTo>
                        <a:pt x="4746" y="9512"/>
                      </a:lnTo>
                      <a:cubicBezTo>
                        <a:pt x="4745" y="9403"/>
                        <a:pt x="4780" y="9333"/>
                        <a:pt x="4809" y="9276"/>
                      </a:cubicBezTo>
                      <a:cubicBezTo>
                        <a:pt x="4972" y="8952"/>
                        <a:pt x="5065" y="8952"/>
                        <a:pt x="5115" y="8952"/>
                      </a:cubicBezTo>
                      <a:lnTo>
                        <a:pt x="5211" y="8952"/>
                      </a:lnTo>
                      <a:cubicBezTo>
                        <a:pt x="5214" y="8913"/>
                        <a:pt x="5220" y="8874"/>
                        <a:pt x="5232" y="8836"/>
                      </a:cubicBezTo>
                      <a:lnTo>
                        <a:pt x="5222" y="8787"/>
                      </a:lnTo>
                      <a:cubicBezTo>
                        <a:pt x="5214" y="8755"/>
                        <a:pt x="5209" y="8724"/>
                        <a:pt x="5206" y="8693"/>
                      </a:cubicBezTo>
                      <a:cubicBezTo>
                        <a:pt x="5160" y="8670"/>
                        <a:pt x="5103" y="8627"/>
                        <a:pt x="5066" y="8532"/>
                      </a:cubicBezTo>
                      <a:lnTo>
                        <a:pt x="5017" y="8410"/>
                      </a:lnTo>
                      <a:lnTo>
                        <a:pt x="5046" y="8267"/>
                      </a:lnTo>
                      <a:cubicBezTo>
                        <a:pt x="5041" y="8143"/>
                        <a:pt x="5045" y="7909"/>
                        <a:pt x="5200" y="7815"/>
                      </a:cubicBezTo>
                      <a:cubicBezTo>
                        <a:pt x="5202" y="7814"/>
                        <a:pt x="5204" y="7813"/>
                        <a:pt x="5206" y="7812"/>
                      </a:cubicBezTo>
                      <a:cubicBezTo>
                        <a:pt x="5208" y="7800"/>
                        <a:pt x="5211" y="7787"/>
                        <a:pt x="5214" y="7775"/>
                      </a:cubicBezTo>
                      <a:cubicBezTo>
                        <a:pt x="5188" y="7672"/>
                        <a:pt x="5207" y="7574"/>
                        <a:pt x="5225" y="7517"/>
                      </a:cubicBezTo>
                      <a:lnTo>
                        <a:pt x="5248" y="7458"/>
                      </a:lnTo>
                      <a:cubicBezTo>
                        <a:pt x="5217" y="7397"/>
                        <a:pt x="5202" y="7328"/>
                        <a:pt x="5202" y="7250"/>
                      </a:cubicBezTo>
                      <a:cubicBezTo>
                        <a:pt x="5199" y="7186"/>
                        <a:pt x="5195" y="7120"/>
                        <a:pt x="5200" y="7054"/>
                      </a:cubicBezTo>
                      <a:lnTo>
                        <a:pt x="5159" y="7057"/>
                      </a:lnTo>
                      <a:cubicBezTo>
                        <a:pt x="5111" y="7145"/>
                        <a:pt x="5038" y="7252"/>
                        <a:pt x="4921" y="7252"/>
                      </a:cubicBezTo>
                      <a:cubicBezTo>
                        <a:pt x="4898" y="7257"/>
                        <a:pt x="4879" y="7259"/>
                        <a:pt x="4863" y="7259"/>
                      </a:cubicBezTo>
                      <a:lnTo>
                        <a:pt x="4762" y="7259"/>
                      </a:lnTo>
                      <a:lnTo>
                        <a:pt x="4613" y="7041"/>
                      </a:lnTo>
                      <a:lnTo>
                        <a:pt x="4621" y="6884"/>
                      </a:lnTo>
                      <a:cubicBezTo>
                        <a:pt x="4627" y="6807"/>
                        <a:pt x="4648" y="6750"/>
                        <a:pt x="4676" y="6671"/>
                      </a:cubicBezTo>
                      <a:cubicBezTo>
                        <a:pt x="4679" y="6661"/>
                        <a:pt x="4683" y="6651"/>
                        <a:pt x="4687" y="6641"/>
                      </a:cubicBezTo>
                      <a:lnTo>
                        <a:pt x="4676" y="6612"/>
                      </a:lnTo>
                      <a:lnTo>
                        <a:pt x="4700" y="6446"/>
                      </a:lnTo>
                      <a:cubicBezTo>
                        <a:pt x="4736" y="6298"/>
                        <a:pt x="4827" y="6238"/>
                        <a:pt x="4857" y="6218"/>
                      </a:cubicBezTo>
                      <a:cubicBezTo>
                        <a:pt x="4877" y="6205"/>
                        <a:pt x="4900" y="6192"/>
                        <a:pt x="4925" y="6179"/>
                      </a:cubicBezTo>
                      <a:cubicBezTo>
                        <a:pt x="4930" y="6149"/>
                        <a:pt x="4937" y="6120"/>
                        <a:pt x="4947" y="6091"/>
                      </a:cubicBezTo>
                      <a:lnTo>
                        <a:pt x="5031" y="5916"/>
                      </a:lnTo>
                      <a:cubicBezTo>
                        <a:pt x="5013" y="5853"/>
                        <a:pt x="5010" y="5789"/>
                        <a:pt x="5020" y="5723"/>
                      </a:cubicBezTo>
                      <a:cubicBezTo>
                        <a:pt x="4966" y="5622"/>
                        <a:pt x="4952" y="5518"/>
                        <a:pt x="4974" y="5407"/>
                      </a:cubicBezTo>
                      <a:cubicBezTo>
                        <a:pt x="4977" y="5396"/>
                        <a:pt x="4980" y="5384"/>
                        <a:pt x="4983" y="5370"/>
                      </a:cubicBezTo>
                      <a:cubicBezTo>
                        <a:pt x="4969" y="5354"/>
                        <a:pt x="4956" y="5335"/>
                        <a:pt x="4945" y="5315"/>
                      </a:cubicBezTo>
                      <a:cubicBezTo>
                        <a:pt x="4918" y="5330"/>
                        <a:pt x="4887" y="5341"/>
                        <a:pt x="4851" y="5341"/>
                      </a:cubicBezTo>
                      <a:lnTo>
                        <a:pt x="4741" y="5341"/>
                      </a:lnTo>
                      <a:lnTo>
                        <a:pt x="4641" y="5190"/>
                      </a:lnTo>
                      <a:cubicBezTo>
                        <a:pt x="4562" y="5117"/>
                        <a:pt x="4517" y="5043"/>
                        <a:pt x="4493" y="4973"/>
                      </a:cubicBezTo>
                      <a:cubicBezTo>
                        <a:pt x="4483" y="4975"/>
                        <a:pt x="4472" y="4976"/>
                        <a:pt x="4461" y="4976"/>
                      </a:cubicBezTo>
                      <a:lnTo>
                        <a:pt x="4320" y="4976"/>
                      </a:lnTo>
                      <a:lnTo>
                        <a:pt x="4236" y="4780"/>
                      </a:lnTo>
                      <a:cubicBezTo>
                        <a:pt x="4211" y="4707"/>
                        <a:pt x="4205" y="4646"/>
                        <a:pt x="4202" y="4614"/>
                      </a:cubicBezTo>
                      <a:cubicBezTo>
                        <a:pt x="4187" y="4567"/>
                        <a:pt x="4147" y="4493"/>
                        <a:pt x="4114" y="4440"/>
                      </a:cubicBezTo>
                      <a:cubicBezTo>
                        <a:pt x="4064" y="4520"/>
                        <a:pt x="3992" y="4568"/>
                        <a:pt x="3915" y="4568"/>
                      </a:cubicBezTo>
                      <a:lnTo>
                        <a:pt x="3857" y="4568"/>
                      </a:lnTo>
                      <a:cubicBezTo>
                        <a:pt x="3769" y="4568"/>
                        <a:pt x="3708" y="4530"/>
                        <a:pt x="3667" y="4482"/>
                      </a:cubicBezTo>
                      <a:lnTo>
                        <a:pt x="3636" y="4493"/>
                      </a:lnTo>
                      <a:lnTo>
                        <a:pt x="3530" y="4493"/>
                      </a:lnTo>
                      <a:lnTo>
                        <a:pt x="3461" y="4413"/>
                      </a:lnTo>
                      <a:cubicBezTo>
                        <a:pt x="3385" y="4397"/>
                        <a:pt x="3314" y="4368"/>
                        <a:pt x="3260" y="4273"/>
                      </a:cubicBezTo>
                      <a:lnTo>
                        <a:pt x="3245" y="4245"/>
                      </a:lnTo>
                      <a:cubicBezTo>
                        <a:pt x="3146" y="4233"/>
                        <a:pt x="3077" y="4206"/>
                        <a:pt x="3022" y="4134"/>
                      </a:cubicBezTo>
                      <a:cubicBezTo>
                        <a:pt x="3006" y="4139"/>
                        <a:pt x="2989" y="4141"/>
                        <a:pt x="2971" y="4141"/>
                      </a:cubicBezTo>
                      <a:lnTo>
                        <a:pt x="2918" y="4141"/>
                      </a:lnTo>
                      <a:lnTo>
                        <a:pt x="2852" y="4101"/>
                      </a:lnTo>
                      <a:cubicBezTo>
                        <a:pt x="2769" y="4057"/>
                        <a:pt x="2654" y="3996"/>
                        <a:pt x="2603" y="3856"/>
                      </a:cubicBezTo>
                      <a:lnTo>
                        <a:pt x="2591" y="3858"/>
                      </a:lnTo>
                      <a:cubicBezTo>
                        <a:pt x="2540" y="3858"/>
                        <a:pt x="2493" y="3840"/>
                        <a:pt x="2448" y="3803"/>
                      </a:cubicBezTo>
                      <a:cubicBezTo>
                        <a:pt x="2446" y="3805"/>
                        <a:pt x="2395" y="3789"/>
                        <a:pt x="2333" y="3767"/>
                      </a:cubicBezTo>
                      <a:cubicBezTo>
                        <a:pt x="2094" y="3682"/>
                        <a:pt x="1930" y="3619"/>
                        <a:pt x="1838" y="3527"/>
                      </a:cubicBezTo>
                      <a:cubicBezTo>
                        <a:pt x="1810" y="3501"/>
                        <a:pt x="1769" y="3465"/>
                        <a:pt x="1724" y="3427"/>
                      </a:cubicBezTo>
                      <a:cubicBezTo>
                        <a:pt x="1524" y="3255"/>
                        <a:pt x="1373" y="3125"/>
                        <a:pt x="1376" y="2907"/>
                      </a:cubicBezTo>
                      <a:cubicBezTo>
                        <a:pt x="1331" y="2856"/>
                        <a:pt x="1275" y="2796"/>
                        <a:pt x="1234" y="2755"/>
                      </a:cubicBezTo>
                      <a:lnTo>
                        <a:pt x="1209" y="2760"/>
                      </a:lnTo>
                      <a:cubicBezTo>
                        <a:pt x="1124" y="2760"/>
                        <a:pt x="1046" y="2704"/>
                        <a:pt x="995" y="2607"/>
                      </a:cubicBezTo>
                      <a:cubicBezTo>
                        <a:pt x="976" y="2576"/>
                        <a:pt x="915" y="2492"/>
                        <a:pt x="874" y="2439"/>
                      </a:cubicBezTo>
                      <a:lnTo>
                        <a:pt x="770" y="2410"/>
                      </a:lnTo>
                      <a:lnTo>
                        <a:pt x="670" y="2185"/>
                      </a:lnTo>
                      <a:cubicBezTo>
                        <a:pt x="681" y="2241"/>
                        <a:pt x="694" y="2272"/>
                        <a:pt x="697" y="2278"/>
                      </a:cubicBezTo>
                      <a:cubicBezTo>
                        <a:pt x="669" y="2217"/>
                        <a:pt x="516" y="1935"/>
                        <a:pt x="474" y="1882"/>
                      </a:cubicBezTo>
                      <a:cubicBezTo>
                        <a:pt x="454" y="1858"/>
                        <a:pt x="430" y="1825"/>
                        <a:pt x="404" y="1788"/>
                      </a:cubicBezTo>
                      <a:cubicBezTo>
                        <a:pt x="324" y="2014"/>
                        <a:pt x="266" y="2140"/>
                        <a:pt x="220" y="2212"/>
                      </a:cubicBezTo>
                      <a:cubicBezTo>
                        <a:pt x="222" y="2279"/>
                        <a:pt x="213" y="2351"/>
                        <a:pt x="181" y="2422"/>
                      </a:cubicBezTo>
                      <a:cubicBezTo>
                        <a:pt x="172" y="2442"/>
                        <a:pt x="131" y="2509"/>
                        <a:pt x="74" y="2577"/>
                      </a:cubicBezTo>
                      <a:cubicBezTo>
                        <a:pt x="106" y="2689"/>
                        <a:pt x="128" y="2807"/>
                        <a:pt x="88" y="2932"/>
                      </a:cubicBezTo>
                      <a:cubicBezTo>
                        <a:pt x="79" y="2959"/>
                        <a:pt x="71" y="2984"/>
                        <a:pt x="63" y="3007"/>
                      </a:cubicBezTo>
                      <a:cubicBezTo>
                        <a:pt x="76" y="3050"/>
                        <a:pt x="85" y="3100"/>
                        <a:pt x="84" y="3159"/>
                      </a:cubicBezTo>
                      <a:lnTo>
                        <a:pt x="83" y="3295"/>
                      </a:lnTo>
                      <a:cubicBezTo>
                        <a:pt x="83" y="3295"/>
                        <a:pt x="31" y="3375"/>
                        <a:pt x="31" y="3375"/>
                      </a:cubicBezTo>
                      <a:close/>
                      <a:moveTo>
                        <a:pt x="31" y="3375"/>
                      </a:moveTo>
                    </a:path>
                  </a:pathLst>
                </a:custGeom>
                <a:solidFill>
                  <a:schemeClr val="accent6">
                    <a:lumMod val="40000"/>
                    <a:lumOff val="6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513F3A"/>
                    </a:solidFill>
                    <a:effectLst/>
                    <a:uLnTx/>
                    <a:uFillTx/>
                    <a:latin typeface="Arial"/>
                    <a:ea typeface="Arial"/>
                    <a:cs typeface="Arial"/>
                    <a:sym typeface="Arial"/>
                  </a:endParaRPr>
                </a:p>
              </p:txBody>
            </p:sp>
            <p:sp>
              <p:nvSpPr>
                <p:cNvPr id="64" name="Google Shape;420;p54">
                  <a:extLst>
                    <a:ext uri="{FF2B5EF4-FFF2-40B4-BE49-F238E27FC236}">
                      <a16:creationId xmlns:a16="http://schemas.microsoft.com/office/drawing/2014/main" id="{C61C4A57-7BEB-468D-912F-27D38728BA7B}"/>
                    </a:ext>
                  </a:extLst>
                </p:cNvPr>
                <p:cNvSpPr/>
                <p:nvPr/>
              </p:nvSpPr>
              <p:spPr>
                <a:xfrm>
                  <a:off x="1734691" y="1660890"/>
                  <a:ext cx="10692" cy="22464"/>
                </a:xfrm>
                <a:custGeom>
                  <a:avLst/>
                  <a:gdLst/>
                  <a:ahLst/>
                  <a:cxnLst/>
                  <a:rect l="l" t="t" r="r" b="b"/>
                  <a:pathLst>
                    <a:path w="21600" h="21600" extrusionOk="0">
                      <a:moveTo>
                        <a:pt x="10163" y="2376"/>
                      </a:moveTo>
                      <a:cubicBezTo>
                        <a:pt x="9056" y="2602"/>
                        <a:pt x="7673" y="2872"/>
                        <a:pt x="6423" y="3164"/>
                      </a:cubicBezTo>
                      <a:cubicBezTo>
                        <a:pt x="6130" y="3373"/>
                        <a:pt x="5811" y="3568"/>
                        <a:pt x="5484" y="3761"/>
                      </a:cubicBezTo>
                      <a:cubicBezTo>
                        <a:pt x="8486" y="5758"/>
                        <a:pt x="9911" y="8092"/>
                        <a:pt x="9450" y="10502"/>
                      </a:cubicBezTo>
                      <a:cubicBezTo>
                        <a:pt x="9559" y="11461"/>
                        <a:pt x="9760" y="14795"/>
                        <a:pt x="3883" y="17533"/>
                      </a:cubicBezTo>
                      <a:lnTo>
                        <a:pt x="0" y="19355"/>
                      </a:lnTo>
                      <a:cubicBezTo>
                        <a:pt x="2667" y="19806"/>
                        <a:pt x="5241" y="20539"/>
                        <a:pt x="7597" y="21543"/>
                      </a:cubicBezTo>
                      <a:cubicBezTo>
                        <a:pt x="7673" y="21560"/>
                        <a:pt x="7697" y="21585"/>
                        <a:pt x="7748" y="21600"/>
                      </a:cubicBezTo>
                      <a:cubicBezTo>
                        <a:pt x="9056" y="20803"/>
                        <a:pt x="10725" y="20031"/>
                        <a:pt x="12913" y="19355"/>
                      </a:cubicBezTo>
                      <a:cubicBezTo>
                        <a:pt x="13802" y="19073"/>
                        <a:pt x="14724" y="18815"/>
                        <a:pt x="15722" y="18565"/>
                      </a:cubicBezTo>
                      <a:cubicBezTo>
                        <a:pt x="15831" y="17983"/>
                        <a:pt x="16083" y="17421"/>
                        <a:pt x="16468" y="16856"/>
                      </a:cubicBezTo>
                      <a:cubicBezTo>
                        <a:pt x="15294" y="15528"/>
                        <a:pt x="14297" y="13878"/>
                        <a:pt x="14297" y="11887"/>
                      </a:cubicBezTo>
                      <a:cubicBezTo>
                        <a:pt x="14297" y="8800"/>
                        <a:pt x="14297" y="4970"/>
                        <a:pt x="20350" y="1811"/>
                      </a:cubicBezTo>
                      <a:cubicBezTo>
                        <a:pt x="20744" y="1601"/>
                        <a:pt x="21180" y="1400"/>
                        <a:pt x="21600" y="1214"/>
                      </a:cubicBezTo>
                      <a:cubicBezTo>
                        <a:pt x="20492" y="716"/>
                        <a:pt x="19386" y="248"/>
                        <a:pt x="18715" y="0"/>
                      </a:cubicBezTo>
                      <a:cubicBezTo>
                        <a:pt x="16795" y="716"/>
                        <a:pt x="15361" y="1177"/>
                        <a:pt x="13827" y="1554"/>
                      </a:cubicBezTo>
                      <a:cubicBezTo>
                        <a:pt x="13827" y="1554"/>
                        <a:pt x="10163" y="2376"/>
                        <a:pt x="10163" y="2376"/>
                      </a:cubicBezTo>
                      <a:close/>
                      <a:moveTo>
                        <a:pt x="10163" y="2376"/>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65" name="Google Shape;421;p54">
                  <a:extLst>
                    <a:ext uri="{FF2B5EF4-FFF2-40B4-BE49-F238E27FC236}">
                      <a16:creationId xmlns:a16="http://schemas.microsoft.com/office/drawing/2014/main" id="{0DAA05BE-6B8F-41BB-8C4D-C950099F950A}"/>
                    </a:ext>
                  </a:extLst>
                </p:cNvPr>
                <p:cNvSpPr/>
                <p:nvPr/>
              </p:nvSpPr>
              <p:spPr>
                <a:xfrm>
                  <a:off x="2959828" y="3823151"/>
                  <a:ext cx="842940" cy="905202"/>
                </a:xfrm>
                <a:custGeom>
                  <a:avLst/>
                  <a:gdLst/>
                  <a:ahLst/>
                  <a:cxnLst/>
                  <a:rect l="l" t="t" r="r" b="b"/>
                  <a:pathLst>
                    <a:path w="21600" h="21600" extrusionOk="0">
                      <a:moveTo>
                        <a:pt x="8798" y="19479"/>
                      </a:moveTo>
                      <a:cubicBezTo>
                        <a:pt x="8893" y="19490"/>
                        <a:pt x="9060" y="19504"/>
                        <a:pt x="9287" y="19520"/>
                      </a:cubicBezTo>
                      <a:cubicBezTo>
                        <a:pt x="11483" y="19677"/>
                        <a:pt x="19275" y="20057"/>
                        <a:pt x="20735" y="20067"/>
                      </a:cubicBezTo>
                      <a:lnTo>
                        <a:pt x="21432" y="2679"/>
                      </a:lnTo>
                      <a:lnTo>
                        <a:pt x="21556" y="2681"/>
                      </a:lnTo>
                      <a:lnTo>
                        <a:pt x="21579" y="1863"/>
                      </a:lnTo>
                      <a:lnTo>
                        <a:pt x="21600" y="1159"/>
                      </a:lnTo>
                      <a:cubicBezTo>
                        <a:pt x="21457" y="1155"/>
                        <a:pt x="21313" y="1147"/>
                        <a:pt x="21169" y="1143"/>
                      </a:cubicBezTo>
                      <a:cubicBezTo>
                        <a:pt x="19843" y="1102"/>
                        <a:pt x="18517" y="1052"/>
                        <a:pt x="17191" y="995"/>
                      </a:cubicBezTo>
                      <a:cubicBezTo>
                        <a:pt x="16983" y="986"/>
                        <a:pt x="16776" y="979"/>
                        <a:pt x="16568" y="969"/>
                      </a:cubicBezTo>
                      <a:cubicBezTo>
                        <a:pt x="15164" y="906"/>
                        <a:pt x="13761" y="831"/>
                        <a:pt x="12361" y="749"/>
                      </a:cubicBezTo>
                      <a:cubicBezTo>
                        <a:pt x="12067" y="732"/>
                        <a:pt x="11773" y="715"/>
                        <a:pt x="11480" y="697"/>
                      </a:cubicBezTo>
                      <a:cubicBezTo>
                        <a:pt x="10072" y="611"/>
                        <a:pt x="8667" y="517"/>
                        <a:pt x="7265" y="413"/>
                      </a:cubicBezTo>
                      <a:cubicBezTo>
                        <a:pt x="7059" y="397"/>
                        <a:pt x="6854" y="381"/>
                        <a:pt x="6649" y="365"/>
                      </a:cubicBezTo>
                      <a:cubicBezTo>
                        <a:pt x="5229" y="257"/>
                        <a:pt x="3812" y="140"/>
                        <a:pt x="2401" y="13"/>
                      </a:cubicBezTo>
                      <a:cubicBezTo>
                        <a:pt x="2348" y="8"/>
                        <a:pt x="2294" y="5"/>
                        <a:pt x="2240" y="0"/>
                      </a:cubicBezTo>
                      <a:lnTo>
                        <a:pt x="0" y="21361"/>
                      </a:lnTo>
                      <a:lnTo>
                        <a:pt x="2572" y="21600"/>
                      </a:lnTo>
                      <a:lnTo>
                        <a:pt x="2715" y="19901"/>
                      </a:lnTo>
                      <a:lnTo>
                        <a:pt x="8240" y="20291"/>
                      </a:lnTo>
                      <a:cubicBezTo>
                        <a:pt x="8238" y="20288"/>
                        <a:pt x="8239" y="20285"/>
                        <a:pt x="8238" y="20282"/>
                      </a:cubicBezTo>
                      <a:cubicBezTo>
                        <a:pt x="8225" y="20251"/>
                        <a:pt x="8217" y="20218"/>
                        <a:pt x="8221" y="20180"/>
                      </a:cubicBezTo>
                      <a:lnTo>
                        <a:pt x="8155" y="20118"/>
                      </a:lnTo>
                      <a:lnTo>
                        <a:pt x="8242" y="19973"/>
                      </a:lnTo>
                      <a:cubicBezTo>
                        <a:pt x="8261" y="19942"/>
                        <a:pt x="8284" y="19919"/>
                        <a:pt x="8307" y="19900"/>
                      </a:cubicBezTo>
                      <a:lnTo>
                        <a:pt x="8308" y="19872"/>
                      </a:lnTo>
                      <a:cubicBezTo>
                        <a:pt x="8267" y="19803"/>
                        <a:pt x="8235" y="19705"/>
                        <a:pt x="8309" y="19608"/>
                      </a:cubicBezTo>
                      <a:cubicBezTo>
                        <a:pt x="8346" y="19560"/>
                        <a:pt x="8491" y="19444"/>
                        <a:pt x="8633" y="19444"/>
                      </a:cubicBezTo>
                      <a:lnTo>
                        <a:pt x="8777" y="19444"/>
                      </a:lnTo>
                      <a:cubicBezTo>
                        <a:pt x="8777" y="19444"/>
                        <a:pt x="8798" y="19479"/>
                        <a:pt x="8798" y="19479"/>
                      </a:cubicBezTo>
                      <a:close/>
                      <a:moveTo>
                        <a:pt x="8798" y="19479"/>
                      </a:moveTo>
                    </a:path>
                  </a:pathLst>
                </a:custGeom>
                <a:solidFill>
                  <a:schemeClr val="accent2">
                    <a:lumMod val="60000"/>
                    <a:lumOff val="4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513F3A"/>
                    </a:solidFill>
                    <a:effectLst/>
                    <a:uLnTx/>
                    <a:uFillTx/>
                    <a:latin typeface="Arial"/>
                    <a:ea typeface="Arial"/>
                    <a:cs typeface="Arial"/>
                    <a:sym typeface="Arial"/>
                  </a:endParaRPr>
                </a:p>
              </p:txBody>
            </p:sp>
            <p:sp>
              <p:nvSpPr>
                <p:cNvPr id="66" name="Google Shape;422;p54">
                  <a:extLst>
                    <a:ext uri="{FF2B5EF4-FFF2-40B4-BE49-F238E27FC236}">
                      <a16:creationId xmlns:a16="http://schemas.microsoft.com/office/drawing/2014/main" id="{3F9DCDAC-9010-4EC7-AA6D-4503AE765E3A}"/>
                    </a:ext>
                  </a:extLst>
                </p:cNvPr>
                <p:cNvSpPr/>
                <p:nvPr/>
              </p:nvSpPr>
              <p:spPr>
                <a:xfrm>
                  <a:off x="2870023" y="2481391"/>
                  <a:ext cx="853146" cy="692442"/>
                </a:xfrm>
                <a:custGeom>
                  <a:avLst/>
                  <a:gdLst/>
                  <a:ahLst/>
                  <a:cxnLst/>
                  <a:rect l="l" t="t" r="r" b="b"/>
                  <a:pathLst>
                    <a:path w="21600" h="21600" extrusionOk="0">
                      <a:moveTo>
                        <a:pt x="19054" y="1834"/>
                      </a:moveTo>
                      <a:cubicBezTo>
                        <a:pt x="18590" y="1802"/>
                        <a:pt x="18134" y="1767"/>
                        <a:pt x="17674" y="1733"/>
                      </a:cubicBezTo>
                      <a:cubicBezTo>
                        <a:pt x="17271" y="1703"/>
                        <a:pt x="16863" y="1675"/>
                        <a:pt x="16463" y="1644"/>
                      </a:cubicBezTo>
                      <a:cubicBezTo>
                        <a:pt x="15981" y="1606"/>
                        <a:pt x="15508" y="1564"/>
                        <a:pt x="15032" y="1524"/>
                      </a:cubicBezTo>
                      <a:cubicBezTo>
                        <a:pt x="14662" y="1492"/>
                        <a:pt x="14288" y="1463"/>
                        <a:pt x="13921" y="1430"/>
                      </a:cubicBezTo>
                      <a:cubicBezTo>
                        <a:pt x="13427" y="1386"/>
                        <a:pt x="12939" y="1338"/>
                        <a:pt x="12450" y="1291"/>
                      </a:cubicBezTo>
                      <a:cubicBezTo>
                        <a:pt x="12109" y="1258"/>
                        <a:pt x="11764" y="1227"/>
                        <a:pt x="11426" y="1193"/>
                      </a:cubicBezTo>
                      <a:cubicBezTo>
                        <a:pt x="10900" y="1140"/>
                        <a:pt x="10381" y="1083"/>
                        <a:pt x="9860" y="1027"/>
                      </a:cubicBezTo>
                      <a:cubicBezTo>
                        <a:pt x="9566" y="995"/>
                        <a:pt x="9268" y="965"/>
                        <a:pt x="8976" y="932"/>
                      </a:cubicBezTo>
                      <a:cubicBezTo>
                        <a:pt x="8413" y="869"/>
                        <a:pt x="7857" y="801"/>
                        <a:pt x="7300" y="734"/>
                      </a:cubicBezTo>
                      <a:cubicBezTo>
                        <a:pt x="7054" y="704"/>
                        <a:pt x="6806" y="677"/>
                        <a:pt x="6562" y="647"/>
                      </a:cubicBezTo>
                      <a:cubicBezTo>
                        <a:pt x="5976" y="574"/>
                        <a:pt x="5396" y="496"/>
                        <a:pt x="4815" y="419"/>
                      </a:cubicBezTo>
                      <a:cubicBezTo>
                        <a:pt x="4604" y="391"/>
                        <a:pt x="4391" y="365"/>
                        <a:pt x="4181" y="336"/>
                      </a:cubicBezTo>
                      <a:cubicBezTo>
                        <a:pt x="3393" y="228"/>
                        <a:pt x="2611" y="116"/>
                        <a:pt x="1833" y="0"/>
                      </a:cubicBezTo>
                      <a:lnTo>
                        <a:pt x="0" y="19571"/>
                      </a:lnTo>
                      <a:cubicBezTo>
                        <a:pt x="915" y="19703"/>
                        <a:pt x="1834" y="19828"/>
                        <a:pt x="2752" y="19948"/>
                      </a:cubicBezTo>
                      <a:cubicBezTo>
                        <a:pt x="3111" y="19996"/>
                        <a:pt x="3470" y="20039"/>
                        <a:pt x="3829" y="20085"/>
                      </a:cubicBezTo>
                      <a:cubicBezTo>
                        <a:pt x="4371" y="20153"/>
                        <a:pt x="4914" y="20222"/>
                        <a:pt x="5453" y="20286"/>
                      </a:cubicBezTo>
                      <a:cubicBezTo>
                        <a:pt x="6014" y="20353"/>
                        <a:pt x="6577" y="20416"/>
                        <a:pt x="7139" y="20479"/>
                      </a:cubicBezTo>
                      <a:cubicBezTo>
                        <a:pt x="7411" y="20509"/>
                        <a:pt x="7683" y="20541"/>
                        <a:pt x="7955" y="20570"/>
                      </a:cubicBezTo>
                      <a:cubicBezTo>
                        <a:pt x="8596" y="20639"/>
                        <a:pt x="9238" y="20705"/>
                        <a:pt x="9881" y="20768"/>
                      </a:cubicBezTo>
                      <a:cubicBezTo>
                        <a:pt x="10090" y="20789"/>
                        <a:pt x="10298" y="20811"/>
                        <a:pt x="10508" y="20831"/>
                      </a:cubicBezTo>
                      <a:cubicBezTo>
                        <a:pt x="11170" y="20895"/>
                        <a:pt x="11833" y="20955"/>
                        <a:pt x="12498" y="21013"/>
                      </a:cubicBezTo>
                      <a:cubicBezTo>
                        <a:pt x="12708" y="21031"/>
                        <a:pt x="12917" y="21051"/>
                        <a:pt x="13128" y="21069"/>
                      </a:cubicBezTo>
                      <a:cubicBezTo>
                        <a:pt x="13735" y="21120"/>
                        <a:pt x="14344" y="21167"/>
                        <a:pt x="14954" y="21214"/>
                      </a:cubicBezTo>
                      <a:cubicBezTo>
                        <a:pt x="15245" y="21237"/>
                        <a:pt x="15536" y="21261"/>
                        <a:pt x="15829" y="21282"/>
                      </a:cubicBezTo>
                      <a:cubicBezTo>
                        <a:pt x="16329" y="21319"/>
                        <a:pt x="16833" y="21352"/>
                        <a:pt x="17335" y="21385"/>
                      </a:cubicBezTo>
                      <a:cubicBezTo>
                        <a:pt x="17752" y="21413"/>
                        <a:pt x="18168" y="21442"/>
                        <a:pt x="18589" y="21468"/>
                      </a:cubicBezTo>
                      <a:cubicBezTo>
                        <a:pt x="18986" y="21492"/>
                        <a:pt x="19386" y="21514"/>
                        <a:pt x="19786" y="21537"/>
                      </a:cubicBezTo>
                      <a:cubicBezTo>
                        <a:pt x="20165" y="21559"/>
                        <a:pt x="20546" y="21580"/>
                        <a:pt x="20929" y="21600"/>
                      </a:cubicBezTo>
                      <a:lnTo>
                        <a:pt x="21600" y="1996"/>
                      </a:lnTo>
                      <a:cubicBezTo>
                        <a:pt x="21177" y="1971"/>
                        <a:pt x="20763" y="1943"/>
                        <a:pt x="20345" y="1916"/>
                      </a:cubicBezTo>
                      <a:cubicBezTo>
                        <a:pt x="19914" y="1889"/>
                        <a:pt x="19480" y="1863"/>
                        <a:pt x="19054" y="1834"/>
                      </a:cubicBezTo>
                      <a:close/>
                      <a:moveTo>
                        <a:pt x="19054" y="1834"/>
                      </a:moveTo>
                    </a:path>
                  </a:pathLst>
                </a:custGeom>
                <a:solidFill>
                  <a:schemeClr val="accent1">
                    <a:lumMod val="40000"/>
                    <a:lumOff val="6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2400"/>
                    <a:buFontTx/>
                    <a:buNone/>
                    <a:tabLst/>
                    <a:defRPr/>
                  </a:pPr>
                  <a:endParaRPr kumimoji="0" sz="18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67" name="Google Shape;423;p54">
                  <a:extLst>
                    <a:ext uri="{FF2B5EF4-FFF2-40B4-BE49-F238E27FC236}">
                      <a16:creationId xmlns:a16="http://schemas.microsoft.com/office/drawing/2014/main" id="{81D3BFB5-E7D1-4AF3-A877-836E1F2C5119}"/>
                    </a:ext>
                  </a:extLst>
                </p:cNvPr>
                <p:cNvSpPr/>
                <p:nvPr/>
              </p:nvSpPr>
              <p:spPr>
                <a:xfrm>
                  <a:off x="3045552" y="3174097"/>
                  <a:ext cx="889380" cy="681210"/>
                </a:xfrm>
                <a:custGeom>
                  <a:avLst/>
                  <a:gdLst/>
                  <a:ahLst/>
                  <a:cxnLst/>
                  <a:rect l="l" t="t" r="r" b="b"/>
                  <a:pathLst>
                    <a:path w="21600" h="21600" extrusionOk="0">
                      <a:moveTo>
                        <a:pt x="4716" y="20513"/>
                      </a:moveTo>
                      <a:cubicBezTo>
                        <a:pt x="6059" y="20654"/>
                        <a:pt x="7407" y="20781"/>
                        <a:pt x="8756" y="20897"/>
                      </a:cubicBezTo>
                      <a:cubicBezTo>
                        <a:pt x="9025" y="20920"/>
                        <a:pt x="9295" y="20942"/>
                        <a:pt x="9564" y="20964"/>
                      </a:cubicBezTo>
                      <a:cubicBezTo>
                        <a:pt x="10912" y="21074"/>
                        <a:pt x="12260" y="21174"/>
                        <a:pt x="13608" y="21259"/>
                      </a:cubicBezTo>
                      <a:cubicBezTo>
                        <a:pt x="13830" y="21273"/>
                        <a:pt x="14051" y="21285"/>
                        <a:pt x="14272" y="21298"/>
                      </a:cubicBezTo>
                      <a:cubicBezTo>
                        <a:pt x="15647" y="21381"/>
                        <a:pt x="17021" y="21453"/>
                        <a:pt x="18393" y="21509"/>
                      </a:cubicBezTo>
                      <a:cubicBezTo>
                        <a:pt x="18451" y="21512"/>
                        <a:pt x="18509" y="21515"/>
                        <a:pt x="18567" y="21517"/>
                      </a:cubicBezTo>
                      <a:cubicBezTo>
                        <a:pt x="19471" y="21554"/>
                        <a:pt x="20385" y="21575"/>
                        <a:pt x="21297" y="21600"/>
                      </a:cubicBezTo>
                      <a:lnTo>
                        <a:pt x="21600" y="1526"/>
                      </a:lnTo>
                      <a:cubicBezTo>
                        <a:pt x="20706" y="1497"/>
                        <a:pt x="19840" y="1464"/>
                        <a:pt x="18989" y="1427"/>
                      </a:cubicBezTo>
                      <a:cubicBezTo>
                        <a:pt x="18950" y="1426"/>
                        <a:pt x="18910" y="1424"/>
                        <a:pt x="18871" y="1423"/>
                      </a:cubicBezTo>
                      <a:cubicBezTo>
                        <a:pt x="18029" y="1387"/>
                        <a:pt x="17202" y="1347"/>
                        <a:pt x="16383" y="1304"/>
                      </a:cubicBezTo>
                      <a:cubicBezTo>
                        <a:pt x="16329" y="1301"/>
                        <a:pt x="16275" y="1298"/>
                        <a:pt x="16221" y="1295"/>
                      </a:cubicBezTo>
                      <a:cubicBezTo>
                        <a:pt x="16190" y="1294"/>
                        <a:pt x="16158" y="1292"/>
                        <a:pt x="16126" y="1290"/>
                      </a:cubicBezTo>
                      <a:lnTo>
                        <a:pt x="16126" y="1291"/>
                      </a:lnTo>
                      <a:lnTo>
                        <a:pt x="15916" y="1279"/>
                      </a:lnTo>
                      <a:lnTo>
                        <a:pt x="15706" y="1268"/>
                      </a:lnTo>
                      <a:lnTo>
                        <a:pt x="15706" y="1267"/>
                      </a:lnTo>
                      <a:cubicBezTo>
                        <a:pt x="15404" y="1250"/>
                        <a:pt x="15106" y="1230"/>
                        <a:pt x="14806" y="1212"/>
                      </a:cubicBezTo>
                      <a:cubicBezTo>
                        <a:pt x="14370" y="1186"/>
                        <a:pt x="13931" y="1161"/>
                        <a:pt x="13500" y="1133"/>
                      </a:cubicBezTo>
                      <a:cubicBezTo>
                        <a:pt x="13165" y="1111"/>
                        <a:pt x="12833" y="1087"/>
                        <a:pt x="12501" y="1064"/>
                      </a:cubicBezTo>
                      <a:cubicBezTo>
                        <a:pt x="11948" y="1025"/>
                        <a:pt x="11395" y="986"/>
                        <a:pt x="10848" y="944"/>
                      </a:cubicBezTo>
                      <a:cubicBezTo>
                        <a:pt x="10630" y="927"/>
                        <a:pt x="10413" y="908"/>
                        <a:pt x="10196" y="891"/>
                      </a:cubicBezTo>
                      <a:cubicBezTo>
                        <a:pt x="9544" y="838"/>
                        <a:pt x="8893" y="784"/>
                        <a:pt x="8246" y="726"/>
                      </a:cubicBezTo>
                      <a:cubicBezTo>
                        <a:pt x="8080" y="711"/>
                        <a:pt x="7915" y="695"/>
                        <a:pt x="7749" y="680"/>
                      </a:cubicBezTo>
                      <a:cubicBezTo>
                        <a:pt x="7071" y="617"/>
                        <a:pt x="6393" y="552"/>
                        <a:pt x="5720" y="484"/>
                      </a:cubicBezTo>
                      <a:cubicBezTo>
                        <a:pt x="5532" y="464"/>
                        <a:pt x="5346" y="444"/>
                        <a:pt x="5159" y="424"/>
                      </a:cubicBezTo>
                      <a:cubicBezTo>
                        <a:pt x="4524" y="358"/>
                        <a:pt x="3890" y="289"/>
                        <a:pt x="3258" y="217"/>
                      </a:cubicBezTo>
                      <a:cubicBezTo>
                        <a:pt x="3007" y="188"/>
                        <a:pt x="2757" y="158"/>
                        <a:pt x="2507" y="128"/>
                      </a:cubicBezTo>
                      <a:cubicBezTo>
                        <a:pt x="2143" y="85"/>
                        <a:pt x="1779" y="45"/>
                        <a:pt x="1414" y="0"/>
                      </a:cubicBezTo>
                      <a:lnTo>
                        <a:pt x="0" y="19968"/>
                      </a:lnTo>
                      <a:cubicBezTo>
                        <a:pt x="1343" y="20138"/>
                        <a:pt x="2692" y="20295"/>
                        <a:pt x="4045" y="20441"/>
                      </a:cubicBezTo>
                      <a:cubicBezTo>
                        <a:pt x="4268" y="20465"/>
                        <a:pt x="4492" y="20490"/>
                        <a:pt x="4716" y="20513"/>
                      </a:cubicBezTo>
                      <a:close/>
                      <a:moveTo>
                        <a:pt x="4716" y="20513"/>
                      </a:moveTo>
                    </a:path>
                  </a:pathLst>
                </a:custGeom>
                <a:solidFill>
                  <a:schemeClr val="accent2">
                    <a:lumMod val="60000"/>
                    <a:lumOff val="4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513F3A"/>
                    </a:solidFill>
                    <a:effectLst/>
                    <a:uLnTx/>
                    <a:uFillTx/>
                    <a:latin typeface="Arial"/>
                    <a:ea typeface="Arial"/>
                    <a:cs typeface="Arial"/>
                    <a:sym typeface="Arial"/>
                  </a:endParaRPr>
                </a:p>
              </p:txBody>
            </p:sp>
            <p:sp>
              <p:nvSpPr>
                <p:cNvPr id="68" name="Google Shape;424;p54">
                  <a:extLst>
                    <a:ext uri="{FF2B5EF4-FFF2-40B4-BE49-F238E27FC236}">
                      <a16:creationId xmlns:a16="http://schemas.microsoft.com/office/drawing/2014/main" id="{2E962473-234B-4D3B-924A-53C967A4EBC9}"/>
                    </a:ext>
                  </a:extLst>
                </p:cNvPr>
                <p:cNvSpPr/>
                <p:nvPr/>
              </p:nvSpPr>
              <p:spPr>
                <a:xfrm>
                  <a:off x="2335268" y="2269122"/>
                  <a:ext cx="7128" cy="5616"/>
                </a:xfrm>
                <a:custGeom>
                  <a:avLst/>
                  <a:gdLst/>
                  <a:ahLst/>
                  <a:cxnLst/>
                  <a:rect l="l" t="t" r="r" b="b"/>
                  <a:pathLst>
                    <a:path w="21600" h="21600" extrusionOk="0">
                      <a:moveTo>
                        <a:pt x="19933" y="0"/>
                      </a:moveTo>
                      <a:lnTo>
                        <a:pt x="0" y="21600"/>
                      </a:lnTo>
                      <a:lnTo>
                        <a:pt x="21600" y="6863"/>
                      </a:lnTo>
                      <a:cubicBezTo>
                        <a:pt x="21243" y="4268"/>
                        <a:pt x="20695" y="1813"/>
                        <a:pt x="19933" y="0"/>
                      </a:cubicBezTo>
                      <a:close/>
                      <a:moveTo>
                        <a:pt x="19933" y="0"/>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69" name="Google Shape;425;p54">
                  <a:extLst>
                    <a:ext uri="{FF2B5EF4-FFF2-40B4-BE49-F238E27FC236}">
                      <a16:creationId xmlns:a16="http://schemas.microsoft.com/office/drawing/2014/main" id="{F52FDEBB-C2D6-4004-8858-BD416D465818}"/>
                    </a:ext>
                  </a:extLst>
                </p:cNvPr>
                <p:cNvSpPr/>
                <p:nvPr/>
              </p:nvSpPr>
              <p:spPr>
                <a:xfrm>
                  <a:off x="2204641" y="3741509"/>
                  <a:ext cx="824094" cy="973080"/>
                </a:xfrm>
                <a:custGeom>
                  <a:avLst/>
                  <a:gdLst/>
                  <a:ahLst/>
                  <a:cxnLst/>
                  <a:rect l="l" t="t" r="r" b="b"/>
                  <a:pathLst>
                    <a:path w="21600" h="21600" extrusionOk="0">
                      <a:moveTo>
                        <a:pt x="19310" y="21600"/>
                      </a:moveTo>
                      <a:lnTo>
                        <a:pt x="21600" y="1735"/>
                      </a:lnTo>
                      <a:cubicBezTo>
                        <a:pt x="20893" y="1676"/>
                        <a:pt x="20185" y="1609"/>
                        <a:pt x="19478" y="1545"/>
                      </a:cubicBezTo>
                      <a:cubicBezTo>
                        <a:pt x="18843" y="1488"/>
                        <a:pt x="18210" y="1436"/>
                        <a:pt x="17575" y="1375"/>
                      </a:cubicBezTo>
                      <a:cubicBezTo>
                        <a:pt x="16524" y="1275"/>
                        <a:pt x="15474" y="1166"/>
                        <a:pt x="14424" y="1057"/>
                      </a:cubicBezTo>
                      <a:cubicBezTo>
                        <a:pt x="13763" y="988"/>
                        <a:pt x="13104" y="917"/>
                        <a:pt x="12445" y="845"/>
                      </a:cubicBezTo>
                      <a:cubicBezTo>
                        <a:pt x="11418" y="731"/>
                        <a:pt x="10391" y="618"/>
                        <a:pt x="9368" y="496"/>
                      </a:cubicBezTo>
                      <a:cubicBezTo>
                        <a:pt x="8816" y="431"/>
                        <a:pt x="8270" y="359"/>
                        <a:pt x="7720" y="291"/>
                      </a:cubicBezTo>
                      <a:cubicBezTo>
                        <a:pt x="6941" y="195"/>
                        <a:pt x="6161" y="101"/>
                        <a:pt x="5386" y="0"/>
                      </a:cubicBezTo>
                      <a:lnTo>
                        <a:pt x="4971" y="2677"/>
                      </a:lnTo>
                      <a:cubicBezTo>
                        <a:pt x="4970" y="2725"/>
                        <a:pt x="4934" y="2819"/>
                        <a:pt x="4841" y="2877"/>
                      </a:cubicBezTo>
                      <a:cubicBezTo>
                        <a:pt x="4832" y="2890"/>
                        <a:pt x="4790" y="2950"/>
                        <a:pt x="4763" y="2986"/>
                      </a:cubicBezTo>
                      <a:lnTo>
                        <a:pt x="4732" y="3028"/>
                      </a:lnTo>
                      <a:cubicBezTo>
                        <a:pt x="4714" y="3051"/>
                        <a:pt x="4692" y="3070"/>
                        <a:pt x="4669" y="3084"/>
                      </a:cubicBezTo>
                      <a:cubicBezTo>
                        <a:pt x="4660" y="3165"/>
                        <a:pt x="4602" y="3217"/>
                        <a:pt x="4558" y="3247"/>
                      </a:cubicBezTo>
                      <a:cubicBezTo>
                        <a:pt x="4551" y="3274"/>
                        <a:pt x="4538" y="3304"/>
                        <a:pt x="4515" y="3338"/>
                      </a:cubicBezTo>
                      <a:cubicBezTo>
                        <a:pt x="4447" y="3434"/>
                        <a:pt x="4294" y="3470"/>
                        <a:pt x="4191" y="3452"/>
                      </a:cubicBezTo>
                      <a:cubicBezTo>
                        <a:pt x="4152" y="3467"/>
                        <a:pt x="4102" y="3482"/>
                        <a:pt x="4042" y="3482"/>
                      </a:cubicBezTo>
                      <a:lnTo>
                        <a:pt x="3930" y="3465"/>
                      </a:lnTo>
                      <a:cubicBezTo>
                        <a:pt x="3819" y="3428"/>
                        <a:pt x="3707" y="3326"/>
                        <a:pt x="3669" y="3227"/>
                      </a:cubicBezTo>
                      <a:cubicBezTo>
                        <a:pt x="3580" y="3166"/>
                        <a:pt x="3525" y="3095"/>
                        <a:pt x="3555" y="2986"/>
                      </a:cubicBezTo>
                      <a:cubicBezTo>
                        <a:pt x="3545" y="2998"/>
                        <a:pt x="3514" y="2962"/>
                        <a:pt x="3499" y="2947"/>
                      </a:cubicBezTo>
                      <a:lnTo>
                        <a:pt x="3499" y="2946"/>
                      </a:lnTo>
                      <a:cubicBezTo>
                        <a:pt x="3460" y="2961"/>
                        <a:pt x="3435" y="2969"/>
                        <a:pt x="3419" y="2974"/>
                      </a:cubicBezTo>
                      <a:lnTo>
                        <a:pt x="3349" y="2982"/>
                      </a:lnTo>
                      <a:cubicBezTo>
                        <a:pt x="3293" y="2982"/>
                        <a:pt x="3242" y="2967"/>
                        <a:pt x="3198" y="2939"/>
                      </a:cubicBezTo>
                      <a:lnTo>
                        <a:pt x="3186" y="2941"/>
                      </a:lnTo>
                      <a:cubicBezTo>
                        <a:pt x="3142" y="2941"/>
                        <a:pt x="3048" y="2931"/>
                        <a:pt x="2984" y="2847"/>
                      </a:cubicBezTo>
                      <a:cubicBezTo>
                        <a:pt x="2970" y="2846"/>
                        <a:pt x="2956" y="2845"/>
                        <a:pt x="2944" y="2845"/>
                      </a:cubicBezTo>
                      <a:cubicBezTo>
                        <a:pt x="2880" y="2881"/>
                        <a:pt x="2837" y="2890"/>
                        <a:pt x="2794" y="2890"/>
                      </a:cubicBezTo>
                      <a:lnTo>
                        <a:pt x="2731" y="2890"/>
                      </a:lnTo>
                      <a:cubicBezTo>
                        <a:pt x="2699" y="2902"/>
                        <a:pt x="2667" y="2908"/>
                        <a:pt x="2636" y="2911"/>
                      </a:cubicBezTo>
                      <a:lnTo>
                        <a:pt x="2621" y="2931"/>
                      </a:lnTo>
                      <a:lnTo>
                        <a:pt x="2557" y="2938"/>
                      </a:lnTo>
                      <a:cubicBezTo>
                        <a:pt x="2556" y="2942"/>
                        <a:pt x="2555" y="2945"/>
                        <a:pt x="2554" y="2949"/>
                      </a:cubicBezTo>
                      <a:cubicBezTo>
                        <a:pt x="2571" y="2999"/>
                        <a:pt x="2582" y="3074"/>
                        <a:pt x="2521" y="3145"/>
                      </a:cubicBezTo>
                      <a:cubicBezTo>
                        <a:pt x="2518" y="3149"/>
                        <a:pt x="2511" y="3158"/>
                        <a:pt x="2504" y="3169"/>
                      </a:cubicBezTo>
                      <a:cubicBezTo>
                        <a:pt x="2523" y="3206"/>
                        <a:pt x="2530" y="3244"/>
                        <a:pt x="2529" y="3278"/>
                      </a:cubicBezTo>
                      <a:cubicBezTo>
                        <a:pt x="2537" y="3291"/>
                        <a:pt x="2545" y="3305"/>
                        <a:pt x="2551" y="3321"/>
                      </a:cubicBezTo>
                      <a:cubicBezTo>
                        <a:pt x="2562" y="3355"/>
                        <a:pt x="2565" y="3387"/>
                        <a:pt x="2564" y="3414"/>
                      </a:cubicBezTo>
                      <a:cubicBezTo>
                        <a:pt x="2598" y="3450"/>
                        <a:pt x="2630" y="3493"/>
                        <a:pt x="2638" y="3550"/>
                      </a:cubicBezTo>
                      <a:cubicBezTo>
                        <a:pt x="2645" y="3597"/>
                        <a:pt x="2641" y="3685"/>
                        <a:pt x="2539" y="3757"/>
                      </a:cubicBezTo>
                      <a:cubicBezTo>
                        <a:pt x="2533" y="3779"/>
                        <a:pt x="2526" y="3801"/>
                        <a:pt x="2517" y="3821"/>
                      </a:cubicBezTo>
                      <a:lnTo>
                        <a:pt x="2515" y="3855"/>
                      </a:lnTo>
                      <a:cubicBezTo>
                        <a:pt x="2502" y="4010"/>
                        <a:pt x="2490" y="4088"/>
                        <a:pt x="2455" y="4145"/>
                      </a:cubicBezTo>
                      <a:cubicBezTo>
                        <a:pt x="2484" y="4185"/>
                        <a:pt x="2507" y="4231"/>
                        <a:pt x="2503" y="4287"/>
                      </a:cubicBezTo>
                      <a:cubicBezTo>
                        <a:pt x="2502" y="4319"/>
                        <a:pt x="2492" y="4348"/>
                        <a:pt x="2479" y="4373"/>
                      </a:cubicBezTo>
                      <a:cubicBezTo>
                        <a:pt x="2481" y="4376"/>
                        <a:pt x="2483" y="4379"/>
                        <a:pt x="2484" y="4382"/>
                      </a:cubicBezTo>
                      <a:cubicBezTo>
                        <a:pt x="2527" y="4467"/>
                        <a:pt x="2547" y="4505"/>
                        <a:pt x="2547" y="4555"/>
                      </a:cubicBezTo>
                      <a:cubicBezTo>
                        <a:pt x="2547" y="4617"/>
                        <a:pt x="2517" y="4666"/>
                        <a:pt x="2497" y="4698"/>
                      </a:cubicBezTo>
                      <a:cubicBezTo>
                        <a:pt x="2494" y="4706"/>
                        <a:pt x="2493" y="4736"/>
                        <a:pt x="2491" y="4764"/>
                      </a:cubicBezTo>
                      <a:cubicBezTo>
                        <a:pt x="2489" y="4810"/>
                        <a:pt x="2484" y="4852"/>
                        <a:pt x="2480" y="4868"/>
                      </a:cubicBezTo>
                      <a:cubicBezTo>
                        <a:pt x="2467" y="4912"/>
                        <a:pt x="2443" y="4948"/>
                        <a:pt x="2407" y="4977"/>
                      </a:cubicBezTo>
                      <a:cubicBezTo>
                        <a:pt x="2412" y="5008"/>
                        <a:pt x="2411" y="5034"/>
                        <a:pt x="2411" y="5054"/>
                      </a:cubicBezTo>
                      <a:cubicBezTo>
                        <a:pt x="2408" y="5060"/>
                        <a:pt x="2414" y="5072"/>
                        <a:pt x="2443" y="5106"/>
                      </a:cubicBezTo>
                      <a:cubicBezTo>
                        <a:pt x="2539" y="5219"/>
                        <a:pt x="2539" y="5383"/>
                        <a:pt x="2539" y="5503"/>
                      </a:cubicBezTo>
                      <a:cubicBezTo>
                        <a:pt x="2539" y="5600"/>
                        <a:pt x="2537" y="5646"/>
                        <a:pt x="2517" y="5700"/>
                      </a:cubicBezTo>
                      <a:cubicBezTo>
                        <a:pt x="2526" y="5730"/>
                        <a:pt x="2534" y="5757"/>
                        <a:pt x="2538" y="5790"/>
                      </a:cubicBezTo>
                      <a:cubicBezTo>
                        <a:pt x="2542" y="5820"/>
                        <a:pt x="2551" y="5872"/>
                        <a:pt x="2558" y="5920"/>
                      </a:cubicBezTo>
                      <a:cubicBezTo>
                        <a:pt x="2569" y="5984"/>
                        <a:pt x="2577" y="6041"/>
                        <a:pt x="2577" y="6052"/>
                      </a:cubicBezTo>
                      <a:cubicBezTo>
                        <a:pt x="2577" y="6105"/>
                        <a:pt x="2557" y="6157"/>
                        <a:pt x="2517" y="6204"/>
                      </a:cubicBezTo>
                      <a:cubicBezTo>
                        <a:pt x="2496" y="6295"/>
                        <a:pt x="2475" y="6370"/>
                        <a:pt x="2399" y="6424"/>
                      </a:cubicBezTo>
                      <a:lnTo>
                        <a:pt x="2375" y="6440"/>
                      </a:lnTo>
                      <a:cubicBezTo>
                        <a:pt x="2381" y="6464"/>
                        <a:pt x="2381" y="6489"/>
                        <a:pt x="2375" y="6518"/>
                      </a:cubicBezTo>
                      <a:cubicBezTo>
                        <a:pt x="2368" y="6553"/>
                        <a:pt x="2352" y="6584"/>
                        <a:pt x="2326" y="6612"/>
                      </a:cubicBezTo>
                      <a:cubicBezTo>
                        <a:pt x="2316" y="6623"/>
                        <a:pt x="2299" y="6630"/>
                        <a:pt x="2287" y="6640"/>
                      </a:cubicBezTo>
                      <a:cubicBezTo>
                        <a:pt x="2268" y="6654"/>
                        <a:pt x="2252" y="6671"/>
                        <a:pt x="2226" y="6683"/>
                      </a:cubicBezTo>
                      <a:lnTo>
                        <a:pt x="2265" y="6785"/>
                      </a:lnTo>
                      <a:lnTo>
                        <a:pt x="2205" y="6859"/>
                      </a:lnTo>
                      <a:cubicBezTo>
                        <a:pt x="2205" y="6860"/>
                        <a:pt x="2205" y="6860"/>
                        <a:pt x="2205" y="6861"/>
                      </a:cubicBezTo>
                      <a:lnTo>
                        <a:pt x="2181" y="6982"/>
                      </a:lnTo>
                      <a:cubicBezTo>
                        <a:pt x="2177" y="6994"/>
                        <a:pt x="2165" y="7066"/>
                        <a:pt x="2137" y="7127"/>
                      </a:cubicBezTo>
                      <a:cubicBezTo>
                        <a:pt x="2197" y="7170"/>
                        <a:pt x="2248" y="7208"/>
                        <a:pt x="2276" y="7266"/>
                      </a:cubicBezTo>
                      <a:cubicBezTo>
                        <a:pt x="2304" y="7325"/>
                        <a:pt x="2303" y="7375"/>
                        <a:pt x="2301" y="7408"/>
                      </a:cubicBezTo>
                      <a:cubicBezTo>
                        <a:pt x="2303" y="7450"/>
                        <a:pt x="2325" y="7505"/>
                        <a:pt x="2344" y="7528"/>
                      </a:cubicBezTo>
                      <a:cubicBezTo>
                        <a:pt x="2365" y="7553"/>
                        <a:pt x="2400" y="7581"/>
                        <a:pt x="2429" y="7605"/>
                      </a:cubicBezTo>
                      <a:cubicBezTo>
                        <a:pt x="2477" y="7644"/>
                        <a:pt x="2511" y="7673"/>
                        <a:pt x="2535" y="7711"/>
                      </a:cubicBezTo>
                      <a:cubicBezTo>
                        <a:pt x="2552" y="7737"/>
                        <a:pt x="2579" y="7789"/>
                        <a:pt x="2590" y="7902"/>
                      </a:cubicBezTo>
                      <a:cubicBezTo>
                        <a:pt x="2594" y="7914"/>
                        <a:pt x="2611" y="7968"/>
                        <a:pt x="2627" y="8019"/>
                      </a:cubicBezTo>
                      <a:cubicBezTo>
                        <a:pt x="2665" y="8138"/>
                        <a:pt x="2672" y="8161"/>
                        <a:pt x="2672" y="8195"/>
                      </a:cubicBezTo>
                      <a:cubicBezTo>
                        <a:pt x="2672" y="8205"/>
                        <a:pt x="2671" y="8215"/>
                        <a:pt x="2670" y="8225"/>
                      </a:cubicBezTo>
                      <a:cubicBezTo>
                        <a:pt x="2735" y="8310"/>
                        <a:pt x="2765" y="8436"/>
                        <a:pt x="2774" y="8480"/>
                      </a:cubicBezTo>
                      <a:cubicBezTo>
                        <a:pt x="2787" y="8553"/>
                        <a:pt x="2768" y="8607"/>
                        <a:pt x="2753" y="8640"/>
                      </a:cubicBezTo>
                      <a:cubicBezTo>
                        <a:pt x="2812" y="8671"/>
                        <a:pt x="2868" y="8722"/>
                        <a:pt x="2935" y="8794"/>
                      </a:cubicBezTo>
                      <a:cubicBezTo>
                        <a:pt x="2960" y="8818"/>
                        <a:pt x="2976" y="8843"/>
                        <a:pt x="2988" y="8868"/>
                      </a:cubicBezTo>
                      <a:cubicBezTo>
                        <a:pt x="3004" y="8874"/>
                        <a:pt x="3016" y="8880"/>
                        <a:pt x="3029" y="8887"/>
                      </a:cubicBezTo>
                      <a:cubicBezTo>
                        <a:pt x="3114" y="8933"/>
                        <a:pt x="3147" y="9000"/>
                        <a:pt x="3163" y="9037"/>
                      </a:cubicBezTo>
                      <a:cubicBezTo>
                        <a:pt x="3162" y="9032"/>
                        <a:pt x="3181" y="9042"/>
                        <a:pt x="3194" y="9048"/>
                      </a:cubicBezTo>
                      <a:cubicBezTo>
                        <a:pt x="3242" y="9072"/>
                        <a:pt x="3284" y="9093"/>
                        <a:pt x="3318" y="9129"/>
                      </a:cubicBezTo>
                      <a:cubicBezTo>
                        <a:pt x="3356" y="9168"/>
                        <a:pt x="3374" y="9215"/>
                        <a:pt x="3382" y="9259"/>
                      </a:cubicBezTo>
                      <a:cubicBezTo>
                        <a:pt x="3398" y="9272"/>
                        <a:pt x="3414" y="9286"/>
                        <a:pt x="3428" y="9304"/>
                      </a:cubicBezTo>
                      <a:cubicBezTo>
                        <a:pt x="3463" y="9349"/>
                        <a:pt x="3474" y="9396"/>
                        <a:pt x="3475" y="9437"/>
                      </a:cubicBezTo>
                      <a:cubicBezTo>
                        <a:pt x="3475" y="9479"/>
                        <a:pt x="3464" y="9516"/>
                        <a:pt x="3457" y="9541"/>
                      </a:cubicBezTo>
                      <a:cubicBezTo>
                        <a:pt x="3432" y="9680"/>
                        <a:pt x="3316" y="9720"/>
                        <a:pt x="3278" y="9733"/>
                      </a:cubicBezTo>
                      <a:cubicBezTo>
                        <a:pt x="3254" y="9742"/>
                        <a:pt x="3214" y="9764"/>
                        <a:pt x="3161" y="9802"/>
                      </a:cubicBezTo>
                      <a:cubicBezTo>
                        <a:pt x="3117" y="9834"/>
                        <a:pt x="3051" y="9886"/>
                        <a:pt x="3029" y="9907"/>
                      </a:cubicBezTo>
                      <a:cubicBezTo>
                        <a:pt x="2994" y="9942"/>
                        <a:pt x="2938" y="9983"/>
                        <a:pt x="2736" y="10019"/>
                      </a:cubicBezTo>
                      <a:cubicBezTo>
                        <a:pt x="2723" y="10027"/>
                        <a:pt x="2709" y="10036"/>
                        <a:pt x="2703" y="10041"/>
                      </a:cubicBezTo>
                      <a:cubicBezTo>
                        <a:pt x="2660" y="10075"/>
                        <a:pt x="2598" y="10111"/>
                        <a:pt x="2486" y="10113"/>
                      </a:cubicBezTo>
                      <a:cubicBezTo>
                        <a:pt x="2456" y="10136"/>
                        <a:pt x="2412" y="10162"/>
                        <a:pt x="2352" y="10175"/>
                      </a:cubicBezTo>
                      <a:cubicBezTo>
                        <a:pt x="2316" y="10182"/>
                        <a:pt x="2289" y="10187"/>
                        <a:pt x="2274" y="10191"/>
                      </a:cubicBezTo>
                      <a:cubicBezTo>
                        <a:pt x="2284" y="10193"/>
                        <a:pt x="2279" y="10221"/>
                        <a:pt x="2275" y="10260"/>
                      </a:cubicBezTo>
                      <a:cubicBezTo>
                        <a:pt x="2263" y="10366"/>
                        <a:pt x="2186" y="10424"/>
                        <a:pt x="2135" y="10463"/>
                      </a:cubicBezTo>
                      <a:cubicBezTo>
                        <a:pt x="2119" y="10474"/>
                        <a:pt x="2102" y="10488"/>
                        <a:pt x="2083" y="10504"/>
                      </a:cubicBezTo>
                      <a:cubicBezTo>
                        <a:pt x="2023" y="10561"/>
                        <a:pt x="1961" y="10589"/>
                        <a:pt x="1914" y="10607"/>
                      </a:cubicBezTo>
                      <a:cubicBezTo>
                        <a:pt x="1921" y="10627"/>
                        <a:pt x="1925" y="10648"/>
                        <a:pt x="1925" y="10671"/>
                      </a:cubicBezTo>
                      <a:lnTo>
                        <a:pt x="1914" y="10785"/>
                      </a:lnTo>
                      <a:cubicBezTo>
                        <a:pt x="1916" y="10802"/>
                        <a:pt x="1917" y="10819"/>
                        <a:pt x="1915" y="10838"/>
                      </a:cubicBezTo>
                      <a:cubicBezTo>
                        <a:pt x="1913" y="10859"/>
                        <a:pt x="1900" y="10926"/>
                        <a:pt x="1831" y="10976"/>
                      </a:cubicBezTo>
                      <a:cubicBezTo>
                        <a:pt x="1828" y="10992"/>
                        <a:pt x="1824" y="11008"/>
                        <a:pt x="1819" y="11025"/>
                      </a:cubicBezTo>
                      <a:cubicBezTo>
                        <a:pt x="1878" y="11102"/>
                        <a:pt x="1872" y="11178"/>
                        <a:pt x="1870" y="11214"/>
                      </a:cubicBezTo>
                      <a:cubicBezTo>
                        <a:pt x="1870" y="11241"/>
                        <a:pt x="1863" y="11265"/>
                        <a:pt x="1855" y="11286"/>
                      </a:cubicBezTo>
                      <a:cubicBezTo>
                        <a:pt x="1857" y="11293"/>
                        <a:pt x="1860" y="11300"/>
                        <a:pt x="1861" y="11307"/>
                      </a:cubicBezTo>
                      <a:cubicBezTo>
                        <a:pt x="1867" y="11331"/>
                        <a:pt x="1868" y="11353"/>
                        <a:pt x="1867" y="11374"/>
                      </a:cubicBezTo>
                      <a:cubicBezTo>
                        <a:pt x="1861" y="11437"/>
                        <a:pt x="1828" y="11487"/>
                        <a:pt x="1814" y="11510"/>
                      </a:cubicBezTo>
                      <a:cubicBezTo>
                        <a:pt x="1781" y="11561"/>
                        <a:pt x="1733" y="11588"/>
                        <a:pt x="1686" y="11603"/>
                      </a:cubicBezTo>
                      <a:cubicBezTo>
                        <a:pt x="1685" y="11606"/>
                        <a:pt x="1684" y="11610"/>
                        <a:pt x="1683" y="11613"/>
                      </a:cubicBezTo>
                      <a:cubicBezTo>
                        <a:pt x="1696" y="11632"/>
                        <a:pt x="1706" y="11684"/>
                        <a:pt x="1688" y="11741"/>
                      </a:cubicBezTo>
                      <a:cubicBezTo>
                        <a:pt x="1679" y="11771"/>
                        <a:pt x="1663" y="11796"/>
                        <a:pt x="1646" y="11819"/>
                      </a:cubicBezTo>
                      <a:cubicBezTo>
                        <a:pt x="1662" y="11860"/>
                        <a:pt x="1670" y="11916"/>
                        <a:pt x="1643" y="11985"/>
                      </a:cubicBezTo>
                      <a:cubicBezTo>
                        <a:pt x="1614" y="12060"/>
                        <a:pt x="1549" y="12112"/>
                        <a:pt x="1447" y="12136"/>
                      </a:cubicBezTo>
                      <a:lnTo>
                        <a:pt x="1433" y="12157"/>
                      </a:lnTo>
                      <a:cubicBezTo>
                        <a:pt x="1377" y="12216"/>
                        <a:pt x="1313" y="12236"/>
                        <a:pt x="1270" y="12245"/>
                      </a:cubicBezTo>
                      <a:cubicBezTo>
                        <a:pt x="1264" y="12251"/>
                        <a:pt x="1256" y="12260"/>
                        <a:pt x="1246" y="12271"/>
                      </a:cubicBezTo>
                      <a:cubicBezTo>
                        <a:pt x="1244" y="12288"/>
                        <a:pt x="1240" y="12308"/>
                        <a:pt x="1232" y="12330"/>
                      </a:cubicBezTo>
                      <a:cubicBezTo>
                        <a:pt x="1194" y="12420"/>
                        <a:pt x="1111" y="12461"/>
                        <a:pt x="1067" y="12482"/>
                      </a:cubicBezTo>
                      <a:lnTo>
                        <a:pt x="1001" y="12536"/>
                      </a:lnTo>
                      <a:lnTo>
                        <a:pt x="930" y="12539"/>
                      </a:lnTo>
                      <a:cubicBezTo>
                        <a:pt x="933" y="12607"/>
                        <a:pt x="900" y="12666"/>
                        <a:pt x="859" y="12715"/>
                      </a:cubicBezTo>
                      <a:cubicBezTo>
                        <a:pt x="915" y="12768"/>
                        <a:pt x="964" y="12846"/>
                        <a:pt x="928" y="12944"/>
                      </a:cubicBezTo>
                      <a:cubicBezTo>
                        <a:pt x="923" y="12957"/>
                        <a:pt x="918" y="12969"/>
                        <a:pt x="912" y="12980"/>
                      </a:cubicBezTo>
                      <a:cubicBezTo>
                        <a:pt x="921" y="13026"/>
                        <a:pt x="910" y="13072"/>
                        <a:pt x="884" y="13119"/>
                      </a:cubicBezTo>
                      <a:lnTo>
                        <a:pt x="850" y="13254"/>
                      </a:lnTo>
                      <a:cubicBezTo>
                        <a:pt x="830" y="13331"/>
                        <a:pt x="794" y="13403"/>
                        <a:pt x="761" y="13459"/>
                      </a:cubicBezTo>
                      <a:cubicBezTo>
                        <a:pt x="765" y="13465"/>
                        <a:pt x="768" y="13471"/>
                        <a:pt x="771" y="13477"/>
                      </a:cubicBezTo>
                      <a:cubicBezTo>
                        <a:pt x="810" y="13488"/>
                        <a:pt x="843" y="13506"/>
                        <a:pt x="870" y="13527"/>
                      </a:cubicBezTo>
                      <a:cubicBezTo>
                        <a:pt x="883" y="13525"/>
                        <a:pt x="897" y="13524"/>
                        <a:pt x="911" y="13524"/>
                      </a:cubicBezTo>
                      <a:lnTo>
                        <a:pt x="975" y="13524"/>
                      </a:lnTo>
                      <a:lnTo>
                        <a:pt x="1060" y="13561"/>
                      </a:lnTo>
                      <a:cubicBezTo>
                        <a:pt x="1115" y="13574"/>
                        <a:pt x="1225" y="13605"/>
                        <a:pt x="1294" y="13661"/>
                      </a:cubicBezTo>
                      <a:cubicBezTo>
                        <a:pt x="1369" y="13721"/>
                        <a:pt x="1386" y="13807"/>
                        <a:pt x="1387" y="13892"/>
                      </a:cubicBezTo>
                      <a:cubicBezTo>
                        <a:pt x="1421" y="13928"/>
                        <a:pt x="1451" y="13974"/>
                        <a:pt x="1454" y="14033"/>
                      </a:cubicBezTo>
                      <a:cubicBezTo>
                        <a:pt x="1457" y="14080"/>
                        <a:pt x="1443" y="14120"/>
                        <a:pt x="1422" y="14153"/>
                      </a:cubicBezTo>
                      <a:cubicBezTo>
                        <a:pt x="1424" y="14159"/>
                        <a:pt x="1426" y="14165"/>
                        <a:pt x="1428" y="14172"/>
                      </a:cubicBezTo>
                      <a:cubicBezTo>
                        <a:pt x="1446" y="14235"/>
                        <a:pt x="1438" y="14303"/>
                        <a:pt x="1403" y="14375"/>
                      </a:cubicBezTo>
                      <a:cubicBezTo>
                        <a:pt x="1399" y="14424"/>
                        <a:pt x="1390" y="14489"/>
                        <a:pt x="1345" y="14554"/>
                      </a:cubicBezTo>
                      <a:cubicBezTo>
                        <a:pt x="1296" y="14625"/>
                        <a:pt x="1213" y="14669"/>
                        <a:pt x="1132" y="14705"/>
                      </a:cubicBezTo>
                      <a:cubicBezTo>
                        <a:pt x="1133" y="14716"/>
                        <a:pt x="1133" y="14728"/>
                        <a:pt x="1133" y="14740"/>
                      </a:cubicBezTo>
                      <a:cubicBezTo>
                        <a:pt x="1123" y="14838"/>
                        <a:pt x="1033" y="14949"/>
                        <a:pt x="812" y="14949"/>
                      </a:cubicBezTo>
                      <a:lnTo>
                        <a:pt x="806" y="14949"/>
                      </a:lnTo>
                      <a:cubicBezTo>
                        <a:pt x="768" y="14967"/>
                        <a:pt x="719" y="14985"/>
                        <a:pt x="658" y="14985"/>
                      </a:cubicBezTo>
                      <a:lnTo>
                        <a:pt x="588" y="14984"/>
                      </a:lnTo>
                      <a:lnTo>
                        <a:pt x="517" y="14985"/>
                      </a:lnTo>
                      <a:cubicBezTo>
                        <a:pt x="488" y="14985"/>
                        <a:pt x="459" y="14984"/>
                        <a:pt x="435" y="14982"/>
                      </a:cubicBezTo>
                      <a:cubicBezTo>
                        <a:pt x="400" y="14978"/>
                        <a:pt x="370" y="14970"/>
                        <a:pt x="344" y="14961"/>
                      </a:cubicBezTo>
                      <a:cubicBezTo>
                        <a:pt x="271" y="15070"/>
                        <a:pt x="166" y="15173"/>
                        <a:pt x="129" y="15190"/>
                      </a:cubicBezTo>
                      <a:cubicBezTo>
                        <a:pt x="118" y="15195"/>
                        <a:pt x="90" y="15205"/>
                        <a:pt x="55" y="15216"/>
                      </a:cubicBezTo>
                      <a:cubicBezTo>
                        <a:pt x="54" y="15244"/>
                        <a:pt x="52" y="15269"/>
                        <a:pt x="46" y="15292"/>
                      </a:cubicBezTo>
                      <a:cubicBezTo>
                        <a:pt x="52" y="15353"/>
                        <a:pt x="36" y="15407"/>
                        <a:pt x="0" y="15454"/>
                      </a:cubicBezTo>
                      <a:cubicBezTo>
                        <a:pt x="756" y="15801"/>
                        <a:pt x="8285" y="19184"/>
                        <a:pt x="12359" y="21013"/>
                      </a:cubicBezTo>
                      <a:cubicBezTo>
                        <a:pt x="12359" y="21013"/>
                        <a:pt x="19310" y="21600"/>
                        <a:pt x="19310" y="21600"/>
                      </a:cubicBezTo>
                      <a:close/>
                      <a:moveTo>
                        <a:pt x="19310" y="21600"/>
                      </a:moveTo>
                    </a:path>
                  </a:pathLst>
                </a:custGeom>
                <a:solidFill>
                  <a:schemeClr val="accent2">
                    <a:lumMod val="60000"/>
                    <a:lumOff val="4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2400"/>
                    <a:buFontTx/>
                    <a:buNone/>
                    <a:tabLst/>
                    <a:defRPr/>
                  </a:pPr>
                  <a:endParaRPr kumimoji="0" sz="18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70" name="Google Shape;426;p54">
                  <a:extLst>
                    <a:ext uri="{FF2B5EF4-FFF2-40B4-BE49-F238E27FC236}">
                      <a16:creationId xmlns:a16="http://schemas.microsoft.com/office/drawing/2014/main" id="{CFC5B740-E0B3-414B-89E8-1A15D5BA6091}"/>
                    </a:ext>
                  </a:extLst>
                </p:cNvPr>
                <p:cNvSpPr/>
                <p:nvPr/>
              </p:nvSpPr>
              <p:spPr>
                <a:xfrm>
                  <a:off x="1731118" y="2814872"/>
                  <a:ext cx="781704" cy="1206252"/>
                </a:xfrm>
                <a:custGeom>
                  <a:avLst/>
                  <a:gdLst/>
                  <a:ahLst/>
                  <a:cxnLst/>
                  <a:rect l="l" t="t" r="r" b="b"/>
                  <a:pathLst>
                    <a:path w="21600" h="21600" extrusionOk="0">
                      <a:moveTo>
                        <a:pt x="18306" y="16385"/>
                      </a:moveTo>
                      <a:lnTo>
                        <a:pt x="21600" y="2209"/>
                      </a:lnTo>
                      <a:cubicBezTo>
                        <a:pt x="20477" y="2101"/>
                        <a:pt x="19353" y="1983"/>
                        <a:pt x="18229" y="1867"/>
                      </a:cubicBezTo>
                      <a:cubicBezTo>
                        <a:pt x="17785" y="1821"/>
                        <a:pt x="17338" y="1779"/>
                        <a:pt x="16895" y="1731"/>
                      </a:cubicBezTo>
                      <a:cubicBezTo>
                        <a:pt x="16253" y="1663"/>
                        <a:pt x="15614" y="1588"/>
                        <a:pt x="14974" y="1517"/>
                      </a:cubicBezTo>
                      <a:cubicBezTo>
                        <a:pt x="14101" y="1420"/>
                        <a:pt x="13225" y="1326"/>
                        <a:pt x="12358" y="1225"/>
                      </a:cubicBezTo>
                      <a:lnTo>
                        <a:pt x="12358" y="1226"/>
                      </a:lnTo>
                      <a:lnTo>
                        <a:pt x="12122" y="1198"/>
                      </a:lnTo>
                      <a:lnTo>
                        <a:pt x="11886" y="1171"/>
                      </a:lnTo>
                      <a:lnTo>
                        <a:pt x="11886" y="1170"/>
                      </a:lnTo>
                      <a:cubicBezTo>
                        <a:pt x="10556" y="1013"/>
                        <a:pt x="9227" y="849"/>
                        <a:pt x="7898" y="681"/>
                      </a:cubicBezTo>
                      <a:cubicBezTo>
                        <a:pt x="7609" y="644"/>
                        <a:pt x="7321" y="608"/>
                        <a:pt x="7032" y="571"/>
                      </a:cubicBezTo>
                      <a:cubicBezTo>
                        <a:pt x="5711" y="400"/>
                        <a:pt x="4390" y="225"/>
                        <a:pt x="3072" y="43"/>
                      </a:cubicBezTo>
                      <a:cubicBezTo>
                        <a:pt x="2964" y="28"/>
                        <a:pt x="2855" y="15"/>
                        <a:pt x="2747" y="0"/>
                      </a:cubicBezTo>
                      <a:lnTo>
                        <a:pt x="0" y="8280"/>
                      </a:lnTo>
                      <a:lnTo>
                        <a:pt x="15023" y="21600"/>
                      </a:lnTo>
                      <a:lnTo>
                        <a:pt x="15033" y="21593"/>
                      </a:lnTo>
                      <a:cubicBezTo>
                        <a:pt x="15067" y="21567"/>
                        <a:pt x="15135" y="21515"/>
                        <a:pt x="15266" y="21501"/>
                      </a:cubicBezTo>
                      <a:cubicBezTo>
                        <a:pt x="15275" y="21481"/>
                        <a:pt x="15285" y="21461"/>
                        <a:pt x="15302" y="21443"/>
                      </a:cubicBezTo>
                      <a:cubicBezTo>
                        <a:pt x="15300" y="21432"/>
                        <a:pt x="15297" y="21420"/>
                        <a:pt x="15294" y="21406"/>
                      </a:cubicBezTo>
                      <a:cubicBezTo>
                        <a:pt x="15285" y="21365"/>
                        <a:pt x="15275" y="21319"/>
                        <a:pt x="15270" y="21291"/>
                      </a:cubicBezTo>
                      <a:cubicBezTo>
                        <a:pt x="15246" y="21232"/>
                        <a:pt x="15218" y="21172"/>
                        <a:pt x="15264" y="21100"/>
                      </a:cubicBezTo>
                      <a:cubicBezTo>
                        <a:pt x="15270" y="21084"/>
                        <a:pt x="15269" y="21068"/>
                        <a:pt x="15269" y="21039"/>
                      </a:cubicBezTo>
                      <a:cubicBezTo>
                        <a:pt x="15269" y="20990"/>
                        <a:pt x="15270" y="20907"/>
                        <a:pt x="15252" y="20882"/>
                      </a:cubicBezTo>
                      <a:cubicBezTo>
                        <a:pt x="15194" y="20830"/>
                        <a:pt x="15134" y="20767"/>
                        <a:pt x="15134" y="20681"/>
                      </a:cubicBezTo>
                      <a:lnTo>
                        <a:pt x="15374" y="20642"/>
                      </a:lnTo>
                      <a:lnTo>
                        <a:pt x="15135" y="20647"/>
                      </a:lnTo>
                      <a:cubicBezTo>
                        <a:pt x="15135" y="20647"/>
                        <a:pt x="15135" y="20647"/>
                        <a:pt x="15134" y="20647"/>
                      </a:cubicBezTo>
                      <a:cubicBezTo>
                        <a:pt x="15133" y="20647"/>
                        <a:pt x="15128" y="20638"/>
                        <a:pt x="15122" y="20623"/>
                      </a:cubicBezTo>
                      <a:cubicBezTo>
                        <a:pt x="15105" y="20578"/>
                        <a:pt x="15087" y="20479"/>
                        <a:pt x="15189" y="20409"/>
                      </a:cubicBezTo>
                      <a:cubicBezTo>
                        <a:pt x="15200" y="20402"/>
                        <a:pt x="15210" y="20396"/>
                        <a:pt x="15221" y="20391"/>
                      </a:cubicBezTo>
                      <a:cubicBezTo>
                        <a:pt x="15225" y="20342"/>
                        <a:pt x="15230" y="20311"/>
                        <a:pt x="15245" y="20283"/>
                      </a:cubicBezTo>
                      <a:cubicBezTo>
                        <a:pt x="15249" y="20275"/>
                        <a:pt x="15254" y="20268"/>
                        <a:pt x="15260" y="20259"/>
                      </a:cubicBezTo>
                      <a:cubicBezTo>
                        <a:pt x="15257" y="20255"/>
                        <a:pt x="15254" y="20251"/>
                        <a:pt x="15251" y="20246"/>
                      </a:cubicBezTo>
                      <a:cubicBezTo>
                        <a:pt x="15209" y="20183"/>
                        <a:pt x="15176" y="20134"/>
                        <a:pt x="15178" y="20086"/>
                      </a:cubicBezTo>
                      <a:cubicBezTo>
                        <a:pt x="15179" y="20070"/>
                        <a:pt x="15183" y="20054"/>
                        <a:pt x="15193" y="20039"/>
                      </a:cubicBezTo>
                      <a:cubicBezTo>
                        <a:pt x="15168" y="20009"/>
                        <a:pt x="15152" y="19976"/>
                        <a:pt x="15158" y="19935"/>
                      </a:cubicBezTo>
                      <a:cubicBezTo>
                        <a:pt x="15161" y="19915"/>
                        <a:pt x="15175" y="19850"/>
                        <a:pt x="15228" y="19793"/>
                      </a:cubicBezTo>
                      <a:cubicBezTo>
                        <a:pt x="15237" y="19765"/>
                        <a:pt x="15239" y="19723"/>
                        <a:pt x="15242" y="19697"/>
                      </a:cubicBezTo>
                      <a:lnTo>
                        <a:pt x="15248" y="19658"/>
                      </a:lnTo>
                      <a:cubicBezTo>
                        <a:pt x="15247" y="19635"/>
                        <a:pt x="15247" y="19594"/>
                        <a:pt x="15280" y="19552"/>
                      </a:cubicBezTo>
                      <a:cubicBezTo>
                        <a:pt x="15288" y="19523"/>
                        <a:pt x="15298" y="19494"/>
                        <a:pt x="15318" y="19466"/>
                      </a:cubicBezTo>
                      <a:cubicBezTo>
                        <a:pt x="15293" y="19437"/>
                        <a:pt x="15278" y="19402"/>
                        <a:pt x="15285" y="19361"/>
                      </a:cubicBezTo>
                      <a:cubicBezTo>
                        <a:pt x="15247" y="19322"/>
                        <a:pt x="15242" y="19284"/>
                        <a:pt x="15247" y="19256"/>
                      </a:cubicBezTo>
                      <a:cubicBezTo>
                        <a:pt x="15226" y="19234"/>
                        <a:pt x="15204" y="19201"/>
                        <a:pt x="15204" y="19156"/>
                      </a:cubicBezTo>
                      <a:cubicBezTo>
                        <a:pt x="15204" y="19109"/>
                        <a:pt x="15245" y="19050"/>
                        <a:pt x="15281" y="19006"/>
                      </a:cubicBezTo>
                      <a:cubicBezTo>
                        <a:pt x="15274" y="18984"/>
                        <a:pt x="15270" y="18959"/>
                        <a:pt x="15278" y="18932"/>
                      </a:cubicBezTo>
                      <a:lnTo>
                        <a:pt x="15279" y="18928"/>
                      </a:lnTo>
                      <a:cubicBezTo>
                        <a:pt x="15255" y="18892"/>
                        <a:pt x="15239" y="18846"/>
                        <a:pt x="15259" y="18795"/>
                      </a:cubicBezTo>
                      <a:lnTo>
                        <a:pt x="15284" y="18731"/>
                      </a:lnTo>
                      <a:lnTo>
                        <a:pt x="15398" y="18677"/>
                      </a:lnTo>
                      <a:cubicBezTo>
                        <a:pt x="15480" y="18646"/>
                        <a:pt x="15554" y="18631"/>
                        <a:pt x="15624" y="18631"/>
                      </a:cubicBezTo>
                      <a:lnTo>
                        <a:pt x="15678" y="18634"/>
                      </a:lnTo>
                      <a:cubicBezTo>
                        <a:pt x="15703" y="18631"/>
                        <a:pt x="15724" y="18630"/>
                        <a:pt x="15741" y="18630"/>
                      </a:cubicBezTo>
                      <a:lnTo>
                        <a:pt x="15745" y="18629"/>
                      </a:lnTo>
                      <a:cubicBezTo>
                        <a:pt x="15797" y="18597"/>
                        <a:pt x="15864" y="18579"/>
                        <a:pt x="15939" y="18579"/>
                      </a:cubicBezTo>
                      <a:lnTo>
                        <a:pt x="16024" y="18588"/>
                      </a:lnTo>
                      <a:cubicBezTo>
                        <a:pt x="16043" y="18583"/>
                        <a:pt x="16062" y="18580"/>
                        <a:pt x="16085" y="18577"/>
                      </a:cubicBezTo>
                      <a:lnTo>
                        <a:pt x="16176" y="18571"/>
                      </a:lnTo>
                      <a:cubicBezTo>
                        <a:pt x="16257" y="18571"/>
                        <a:pt x="16391" y="18583"/>
                        <a:pt x="16464" y="18603"/>
                      </a:cubicBezTo>
                      <a:cubicBezTo>
                        <a:pt x="16498" y="18612"/>
                        <a:pt x="16525" y="18624"/>
                        <a:pt x="16547" y="18638"/>
                      </a:cubicBezTo>
                      <a:lnTo>
                        <a:pt x="16611" y="18648"/>
                      </a:lnTo>
                      <a:cubicBezTo>
                        <a:pt x="16622" y="18651"/>
                        <a:pt x="16634" y="18654"/>
                        <a:pt x="16644" y="18657"/>
                      </a:cubicBezTo>
                      <a:cubicBezTo>
                        <a:pt x="16684" y="18647"/>
                        <a:pt x="16719" y="18641"/>
                        <a:pt x="16759" y="18641"/>
                      </a:cubicBezTo>
                      <a:cubicBezTo>
                        <a:pt x="16837" y="18644"/>
                        <a:pt x="16998" y="18661"/>
                        <a:pt x="17133" y="18769"/>
                      </a:cubicBezTo>
                      <a:cubicBezTo>
                        <a:pt x="17215" y="18835"/>
                        <a:pt x="17292" y="18897"/>
                        <a:pt x="17299" y="18987"/>
                      </a:cubicBezTo>
                      <a:cubicBezTo>
                        <a:pt x="17299" y="18989"/>
                        <a:pt x="17299" y="18991"/>
                        <a:pt x="17299" y="18994"/>
                      </a:cubicBezTo>
                      <a:cubicBezTo>
                        <a:pt x="17328" y="19014"/>
                        <a:pt x="17355" y="19036"/>
                        <a:pt x="17376" y="19064"/>
                      </a:cubicBezTo>
                      <a:lnTo>
                        <a:pt x="17437" y="19056"/>
                      </a:lnTo>
                      <a:cubicBezTo>
                        <a:pt x="17451" y="19038"/>
                        <a:pt x="17471" y="19019"/>
                        <a:pt x="17502" y="19000"/>
                      </a:cubicBezTo>
                      <a:cubicBezTo>
                        <a:pt x="17509" y="18997"/>
                        <a:pt x="17515" y="18993"/>
                        <a:pt x="17522" y="18990"/>
                      </a:cubicBezTo>
                      <a:cubicBezTo>
                        <a:pt x="17532" y="18937"/>
                        <a:pt x="17553" y="18914"/>
                        <a:pt x="17563" y="18903"/>
                      </a:cubicBezTo>
                      <a:lnTo>
                        <a:pt x="17600" y="18863"/>
                      </a:lnTo>
                      <a:lnTo>
                        <a:pt x="17684" y="18834"/>
                      </a:lnTo>
                      <a:cubicBezTo>
                        <a:pt x="17757" y="18759"/>
                        <a:pt x="17801" y="18715"/>
                        <a:pt x="17841" y="18687"/>
                      </a:cubicBezTo>
                      <a:lnTo>
                        <a:pt x="18275" y="16539"/>
                      </a:lnTo>
                      <a:lnTo>
                        <a:pt x="18271" y="16539"/>
                      </a:lnTo>
                      <a:lnTo>
                        <a:pt x="18259" y="16537"/>
                      </a:lnTo>
                      <a:lnTo>
                        <a:pt x="18306" y="16387"/>
                      </a:lnTo>
                      <a:cubicBezTo>
                        <a:pt x="18306" y="16387"/>
                        <a:pt x="18306" y="16385"/>
                        <a:pt x="18306" y="16385"/>
                      </a:cubicBezTo>
                      <a:close/>
                      <a:moveTo>
                        <a:pt x="18306" y="16385"/>
                      </a:moveTo>
                    </a:path>
                  </a:pathLst>
                </a:custGeom>
                <a:solidFill>
                  <a:schemeClr val="accent2">
                    <a:lumMod val="60000"/>
                    <a:lumOff val="4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513F3A"/>
                    </a:solidFill>
                    <a:effectLst/>
                    <a:uLnTx/>
                    <a:uFillTx/>
                    <a:latin typeface="Arial"/>
                    <a:ea typeface="Arial"/>
                    <a:cs typeface="Arial"/>
                    <a:sym typeface="Arial"/>
                  </a:endParaRPr>
                </a:p>
              </p:txBody>
            </p:sp>
            <p:sp>
              <p:nvSpPr>
                <p:cNvPr id="71" name="Google Shape;427;p54">
                  <a:extLst>
                    <a:ext uri="{FF2B5EF4-FFF2-40B4-BE49-F238E27FC236}">
                      <a16:creationId xmlns:a16="http://schemas.microsoft.com/office/drawing/2014/main" id="{CDC21CD7-C86B-4052-AACC-0BDCB411F47C}"/>
                    </a:ext>
                  </a:extLst>
                </p:cNvPr>
                <p:cNvSpPr/>
                <p:nvPr/>
              </p:nvSpPr>
              <p:spPr>
                <a:xfrm>
                  <a:off x="2412827" y="2918174"/>
                  <a:ext cx="676080" cy="861300"/>
                </a:xfrm>
                <a:custGeom>
                  <a:avLst/>
                  <a:gdLst/>
                  <a:ahLst/>
                  <a:cxnLst/>
                  <a:rect l="l" t="t" r="r" b="b"/>
                  <a:pathLst>
                    <a:path w="21600" h="21600" extrusionOk="0">
                      <a:moveTo>
                        <a:pt x="4836" y="20202"/>
                      </a:moveTo>
                      <a:cubicBezTo>
                        <a:pt x="6411" y="20376"/>
                        <a:pt x="7991" y="20541"/>
                        <a:pt x="9573" y="20698"/>
                      </a:cubicBezTo>
                      <a:cubicBezTo>
                        <a:pt x="9763" y="20717"/>
                        <a:pt x="9954" y="20736"/>
                        <a:pt x="10144" y="20755"/>
                      </a:cubicBezTo>
                      <a:cubicBezTo>
                        <a:pt x="11716" y="20910"/>
                        <a:pt x="13288" y="21058"/>
                        <a:pt x="14861" y="21197"/>
                      </a:cubicBezTo>
                      <a:cubicBezTo>
                        <a:pt x="15382" y="21243"/>
                        <a:pt x="15901" y="21282"/>
                        <a:pt x="16422" y="21326"/>
                      </a:cubicBezTo>
                      <a:cubicBezTo>
                        <a:pt x="17528" y="21420"/>
                        <a:pt x="18635" y="21515"/>
                        <a:pt x="19739" y="21600"/>
                      </a:cubicBezTo>
                      <a:lnTo>
                        <a:pt x="21600" y="5809"/>
                      </a:lnTo>
                      <a:cubicBezTo>
                        <a:pt x="21466" y="5799"/>
                        <a:pt x="21330" y="5787"/>
                        <a:pt x="21196" y="5776"/>
                      </a:cubicBezTo>
                      <a:cubicBezTo>
                        <a:pt x="20497" y="5723"/>
                        <a:pt x="19800" y="5666"/>
                        <a:pt x="19102" y="5610"/>
                      </a:cubicBezTo>
                      <a:cubicBezTo>
                        <a:pt x="18651" y="5573"/>
                        <a:pt x="18203" y="5538"/>
                        <a:pt x="17751" y="5500"/>
                      </a:cubicBezTo>
                      <a:cubicBezTo>
                        <a:pt x="16580" y="5402"/>
                        <a:pt x="15409" y="5299"/>
                        <a:pt x="14236" y="5191"/>
                      </a:cubicBezTo>
                      <a:lnTo>
                        <a:pt x="13962" y="5166"/>
                      </a:lnTo>
                      <a:lnTo>
                        <a:pt x="14545" y="1110"/>
                      </a:lnTo>
                      <a:cubicBezTo>
                        <a:pt x="10956" y="784"/>
                        <a:pt x="7333" y="411"/>
                        <a:pt x="3768" y="0"/>
                      </a:cubicBezTo>
                      <a:lnTo>
                        <a:pt x="3368" y="2083"/>
                      </a:lnTo>
                      <a:lnTo>
                        <a:pt x="0" y="19641"/>
                      </a:lnTo>
                      <a:cubicBezTo>
                        <a:pt x="1068" y="19771"/>
                        <a:pt x="2142" y="19892"/>
                        <a:pt x="3215" y="20015"/>
                      </a:cubicBezTo>
                      <a:cubicBezTo>
                        <a:pt x="3756" y="20076"/>
                        <a:pt x="4294" y="20142"/>
                        <a:pt x="4836" y="20202"/>
                      </a:cubicBezTo>
                      <a:close/>
                      <a:moveTo>
                        <a:pt x="4836" y="20202"/>
                      </a:moveTo>
                    </a:path>
                  </a:pathLst>
                </a:custGeom>
                <a:solidFill>
                  <a:schemeClr val="accent2">
                    <a:lumMod val="60000"/>
                    <a:lumOff val="4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2400"/>
                    <a:buFontTx/>
                    <a:buNone/>
                    <a:tabLst/>
                    <a:defRPr/>
                  </a:pPr>
                  <a:endParaRPr kumimoji="0" sz="1800" b="0" i="0" u="none" strike="noStrike" kern="1200" cap="none" spc="0" normalizeH="0" baseline="0" noProof="0">
                    <a:ln>
                      <a:noFill/>
                    </a:ln>
                    <a:solidFill>
                      <a:srgbClr val="005A74"/>
                    </a:solidFill>
                    <a:effectLst/>
                    <a:uLnTx/>
                    <a:uFillTx/>
                    <a:latin typeface="Arial"/>
                    <a:ea typeface="Arial"/>
                    <a:cs typeface="Arial"/>
                    <a:sym typeface="Arial"/>
                  </a:endParaRPr>
                </a:p>
              </p:txBody>
            </p:sp>
          </p:grpSp>
          <p:grpSp>
            <p:nvGrpSpPr>
              <p:cNvPr id="19" name="Google Shape;428;p54">
                <a:extLst>
                  <a:ext uri="{FF2B5EF4-FFF2-40B4-BE49-F238E27FC236}">
                    <a16:creationId xmlns:a16="http://schemas.microsoft.com/office/drawing/2014/main" id="{6DF3265A-67C9-452B-B1BF-A9781482D942}"/>
                  </a:ext>
                </a:extLst>
              </p:cNvPr>
              <p:cNvGrpSpPr/>
              <p:nvPr/>
            </p:nvGrpSpPr>
            <p:grpSpPr>
              <a:xfrm>
                <a:off x="4959266" y="3209115"/>
                <a:ext cx="2861940" cy="2834066"/>
                <a:chOff x="4959266" y="3209115"/>
                <a:chExt cx="2861940" cy="2834066"/>
              </a:xfrm>
            </p:grpSpPr>
            <p:sp>
              <p:nvSpPr>
                <p:cNvPr id="48" name="Google Shape;429;p54">
                  <a:extLst>
                    <a:ext uri="{FF2B5EF4-FFF2-40B4-BE49-F238E27FC236}">
                      <a16:creationId xmlns:a16="http://schemas.microsoft.com/office/drawing/2014/main" id="{8AE9A9BD-5AE7-4B2B-A935-133F9F76808F}"/>
                    </a:ext>
                  </a:extLst>
                </p:cNvPr>
                <p:cNvSpPr/>
                <p:nvPr/>
              </p:nvSpPr>
              <p:spPr>
                <a:xfrm>
                  <a:off x="6660425" y="3291507"/>
                  <a:ext cx="1096524" cy="664578"/>
                </a:xfrm>
                <a:custGeom>
                  <a:avLst/>
                  <a:gdLst/>
                  <a:ahLst/>
                  <a:cxnLst/>
                  <a:rect l="l" t="t" r="r" b="b"/>
                  <a:pathLst>
                    <a:path w="21600" h="21600" extrusionOk="0">
                      <a:moveTo>
                        <a:pt x="5420" y="20041"/>
                      </a:moveTo>
                      <a:cubicBezTo>
                        <a:pt x="5527" y="20015"/>
                        <a:pt x="5633" y="19988"/>
                        <a:pt x="5742" y="19961"/>
                      </a:cubicBezTo>
                      <a:cubicBezTo>
                        <a:pt x="5901" y="19920"/>
                        <a:pt x="6063" y="19877"/>
                        <a:pt x="6227" y="19834"/>
                      </a:cubicBezTo>
                      <a:cubicBezTo>
                        <a:pt x="6338" y="19804"/>
                        <a:pt x="6449" y="19775"/>
                        <a:pt x="6562" y="19744"/>
                      </a:cubicBezTo>
                      <a:cubicBezTo>
                        <a:pt x="6729" y="19698"/>
                        <a:pt x="6900" y="19649"/>
                        <a:pt x="7072" y="19600"/>
                      </a:cubicBezTo>
                      <a:cubicBezTo>
                        <a:pt x="7186" y="19567"/>
                        <a:pt x="7300" y="19536"/>
                        <a:pt x="7416" y="19502"/>
                      </a:cubicBezTo>
                      <a:cubicBezTo>
                        <a:pt x="7594" y="19450"/>
                        <a:pt x="7775" y="19395"/>
                        <a:pt x="7957" y="19340"/>
                      </a:cubicBezTo>
                      <a:cubicBezTo>
                        <a:pt x="8074" y="19305"/>
                        <a:pt x="8190" y="19271"/>
                        <a:pt x="8309" y="19234"/>
                      </a:cubicBezTo>
                      <a:cubicBezTo>
                        <a:pt x="8493" y="19178"/>
                        <a:pt x="8682" y="19117"/>
                        <a:pt x="8871" y="19058"/>
                      </a:cubicBezTo>
                      <a:cubicBezTo>
                        <a:pt x="8994" y="19019"/>
                        <a:pt x="9114" y="18981"/>
                        <a:pt x="9237" y="18942"/>
                      </a:cubicBezTo>
                      <a:cubicBezTo>
                        <a:pt x="9433" y="18879"/>
                        <a:pt x="9633" y="18812"/>
                        <a:pt x="9832" y="18746"/>
                      </a:cubicBezTo>
                      <a:cubicBezTo>
                        <a:pt x="9955" y="18705"/>
                        <a:pt x="10075" y="18666"/>
                        <a:pt x="10200" y="18624"/>
                      </a:cubicBezTo>
                      <a:cubicBezTo>
                        <a:pt x="10404" y="18556"/>
                        <a:pt x="10614" y="18483"/>
                        <a:pt x="10822" y="18411"/>
                      </a:cubicBezTo>
                      <a:cubicBezTo>
                        <a:pt x="10948" y="18368"/>
                        <a:pt x="11073" y="18325"/>
                        <a:pt x="11201" y="18281"/>
                      </a:cubicBezTo>
                      <a:cubicBezTo>
                        <a:pt x="11420" y="18204"/>
                        <a:pt x="11645" y="18124"/>
                        <a:pt x="11868" y="18044"/>
                      </a:cubicBezTo>
                      <a:cubicBezTo>
                        <a:pt x="11990" y="18000"/>
                        <a:pt x="12109" y="17959"/>
                        <a:pt x="12233" y="17914"/>
                      </a:cubicBezTo>
                      <a:cubicBezTo>
                        <a:pt x="12485" y="17823"/>
                        <a:pt x="12743" y="17728"/>
                        <a:pt x="13002" y="17632"/>
                      </a:cubicBezTo>
                      <a:cubicBezTo>
                        <a:pt x="13102" y="17595"/>
                        <a:pt x="13199" y="17560"/>
                        <a:pt x="13299" y="17523"/>
                      </a:cubicBezTo>
                      <a:cubicBezTo>
                        <a:pt x="13636" y="17397"/>
                        <a:pt x="13978" y="17268"/>
                        <a:pt x="14324" y="17136"/>
                      </a:cubicBezTo>
                      <a:cubicBezTo>
                        <a:pt x="14350" y="17125"/>
                        <a:pt x="14375" y="17116"/>
                        <a:pt x="14401" y="17106"/>
                      </a:cubicBezTo>
                      <a:cubicBezTo>
                        <a:pt x="14775" y="16963"/>
                        <a:pt x="15155" y="16815"/>
                        <a:pt x="15540" y="16664"/>
                      </a:cubicBezTo>
                      <a:cubicBezTo>
                        <a:pt x="15656" y="16618"/>
                        <a:pt x="15776" y="16570"/>
                        <a:pt x="15893" y="16524"/>
                      </a:cubicBezTo>
                      <a:cubicBezTo>
                        <a:pt x="16163" y="16417"/>
                        <a:pt x="16433" y="16310"/>
                        <a:pt x="16709" y="16199"/>
                      </a:cubicBezTo>
                      <a:cubicBezTo>
                        <a:pt x="16871" y="16134"/>
                        <a:pt x="17038" y="16065"/>
                        <a:pt x="17203" y="15998"/>
                      </a:cubicBezTo>
                      <a:cubicBezTo>
                        <a:pt x="17437" y="15903"/>
                        <a:pt x="17671" y="15809"/>
                        <a:pt x="17910" y="15711"/>
                      </a:cubicBezTo>
                      <a:cubicBezTo>
                        <a:pt x="18093" y="15636"/>
                        <a:pt x="18281" y="15556"/>
                        <a:pt x="18467" y="15479"/>
                      </a:cubicBezTo>
                      <a:cubicBezTo>
                        <a:pt x="18693" y="15386"/>
                        <a:pt x="18918" y="15293"/>
                        <a:pt x="19147" y="15197"/>
                      </a:cubicBezTo>
                      <a:cubicBezTo>
                        <a:pt x="19340" y="15116"/>
                        <a:pt x="19537" y="15032"/>
                        <a:pt x="19731" y="14949"/>
                      </a:cubicBezTo>
                      <a:cubicBezTo>
                        <a:pt x="19959" y="14853"/>
                        <a:pt x="20186" y="14757"/>
                        <a:pt x="20417" y="14658"/>
                      </a:cubicBezTo>
                      <a:cubicBezTo>
                        <a:pt x="20619" y="14572"/>
                        <a:pt x="20824" y="14483"/>
                        <a:pt x="21027" y="14396"/>
                      </a:cubicBezTo>
                      <a:cubicBezTo>
                        <a:pt x="21218" y="14314"/>
                        <a:pt x="21407" y="14232"/>
                        <a:pt x="21600" y="14148"/>
                      </a:cubicBezTo>
                      <a:cubicBezTo>
                        <a:pt x="21556" y="14009"/>
                        <a:pt x="21525" y="13917"/>
                        <a:pt x="21507" y="13876"/>
                      </a:cubicBezTo>
                      <a:cubicBezTo>
                        <a:pt x="21435" y="13764"/>
                        <a:pt x="21382" y="13672"/>
                        <a:pt x="21324" y="13442"/>
                      </a:cubicBezTo>
                      <a:cubicBezTo>
                        <a:pt x="21282" y="13275"/>
                        <a:pt x="21157" y="12907"/>
                        <a:pt x="21075" y="12681"/>
                      </a:cubicBezTo>
                      <a:cubicBezTo>
                        <a:pt x="21031" y="12736"/>
                        <a:pt x="20983" y="12781"/>
                        <a:pt x="20919" y="12781"/>
                      </a:cubicBezTo>
                      <a:cubicBezTo>
                        <a:pt x="20905" y="12781"/>
                        <a:pt x="20797" y="12780"/>
                        <a:pt x="20730" y="12786"/>
                      </a:cubicBezTo>
                      <a:cubicBezTo>
                        <a:pt x="20701" y="12817"/>
                        <a:pt x="20660" y="12846"/>
                        <a:pt x="20609" y="12846"/>
                      </a:cubicBezTo>
                      <a:lnTo>
                        <a:pt x="20535" y="12846"/>
                      </a:lnTo>
                      <a:lnTo>
                        <a:pt x="20469" y="12762"/>
                      </a:lnTo>
                      <a:cubicBezTo>
                        <a:pt x="20486" y="12784"/>
                        <a:pt x="20452" y="12763"/>
                        <a:pt x="20440" y="12759"/>
                      </a:cubicBezTo>
                      <a:cubicBezTo>
                        <a:pt x="20440" y="12761"/>
                        <a:pt x="20425" y="12761"/>
                        <a:pt x="20383" y="12735"/>
                      </a:cubicBezTo>
                      <a:cubicBezTo>
                        <a:pt x="20376" y="12789"/>
                        <a:pt x="20363" y="12839"/>
                        <a:pt x="20343" y="12884"/>
                      </a:cubicBezTo>
                      <a:cubicBezTo>
                        <a:pt x="20314" y="12946"/>
                        <a:pt x="20280" y="12984"/>
                        <a:pt x="20249" y="13009"/>
                      </a:cubicBezTo>
                      <a:cubicBezTo>
                        <a:pt x="20233" y="13071"/>
                        <a:pt x="20203" y="13148"/>
                        <a:pt x="20146" y="13199"/>
                      </a:cubicBezTo>
                      <a:lnTo>
                        <a:pt x="20059" y="13244"/>
                      </a:lnTo>
                      <a:cubicBezTo>
                        <a:pt x="20002" y="13415"/>
                        <a:pt x="19917" y="13443"/>
                        <a:pt x="19865" y="13443"/>
                      </a:cubicBezTo>
                      <a:cubicBezTo>
                        <a:pt x="19757" y="13443"/>
                        <a:pt x="19555" y="13320"/>
                        <a:pt x="19555" y="13024"/>
                      </a:cubicBezTo>
                      <a:cubicBezTo>
                        <a:pt x="19554" y="13013"/>
                        <a:pt x="19551" y="12985"/>
                        <a:pt x="19548" y="12954"/>
                      </a:cubicBezTo>
                      <a:cubicBezTo>
                        <a:pt x="19523" y="12938"/>
                        <a:pt x="19496" y="12915"/>
                        <a:pt x="19471" y="12880"/>
                      </a:cubicBezTo>
                      <a:cubicBezTo>
                        <a:pt x="19439" y="12868"/>
                        <a:pt x="19392" y="12842"/>
                        <a:pt x="19351" y="12780"/>
                      </a:cubicBezTo>
                      <a:cubicBezTo>
                        <a:pt x="19329" y="12761"/>
                        <a:pt x="19302" y="12738"/>
                        <a:pt x="19276" y="12705"/>
                      </a:cubicBezTo>
                      <a:cubicBezTo>
                        <a:pt x="19265" y="12708"/>
                        <a:pt x="19252" y="12709"/>
                        <a:pt x="19238" y="12709"/>
                      </a:cubicBezTo>
                      <a:lnTo>
                        <a:pt x="19190" y="12709"/>
                      </a:lnTo>
                      <a:lnTo>
                        <a:pt x="19114" y="12661"/>
                      </a:lnTo>
                      <a:cubicBezTo>
                        <a:pt x="19039" y="12608"/>
                        <a:pt x="18923" y="12526"/>
                        <a:pt x="18890" y="12312"/>
                      </a:cubicBezTo>
                      <a:cubicBezTo>
                        <a:pt x="18880" y="12243"/>
                        <a:pt x="18881" y="12179"/>
                        <a:pt x="18886" y="12126"/>
                      </a:cubicBezTo>
                      <a:cubicBezTo>
                        <a:pt x="18849" y="12141"/>
                        <a:pt x="18864" y="12240"/>
                        <a:pt x="18628" y="12009"/>
                      </a:cubicBezTo>
                      <a:cubicBezTo>
                        <a:pt x="18411" y="11956"/>
                        <a:pt x="18400" y="11687"/>
                        <a:pt x="18400" y="11632"/>
                      </a:cubicBezTo>
                      <a:cubicBezTo>
                        <a:pt x="18400" y="11175"/>
                        <a:pt x="18589" y="11152"/>
                        <a:pt x="18627" y="11152"/>
                      </a:cubicBezTo>
                      <a:lnTo>
                        <a:pt x="18636" y="11152"/>
                      </a:lnTo>
                      <a:cubicBezTo>
                        <a:pt x="18648" y="11135"/>
                        <a:pt x="18662" y="11118"/>
                        <a:pt x="18678" y="11103"/>
                      </a:cubicBezTo>
                      <a:cubicBezTo>
                        <a:pt x="18680" y="11102"/>
                        <a:pt x="18840" y="10963"/>
                        <a:pt x="18944" y="10963"/>
                      </a:cubicBezTo>
                      <a:cubicBezTo>
                        <a:pt x="18981" y="10967"/>
                        <a:pt x="19126" y="11014"/>
                        <a:pt x="19233" y="11132"/>
                      </a:cubicBezTo>
                      <a:cubicBezTo>
                        <a:pt x="19218" y="11079"/>
                        <a:pt x="19210" y="11015"/>
                        <a:pt x="19217" y="10942"/>
                      </a:cubicBezTo>
                      <a:cubicBezTo>
                        <a:pt x="19218" y="10890"/>
                        <a:pt x="19271" y="10604"/>
                        <a:pt x="19403" y="10528"/>
                      </a:cubicBezTo>
                      <a:cubicBezTo>
                        <a:pt x="19413" y="10522"/>
                        <a:pt x="19423" y="10518"/>
                        <a:pt x="19433" y="10514"/>
                      </a:cubicBezTo>
                      <a:cubicBezTo>
                        <a:pt x="19368" y="10468"/>
                        <a:pt x="19285" y="10381"/>
                        <a:pt x="19271" y="10200"/>
                      </a:cubicBezTo>
                      <a:cubicBezTo>
                        <a:pt x="19234" y="9992"/>
                        <a:pt x="19286" y="9862"/>
                        <a:pt x="19327" y="9797"/>
                      </a:cubicBezTo>
                      <a:cubicBezTo>
                        <a:pt x="19365" y="9607"/>
                        <a:pt x="19436" y="9509"/>
                        <a:pt x="19539" y="9509"/>
                      </a:cubicBezTo>
                      <a:lnTo>
                        <a:pt x="19551" y="9509"/>
                      </a:lnTo>
                      <a:cubicBezTo>
                        <a:pt x="19472" y="9443"/>
                        <a:pt x="19373" y="9331"/>
                        <a:pt x="19350" y="9164"/>
                      </a:cubicBezTo>
                      <a:lnTo>
                        <a:pt x="19349" y="9164"/>
                      </a:lnTo>
                      <a:lnTo>
                        <a:pt x="19277" y="9064"/>
                      </a:lnTo>
                      <a:cubicBezTo>
                        <a:pt x="19252" y="9048"/>
                        <a:pt x="19222" y="9026"/>
                        <a:pt x="19193" y="8995"/>
                      </a:cubicBezTo>
                      <a:cubicBezTo>
                        <a:pt x="19181" y="9000"/>
                        <a:pt x="19167" y="9003"/>
                        <a:pt x="19153" y="9005"/>
                      </a:cubicBezTo>
                      <a:cubicBezTo>
                        <a:pt x="19097" y="9092"/>
                        <a:pt x="19031" y="9100"/>
                        <a:pt x="19006" y="9100"/>
                      </a:cubicBezTo>
                      <a:lnTo>
                        <a:pt x="18957" y="9100"/>
                      </a:lnTo>
                      <a:lnTo>
                        <a:pt x="18894" y="9052"/>
                      </a:lnTo>
                      <a:cubicBezTo>
                        <a:pt x="18892" y="9050"/>
                        <a:pt x="18674" y="8860"/>
                        <a:pt x="18624" y="8674"/>
                      </a:cubicBezTo>
                      <a:lnTo>
                        <a:pt x="18604" y="8577"/>
                      </a:lnTo>
                      <a:cubicBezTo>
                        <a:pt x="18599" y="8570"/>
                        <a:pt x="18565" y="8489"/>
                        <a:pt x="18539" y="8432"/>
                      </a:cubicBezTo>
                      <a:lnTo>
                        <a:pt x="18445" y="8362"/>
                      </a:lnTo>
                      <a:cubicBezTo>
                        <a:pt x="18392" y="8354"/>
                        <a:pt x="18323" y="8328"/>
                        <a:pt x="18273" y="8243"/>
                      </a:cubicBezTo>
                      <a:cubicBezTo>
                        <a:pt x="18212" y="8230"/>
                        <a:pt x="18154" y="8201"/>
                        <a:pt x="18108" y="8117"/>
                      </a:cubicBezTo>
                      <a:cubicBezTo>
                        <a:pt x="17905" y="7784"/>
                        <a:pt x="17875" y="7719"/>
                        <a:pt x="17855" y="7636"/>
                      </a:cubicBezTo>
                      <a:cubicBezTo>
                        <a:pt x="17834" y="7549"/>
                        <a:pt x="17813" y="7449"/>
                        <a:pt x="17824" y="7338"/>
                      </a:cubicBezTo>
                      <a:cubicBezTo>
                        <a:pt x="17846" y="7182"/>
                        <a:pt x="17920" y="7036"/>
                        <a:pt x="18072" y="7036"/>
                      </a:cubicBezTo>
                      <a:cubicBezTo>
                        <a:pt x="18117" y="7036"/>
                        <a:pt x="18184" y="7050"/>
                        <a:pt x="18242" y="7117"/>
                      </a:cubicBezTo>
                      <a:cubicBezTo>
                        <a:pt x="18280" y="7160"/>
                        <a:pt x="18319" y="7238"/>
                        <a:pt x="18350" y="7307"/>
                      </a:cubicBezTo>
                      <a:lnTo>
                        <a:pt x="18417" y="7307"/>
                      </a:lnTo>
                      <a:lnTo>
                        <a:pt x="18503" y="7387"/>
                      </a:lnTo>
                      <a:cubicBezTo>
                        <a:pt x="18516" y="7404"/>
                        <a:pt x="18534" y="7425"/>
                        <a:pt x="18549" y="7444"/>
                      </a:cubicBezTo>
                      <a:lnTo>
                        <a:pt x="18589" y="7444"/>
                      </a:lnTo>
                      <a:lnTo>
                        <a:pt x="18660" y="7524"/>
                      </a:lnTo>
                      <a:lnTo>
                        <a:pt x="18742" y="7524"/>
                      </a:lnTo>
                      <a:lnTo>
                        <a:pt x="18840" y="7664"/>
                      </a:lnTo>
                      <a:cubicBezTo>
                        <a:pt x="18864" y="7689"/>
                        <a:pt x="18903" y="7742"/>
                        <a:pt x="18938" y="7807"/>
                      </a:cubicBezTo>
                      <a:cubicBezTo>
                        <a:pt x="18952" y="7833"/>
                        <a:pt x="18968" y="7856"/>
                        <a:pt x="18982" y="7877"/>
                      </a:cubicBezTo>
                      <a:cubicBezTo>
                        <a:pt x="19007" y="7914"/>
                        <a:pt x="19035" y="7957"/>
                        <a:pt x="19059" y="8009"/>
                      </a:cubicBezTo>
                      <a:cubicBezTo>
                        <a:pt x="19134" y="7996"/>
                        <a:pt x="19205" y="7999"/>
                        <a:pt x="19293" y="8071"/>
                      </a:cubicBezTo>
                      <a:cubicBezTo>
                        <a:pt x="19298" y="8020"/>
                        <a:pt x="19310" y="7964"/>
                        <a:pt x="19334" y="7910"/>
                      </a:cubicBezTo>
                      <a:cubicBezTo>
                        <a:pt x="19334" y="7910"/>
                        <a:pt x="19334" y="7909"/>
                        <a:pt x="19334" y="7909"/>
                      </a:cubicBezTo>
                      <a:cubicBezTo>
                        <a:pt x="19304" y="7786"/>
                        <a:pt x="19279" y="7671"/>
                        <a:pt x="19269" y="7564"/>
                      </a:cubicBezTo>
                      <a:cubicBezTo>
                        <a:pt x="19266" y="7527"/>
                        <a:pt x="19259" y="7498"/>
                        <a:pt x="19254" y="7473"/>
                      </a:cubicBezTo>
                      <a:cubicBezTo>
                        <a:pt x="19238" y="7395"/>
                        <a:pt x="19189" y="7158"/>
                        <a:pt x="19308" y="6973"/>
                      </a:cubicBezTo>
                      <a:cubicBezTo>
                        <a:pt x="19318" y="6958"/>
                        <a:pt x="19329" y="6944"/>
                        <a:pt x="19339" y="6932"/>
                      </a:cubicBezTo>
                      <a:cubicBezTo>
                        <a:pt x="19277" y="6920"/>
                        <a:pt x="19202" y="6898"/>
                        <a:pt x="19140" y="6823"/>
                      </a:cubicBezTo>
                      <a:cubicBezTo>
                        <a:pt x="19002" y="6845"/>
                        <a:pt x="18920" y="6824"/>
                        <a:pt x="18851" y="6742"/>
                      </a:cubicBezTo>
                      <a:lnTo>
                        <a:pt x="18815" y="6699"/>
                      </a:lnTo>
                      <a:cubicBezTo>
                        <a:pt x="18790" y="6667"/>
                        <a:pt x="18757" y="6624"/>
                        <a:pt x="18730" y="6596"/>
                      </a:cubicBezTo>
                      <a:cubicBezTo>
                        <a:pt x="18671" y="6586"/>
                        <a:pt x="18584" y="6551"/>
                        <a:pt x="18524" y="6434"/>
                      </a:cubicBezTo>
                      <a:cubicBezTo>
                        <a:pt x="18513" y="6416"/>
                        <a:pt x="18424" y="6258"/>
                        <a:pt x="18390" y="6212"/>
                      </a:cubicBezTo>
                      <a:cubicBezTo>
                        <a:pt x="18398" y="6226"/>
                        <a:pt x="18378" y="6216"/>
                        <a:pt x="18357" y="6205"/>
                      </a:cubicBezTo>
                      <a:cubicBezTo>
                        <a:pt x="18290" y="6170"/>
                        <a:pt x="18233" y="6139"/>
                        <a:pt x="18187" y="6072"/>
                      </a:cubicBezTo>
                      <a:cubicBezTo>
                        <a:pt x="18171" y="6048"/>
                        <a:pt x="18157" y="6021"/>
                        <a:pt x="18147" y="5995"/>
                      </a:cubicBezTo>
                      <a:cubicBezTo>
                        <a:pt x="18141" y="5996"/>
                        <a:pt x="18137" y="5997"/>
                        <a:pt x="18132" y="5998"/>
                      </a:cubicBezTo>
                      <a:cubicBezTo>
                        <a:pt x="18111" y="6031"/>
                        <a:pt x="18088" y="6053"/>
                        <a:pt x="18066" y="6068"/>
                      </a:cubicBezTo>
                      <a:cubicBezTo>
                        <a:pt x="18057" y="6074"/>
                        <a:pt x="17989" y="6114"/>
                        <a:pt x="17923" y="6114"/>
                      </a:cubicBezTo>
                      <a:lnTo>
                        <a:pt x="17814" y="6114"/>
                      </a:lnTo>
                      <a:lnTo>
                        <a:pt x="17757" y="6001"/>
                      </a:lnTo>
                      <a:cubicBezTo>
                        <a:pt x="17754" y="6002"/>
                        <a:pt x="17751" y="6002"/>
                        <a:pt x="17749" y="6003"/>
                      </a:cubicBezTo>
                      <a:cubicBezTo>
                        <a:pt x="17691" y="6070"/>
                        <a:pt x="17626" y="6108"/>
                        <a:pt x="17562" y="6108"/>
                      </a:cubicBezTo>
                      <a:lnTo>
                        <a:pt x="17502" y="6095"/>
                      </a:lnTo>
                      <a:cubicBezTo>
                        <a:pt x="17480" y="6086"/>
                        <a:pt x="17420" y="6045"/>
                        <a:pt x="17364" y="6002"/>
                      </a:cubicBezTo>
                      <a:cubicBezTo>
                        <a:pt x="17338" y="5983"/>
                        <a:pt x="17313" y="5964"/>
                        <a:pt x="17300" y="5955"/>
                      </a:cubicBezTo>
                      <a:cubicBezTo>
                        <a:pt x="17309" y="5963"/>
                        <a:pt x="17291" y="5963"/>
                        <a:pt x="17270" y="5962"/>
                      </a:cubicBezTo>
                      <a:cubicBezTo>
                        <a:pt x="17184" y="5958"/>
                        <a:pt x="17103" y="5954"/>
                        <a:pt x="17039" y="5835"/>
                      </a:cubicBezTo>
                      <a:cubicBezTo>
                        <a:pt x="17002" y="5771"/>
                        <a:pt x="16944" y="5670"/>
                        <a:pt x="16939" y="5528"/>
                      </a:cubicBezTo>
                      <a:cubicBezTo>
                        <a:pt x="16850" y="5465"/>
                        <a:pt x="16732" y="5363"/>
                        <a:pt x="16707" y="5170"/>
                      </a:cubicBezTo>
                      <a:cubicBezTo>
                        <a:pt x="16697" y="5173"/>
                        <a:pt x="16686" y="5174"/>
                        <a:pt x="16675" y="5175"/>
                      </a:cubicBezTo>
                      <a:cubicBezTo>
                        <a:pt x="16634" y="5254"/>
                        <a:pt x="16578" y="5335"/>
                        <a:pt x="16512" y="5360"/>
                      </a:cubicBezTo>
                      <a:lnTo>
                        <a:pt x="16498" y="5381"/>
                      </a:lnTo>
                      <a:cubicBezTo>
                        <a:pt x="16397" y="5470"/>
                        <a:pt x="16336" y="5520"/>
                        <a:pt x="16266" y="5520"/>
                      </a:cubicBezTo>
                      <a:lnTo>
                        <a:pt x="16264" y="5238"/>
                      </a:lnTo>
                      <a:cubicBezTo>
                        <a:pt x="16262" y="5238"/>
                        <a:pt x="16260" y="5237"/>
                        <a:pt x="16258" y="5236"/>
                      </a:cubicBezTo>
                      <a:lnTo>
                        <a:pt x="16226" y="5514"/>
                      </a:lnTo>
                      <a:cubicBezTo>
                        <a:pt x="16132" y="5490"/>
                        <a:pt x="15961" y="5446"/>
                        <a:pt x="15921" y="5194"/>
                      </a:cubicBezTo>
                      <a:cubicBezTo>
                        <a:pt x="15888" y="5150"/>
                        <a:pt x="15860" y="5101"/>
                        <a:pt x="15834" y="5016"/>
                      </a:cubicBezTo>
                      <a:cubicBezTo>
                        <a:pt x="15834" y="5016"/>
                        <a:pt x="15724" y="4635"/>
                        <a:pt x="15724" y="4447"/>
                      </a:cubicBezTo>
                      <a:cubicBezTo>
                        <a:pt x="15724" y="4225"/>
                        <a:pt x="15735" y="4050"/>
                        <a:pt x="15788" y="3919"/>
                      </a:cubicBezTo>
                      <a:cubicBezTo>
                        <a:pt x="15785" y="3849"/>
                        <a:pt x="15785" y="3767"/>
                        <a:pt x="15808" y="3682"/>
                      </a:cubicBezTo>
                      <a:cubicBezTo>
                        <a:pt x="15812" y="3662"/>
                        <a:pt x="15820" y="3599"/>
                        <a:pt x="15822" y="3564"/>
                      </a:cubicBezTo>
                      <a:cubicBezTo>
                        <a:pt x="15805" y="3452"/>
                        <a:pt x="15768" y="3110"/>
                        <a:pt x="15952" y="2995"/>
                      </a:cubicBezTo>
                      <a:cubicBezTo>
                        <a:pt x="15993" y="2967"/>
                        <a:pt x="16033" y="2941"/>
                        <a:pt x="16083" y="2941"/>
                      </a:cubicBezTo>
                      <a:lnTo>
                        <a:pt x="16113" y="2941"/>
                      </a:lnTo>
                      <a:cubicBezTo>
                        <a:pt x="16113" y="2934"/>
                        <a:pt x="16114" y="2926"/>
                        <a:pt x="16114" y="2919"/>
                      </a:cubicBezTo>
                      <a:cubicBezTo>
                        <a:pt x="16115" y="2908"/>
                        <a:pt x="16116" y="2896"/>
                        <a:pt x="16117" y="2883"/>
                      </a:cubicBezTo>
                      <a:cubicBezTo>
                        <a:pt x="16118" y="2864"/>
                        <a:pt x="16122" y="2843"/>
                        <a:pt x="16126" y="2821"/>
                      </a:cubicBezTo>
                      <a:cubicBezTo>
                        <a:pt x="16128" y="2808"/>
                        <a:pt x="16131" y="2795"/>
                        <a:pt x="16134" y="2780"/>
                      </a:cubicBezTo>
                      <a:cubicBezTo>
                        <a:pt x="16140" y="2754"/>
                        <a:pt x="16150" y="2724"/>
                        <a:pt x="16161" y="2693"/>
                      </a:cubicBezTo>
                      <a:cubicBezTo>
                        <a:pt x="16165" y="2678"/>
                        <a:pt x="16169" y="2665"/>
                        <a:pt x="16175" y="2648"/>
                      </a:cubicBezTo>
                      <a:cubicBezTo>
                        <a:pt x="16193" y="2602"/>
                        <a:pt x="16216" y="2549"/>
                        <a:pt x="16246" y="2489"/>
                      </a:cubicBezTo>
                      <a:lnTo>
                        <a:pt x="16239" y="2211"/>
                      </a:lnTo>
                      <a:cubicBezTo>
                        <a:pt x="16238" y="2192"/>
                        <a:pt x="16238" y="2173"/>
                        <a:pt x="16238" y="2153"/>
                      </a:cubicBezTo>
                      <a:cubicBezTo>
                        <a:pt x="16238" y="2148"/>
                        <a:pt x="16236" y="2144"/>
                        <a:pt x="16236" y="2139"/>
                      </a:cubicBezTo>
                      <a:lnTo>
                        <a:pt x="16233" y="2030"/>
                      </a:lnTo>
                      <a:lnTo>
                        <a:pt x="16235" y="2025"/>
                      </a:lnTo>
                      <a:cubicBezTo>
                        <a:pt x="16235" y="2011"/>
                        <a:pt x="16234" y="1998"/>
                        <a:pt x="16234" y="1985"/>
                      </a:cubicBezTo>
                      <a:cubicBezTo>
                        <a:pt x="16234" y="1967"/>
                        <a:pt x="16234" y="1949"/>
                        <a:pt x="16234" y="1933"/>
                      </a:cubicBezTo>
                      <a:cubicBezTo>
                        <a:pt x="16222" y="1918"/>
                        <a:pt x="16209" y="1904"/>
                        <a:pt x="16199" y="1892"/>
                      </a:cubicBezTo>
                      <a:cubicBezTo>
                        <a:pt x="16192" y="1883"/>
                        <a:pt x="16185" y="1875"/>
                        <a:pt x="16179" y="1868"/>
                      </a:cubicBezTo>
                      <a:lnTo>
                        <a:pt x="16141" y="1854"/>
                      </a:lnTo>
                      <a:lnTo>
                        <a:pt x="16096" y="1966"/>
                      </a:lnTo>
                      <a:lnTo>
                        <a:pt x="15938" y="1609"/>
                      </a:lnTo>
                      <a:cubicBezTo>
                        <a:pt x="15930" y="1592"/>
                        <a:pt x="15924" y="1582"/>
                        <a:pt x="15915" y="1562"/>
                      </a:cubicBezTo>
                      <a:cubicBezTo>
                        <a:pt x="15678" y="1565"/>
                        <a:pt x="15641" y="1535"/>
                        <a:pt x="15605" y="1502"/>
                      </a:cubicBezTo>
                      <a:cubicBezTo>
                        <a:pt x="15536" y="1441"/>
                        <a:pt x="15500" y="1329"/>
                        <a:pt x="15483" y="1221"/>
                      </a:cubicBezTo>
                      <a:cubicBezTo>
                        <a:pt x="15482" y="1221"/>
                        <a:pt x="15480" y="1220"/>
                        <a:pt x="15478" y="1219"/>
                      </a:cubicBezTo>
                      <a:lnTo>
                        <a:pt x="15440" y="1202"/>
                      </a:lnTo>
                      <a:cubicBezTo>
                        <a:pt x="15417" y="1191"/>
                        <a:pt x="15390" y="1188"/>
                        <a:pt x="15367" y="1189"/>
                      </a:cubicBezTo>
                      <a:cubicBezTo>
                        <a:pt x="15347" y="1190"/>
                        <a:pt x="15328" y="1193"/>
                        <a:pt x="15314" y="1200"/>
                      </a:cubicBezTo>
                      <a:cubicBezTo>
                        <a:pt x="15242" y="1236"/>
                        <a:pt x="15150" y="1235"/>
                        <a:pt x="15071" y="1224"/>
                      </a:cubicBezTo>
                      <a:cubicBezTo>
                        <a:pt x="14929" y="1220"/>
                        <a:pt x="14850" y="1114"/>
                        <a:pt x="14808" y="1045"/>
                      </a:cubicBezTo>
                      <a:cubicBezTo>
                        <a:pt x="14791" y="1041"/>
                        <a:pt x="14772" y="1033"/>
                        <a:pt x="14751" y="1021"/>
                      </a:cubicBezTo>
                      <a:cubicBezTo>
                        <a:pt x="14573" y="915"/>
                        <a:pt x="14552" y="495"/>
                        <a:pt x="14554" y="346"/>
                      </a:cubicBezTo>
                      <a:cubicBezTo>
                        <a:pt x="14554" y="325"/>
                        <a:pt x="14555" y="309"/>
                        <a:pt x="14556" y="301"/>
                      </a:cubicBezTo>
                      <a:cubicBezTo>
                        <a:pt x="14562" y="244"/>
                        <a:pt x="14575" y="196"/>
                        <a:pt x="14591" y="157"/>
                      </a:cubicBezTo>
                      <a:lnTo>
                        <a:pt x="14541" y="145"/>
                      </a:lnTo>
                      <a:cubicBezTo>
                        <a:pt x="14487" y="112"/>
                        <a:pt x="14445" y="56"/>
                        <a:pt x="14411" y="0"/>
                      </a:cubicBezTo>
                      <a:cubicBezTo>
                        <a:pt x="14385" y="14"/>
                        <a:pt x="14357" y="24"/>
                        <a:pt x="14329" y="27"/>
                      </a:cubicBezTo>
                      <a:cubicBezTo>
                        <a:pt x="14282" y="28"/>
                        <a:pt x="14241" y="17"/>
                        <a:pt x="14209" y="4"/>
                      </a:cubicBezTo>
                      <a:lnTo>
                        <a:pt x="14080" y="1473"/>
                      </a:lnTo>
                      <a:lnTo>
                        <a:pt x="12457" y="122"/>
                      </a:lnTo>
                      <a:cubicBezTo>
                        <a:pt x="12489" y="214"/>
                        <a:pt x="12489" y="303"/>
                        <a:pt x="12480" y="374"/>
                      </a:cubicBezTo>
                      <a:cubicBezTo>
                        <a:pt x="12471" y="443"/>
                        <a:pt x="12423" y="616"/>
                        <a:pt x="12376" y="769"/>
                      </a:cubicBezTo>
                      <a:cubicBezTo>
                        <a:pt x="12401" y="844"/>
                        <a:pt x="12426" y="975"/>
                        <a:pt x="12383" y="1131"/>
                      </a:cubicBezTo>
                      <a:cubicBezTo>
                        <a:pt x="12441" y="1220"/>
                        <a:pt x="12449" y="1328"/>
                        <a:pt x="12449" y="1384"/>
                      </a:cubicBezTo>
                      <a:cubicBezTo>
                        <a:pt x="12449" y="1503"/>
                        <a:pt x="12416" y="1591"/>
                        <a:pt x="12386" y="1652"/>
                      </a:cubicBezTo>
                      <a:cubicBezTo>
                        <a:pt x="12385" y="1677"/>
                        <a:pt x="12383" y="1708"/>
                        <a:pt x="12379" y="1740"/>
                      </a:cubicBezTo>
                      <a:cubicBezTo>
                        <a:pt x="12360" y="1875"/>
                        <a:pt x="12303" y="1955"/>
                        <a:pt x="12252" y="2027"/>
                      </a:cubicBezTo>
                      <a:cubicBezTo>
                        <a:pt x="12235" y="2051"/>
                        <a:pt x="12230" y="2078"/>
                        <a:pt x="12225" y="2102"/>
                      </a:cubicBezTo>
                      <a:cubicBezTo>
                        <a:pt x="12214" y="2160"/>
                        <a:pt x="12203" y="2210"/>
                        <a:pt x="12193" y="2236"/>
                      </a:cubicBezTo>
                      <a:cubicBezTo>
                        <a:pt x="12187" y="2254"/>
                        <a:pt x="12170" y="2296"/>
                        <a:pt x="12149" y="2346"/>
                      </a:cubicBezTo>
                      <a:cubicBezTo>
                        <a:pt x="12171" y="2437"/>
                        <a:pt x="12182" y="2584"/>
                        <a:pt x="12097" y="2740"/>
                      </a:cubicBezTo>
                      <a:cubicBezTo>
                        <a:pt x="12079" y="2834"/>
                        <a:pt x="12060" y="2913"/>
                        <a:pt x="12027" y="2980"/>
                      </a:cubicBezTo>
                      <a:lnTo>
                        <a:pt x="11966" y="3106"/>
                      </a:lnTo>
                      <a:lnTo>
                        <a:pt x="11910" y="3115"/>
                      </a:lnTo>
                      <a:cubicBezTo>
                        <a:pt x="11896" y="3272"/>
                        <a:pt x="11831" y="3361"/>
                        <a:pt x="11763" y="3456"/>
                      </a:cubicBezTo>
                      <a:lnTo>
                        <a:pt x="11702" y="3587"/>
                      </a:lnTo>
                      <a:lnTo>
                        <a:pt x="11625" y="3601"/>
                      </a:lnTo>
                      <a:cubicBezTo>
                        <a:pt x="11611" y="3631"/>
                        <a:pt x="11594" y="3658"/>
                        <a:pt x="11578" y="3681"/>
                      </a:cubicBezTo>
                      <a:lnTo>
                        <a:pt x="11570" y="3747"/>
                      </a:lnTo>
                      <a:cubicBezTo>
                        <a:pt x="11547" y="3921"/>
                        <a:pt x="11512" y="4147"/>
                        <a:pt x="11481" y="4231"/>
                      </a:cubicBezTo>
                      <a:cubicBezTo>
                        <a:pt x="11485" y="4239"/>
                        <a:pt x="11476" y="4380"/>
                        <a:pt x="11476" y="4383"/>
                      </a:cubicBezTo>
                      <a:lnTo>
                        <a:pt x="11440" y="4896"/>
                      </a:lnTo>
                      <a:lnTo>
                        <a:pt x="10981" y="4446"/>
                      </a:lnTo>
                      <a:cubicBezTo>
                        <a:pt x="10967" y="4494"/>
                        <a:pt x="10947" y="4533"/>
                        <a:pt x="10926" y="4564"/>
                      </a:cubicBezTo>
                      <a:cubicBezTo>
                        <a:pt x="10927" y="4624"/>
                        <a:pt x="10925" y="4671"/>
                        <a:pt x="10919" y="4719"/>
                      </a:cubicBezTo>
                      <a:cubicBezTo>
                        <a:pt x="10919" y="4720"/>
                        <a:pt x="10909" y="4790"/>
                        <a:pt x="10894" y="4871"/>
                      </a:cubicBezTo>
                      <a:cubicBezTo>
                        <a:pt x="10953" y="5034"/>
                        <a:pt x="10927" y="5232"/>
                        <a:pt x="10901" y="5329"/>
                      </a:cubicBezTo>
                      <a:cubicBezTo>
                        <a:pt x="10873" y="5431"/>
                        <a:pt x="10826" y="5484"/>
                        <a:pt x="10785" y="5523"/>
                      </a:cubicBezTo>
                      <a:cubicBezTo>
                        <a:pt x="10785" y="5565"/>
                        <a:pt x="10786" y="5611"/>
                        <a:pt x="10786" y="5655"/>
                      </a:cubicBezTo>
                      <a:cubicBezTo>
                        <a:pt x="10786" y="5655"/>
                        <a:pt x="10786" y="5655"/>
                        <a:pt x="10786" y="5655"/>
                      </a:cubicBezTo>
                      <a:cubicBezTo>
                        <a:pt x="10788" y="5817"/>
                        <a:pt x="10788" y="5892"/>
                        <a:pt x="10771" y="5969"/>
                      </a:cubicBezTo>
                      <a:cubicBezTo>
                        <a:pt x="10759" y="6024"/>
                        <a:pt x="10731" y="6127"/>
                        <a:pt x="10701" y="6222"/>
                      </a:cubicBezTo>
                      <a:cubicBezTo>
                        <a:pt x="10708" y="6199"/>
                        <a:pt x="10714" y="6255"/>
                        <a:pt x="10716" y="6283"/>
                      </a:cubicBezTo>
                      <a:lnTo>
                        <a:pt x="10721" y="6363"/>
                      </a:lnTo>
                      <a:cubicBezTo>
                        <a:pt x="10726" y="6523"/>
                        <a:pt x="10667" y="6637"/>
                        <a:pt x="10642" y="6686"/>
                      </a:cubicBezTo>
                      <a:cubicBezTo>
                        <a:pt x="10635" y="6707"/>
                        <a:pt x="10623" y="6765"/>
                        <a:pt x="10614" y="6805"/>
                      </a:cubicBezTo>
                      <a:cubicBezTo>
                        <a:pt x="10585" y="6932"/>
                        <a:pt x="10512" y="7143"/>
                        <a:pt x="10423" y="7236"/>
                      </a:cubicBezTo>
                      <a:cubicBezTo>
                        <a:pt x="10339" y="7322"/>
                        <a:pt x="10215" y="7304"/>
                        <a:pt x="10122" y="7271"/>
                      </a:cubicBezTo>
                      <a:cubicBezTo>
                        <a:pt x="10068" y="7253"/>
                        <a:pt x="9921" y="7240"/>
                        <a:pt x="9863" y="7234"/>
                      </a:cubicBezTo>
                      <a:cubicBezTo>
                        <a:pt x="9702" y="7214"/>
                        <a:pt x="9622" y="7026"/>
                        <a:pt x="9558" y="6875"/>
                      </a:cubicBezTo>
                      <a:cubicBezTo>
                        <a:pt x="9484" y="6697"/>
                        <a:pt x="9454" y="6656"/>
                        <a:pt x="9447" y="6648"/>
                      </a:cubicBezTo>
                      <a:cubicBezTo>
                        <a:pt x="9440" y="6652"/>
                        <a:pt x="9428" y="6652"/>
                        <a:pt x="9414" y="6649"/>
                      </a:cubicBezTo>
                      <a:cubicBezTo>
                        <a:pt x="9422" y="6730"/>
                        <a:pt x="9413" y="6829"/>
                        <a:pt x="9367" y="6939"/>
                      </a:cubicBezTo>
                      <a:cubicBezTo>
                        <a:pt x="9379" y="6984"/>
                        <a:pt x="9390" y="7026"/>
                        <a:pt x="9396" y="7062"/>
                      </a:cubicBezTo>
                      <a:cubicBezTo>
                        <a:pt x="9430" y="7262"/>
                        <a:pt x="9381" y="7421"/>
                        <a:pt x="9345" y="7537"/>
                      </a:cubicBezTo>
                      <a:cubicBezTo>
                        <a:pt x="9341" y="7548"/>
                        <a:pt x="9344" y="7582"/>
                        <a:pt x="9345" y="7602"/>
                      </a:cubicBezTo>
                      <a:cubicBezTo>
                        <a:pt x="9351" y="7664"/>
                        <a:pt x="9357" y="7740"/>
                        <a:pt x="9340" y="7828"/>
                      </a:cubicBezTo>
                      <a:cubicBezTo>
                        <a:pt x="9331" y="7877"/>
                        <a:pt x="9303" y="7980"/>
                        <a:pt x="9225" y="8045"/>
                      </a:cubicBezTo>
                      <a:cubicBezTo>
                        <a:pt x="9220" y="8064"/>
                        <a:pt x="9214" y="8082"/>
                        <a:pt x="9207" y="8100"/>
                      </a:cubicBezTo>
                      <a:cubicBezTo>
                        <a:pt x="9231" y="8155"/>
                        <a:pt x="9244" y="8218"/>
                        <a:pt x="9246" y="8287"/>
                      </a:cubicBezTo>
                      <a:cubicBezTo>
                        <a:pt x="9253" y="8479"/>
                        <a:pt x="9176" y="8611"/>
                        <a:pt x="9108" y="8727"/>
                      </a:cubicBezTo>
                      <a:lnTo>
                        <a:pt x="9076" y="8782"/>
                      </a:lnTo>
                      <a:cubicBezTo>
                        <a:pt x="9054" y="8830"/>
                        <a:pt x="9005" y="8961"/>
                        <a:pt x="8971" y="9058"/>
                      </a:cubicBezTo>
                      <a:cubicBezTo>
                        <a:pt x="8971" y="9060"/>
                        <a:pt x="8971" y="9063"/>
                        <a:pt x="8971" y="9066"/>
                      </a:cubicBezTo>
                      <a:cubicBezTo>
                        <a:pt x="8976" y="9145"/>
                        <a:pt x="8965" y="9217"/>
                        <a:pt x="8948" y="9286"/>
                      </a:cubicBezTo>
                      <a:lnTo>
                        <a:pt x="8990" y="9356"/>
                      </a:lnTo>
                      <a:lnTo>
                        <a:pt x="8992" y="9519"/>
                      </a:lnTo>
                      <a:cubicBezTo>
                        <a:pt x="8990" y="9649"/>
                        <a:pt x="8948" y="9737"/>
                        <a:pt x="8916" y="9789"/>
                      </a:cubicBezTo>
                      <a:cubicBezTo>
                        <a:pt x="8910" y="9863"/>
                        <a:pt x="8897" y="10019"/>
                        <a:pt x="8896" y="10062"/>
                      </a:cubicBezTo>
                      <a:cubicBezTo>
                        <a:pt x="8896" y="10182"/>
                        <a:pt x="8872" y="10279"/>
                        <a:pt x="8652" y="10871"/>
                      </a:cubicBezTo>
                      <a:lnTo>
                        <a:pt x="8607" y="10992"/>
                      </a:lnTo>
                      <a:cubicBezTo>
                        <a:pt x="8587" y="11061"/>
                        <a:pt x="8549" y="11124"/>
                        <a:pt x="8489" y="11220"/>
                      </a:cubicBezTo>
                      <a:cubicBezTo>
                        <a:pt x="8481" y="11233"/>
                        <a:pt x="8473" y="11247"/>
                        <a:pt x="8466" y="11258"/>
                      </a:cubicBezTo>
                      <a:cubicBezTo>
                        <a:pt x="8463" y="11288"/>
                        <a:pt x="8461" y="11331"/>
                        <a:pt x="8459" y="11357"/>
                      </a:cubicBezTo>
                      <a:cubicBezTo>
                        <a:pt x="8452" y="11489"/>
                        <a:pt x="8425" y="11598"/>
                        <a:pt x="8391" y="11692"/>
                      </a:cubicBezTo>
                      <a:cubicBezTo>
                        <a:pt x="8405" y="11780"/>
                        <a:pt x="8411" y="11917"/>
                        <a:pt x="8337" y="12045"/>
                      </a:cubicBezTo>
                      <a:cubicBezTo>
                        <a:pt x="8360" y="12171"/>
                        <a:pt x="8337" y="12280"/>
                        <a:pt x="8303" y="12370"/>
                      </a:cubicBezTo>
                      <a:cubicBezTo>
                        <a:pt x="8346" y="12384"/>
                        <a:pt x="8389" y="12404"/>
                        <a:pt x="8428" y="12449"/>
                      </a:cubicBezTo>
                      <a:lnTo>
                        <a:pt x="8513" y="12545"/>
                      </a:lnTo>
                      <a:lnTo>
                        <a:pt x="8519" y="12726"/>
                      </a:lnTo>
                      <a:cubicBezTo>
                        <a:pt x="8521" y="12876"/>
                        <a:pt x="8440" y="13065"/>
                        <a:pt x="8355" y="13219"/>
                      </a:cubicBezTo>
                      <a:lnTo>
                        <a:pt x="8365" y="13233"/>
                      </a:lnTo>
                      <a:lnTo>
                        <a:pt x="8372" y="13381"/>
                      </a:lnTo>
                      <a:cubicBezTo>
                        <a:pt x="8377" y="13521"/>
                        <a:pt x="8329" y="13695"/>
                        <a:pt x="8251" y="13825"/>
                      </a:cubicBezTo>
                      <a:lnTo>
                        <a:pt x="8171" y="13953"/>
                      </a:lnTo>
                      <a:cubicBezTo>
                        <a:pt x="8113" y="14044"/>
                        <a:pt x="8044" y="14152"/>
                        <a:pt x="8016" y="14205"/>
                      </a:cubicBezTo>
                      <a:cubicBezTo>
                        <a:pt x="7938" y="14348"/>
                        <a:pt x="7817" y="14519"/>
                        <a:pt x="7686" y="14519"/>
                      </a:cubicBezTo>
                      <a:cubicBezTo>
                        <a:pt x="7607" y="14507"/>
                        <a:pt x="7554" y="14456"/>
                        <a:pt x="7517" y="14394"/>
                      </a:cubicBezTo>
                      <a:cubicBezTo>
                        <a:pt x="7470" y="14466"/>
                        <a:pt x="7422" y="14545"/>
                        <a:pt x="7398" y="14599"/>
                      </a:cubicBezTo>
                      <a:cubicBezTo>
                        <a:pt x="7312" y="14781"/>
                        <a:pt x="7077" y="15065"/>
                        <a:pt x="6970" y="15112"/>
                      </a:cubicBezTo>
                      <a:lnTo>
                        <a:pt x="6903" y="15127"/>
                      </a:lnTo>
                      <a:cubicBezTo>
                        <a:pt x="6903" y="15127"/>
                        <a:pt x="6903" y="15127"/>
                        <a:pt x="6903" y="15127"/>
                      </a:cubicBezTo>
                      <a:cubicBezTo>
                        <a:pt x="6898" y="15127"/>
                        <a:pt x="6891" y="15127"/>
                        <a:pt x="6883" y="15125"/>
                      </a:cubicBezTo>
                      <a:cubicBezTo>
                        <a:pt x="6881" y="15148"/>
                        <a:pt x="6877" y="15171"/>
                        <a:pt x="6873" y="15194"/>
                      </a:cubicBezTo>
                      <a:cubicBezTo>
                        <a:pt x="6862" y="15341"/>
                        <a:pt x="6801" y="15420"/>
                        <a:pt x="6621" y="15651"/>
                      </a:cubicBezTo>
                      <a:lnTo>
                        <a:pt x="6503" y="15830"/>
                      </a:lnTo>
                      <a:lnTo>
                        <a:pt x="6399" y="15827"/>
                      </a:lnTo>
                      <a:cubicBezTo>
                        <a:pt x="6377" y="15827"/>
                        <a:pt x="6354" y="15823"/>
                        <a:pt x="6331" y="15815"/>
                      </a:cubicBezTo>
                      <a:cubicBezTo>
                        <a:pt x="6299" y="15842"/>
                        <a:pt x="6255" y="15881"/>
                        <a:pt x="6204" y="15927"/>
                      </a:cubicBezTo>
                      <a:lnTo>
                        <a:pt x="6110" y="16010"/>
                      </a:lnTo>
                      <a:cubicBezTo>
                        <a:pt x="6025" y="16085"/>
                        <a:pt x="5940" y="16184"/>
                        <a:pt x="5879" y="16254"/>
                      </a:cubicBezTo>
                      <a:cubicBezTo>
                        <a:pt x="5782" y="16365"/>
                        <a:pt x="5738" y="16416"/>
                        <a:pt x="5664" y="16416"/>
                      </a:cubicBezTo>
                      <a:lnTo>
                        <a:pt x="5608" y="16403"/>
                      </a:lnTo>
                      <a:cubicBezTo>
                        <a:pt x="5569" y="16385"/>
                        <a:pt x="5422" y="16244"/>
                        <a:pt x="5296" y="16114"/>
                      </a:cubicBezTo>
                      <a:cubicBezTo>
                        <a:pt x="5273" y="16263"/>
                        <a:pt x="5212" y="16365"/>
                        <a:pt x="5127" y="16401"/>
                      </a:cubicBezTo>
                      <a:cubicBezTo>
                        <a:pt x="5119" y="16416"/>
                        <a:pt x="5113" y="16427"/>
                        <a:pt x="5107" y="16435"/>
                      </a:cubicBezTo>
                      <a:cubicBezTo>
                        <a:pt x="5085" y="16468"/>
                        <a:pt x="5062" y="16492"/>
                        <a:pt x="5040" y="16509"/>
                      </a:cubicBezTo>
                      <a:cubicBezTo>
                        <a:pt x="5007" y="16654"/>
                        <a:pt x="4936" y="16744"/>
                        <a:pt x="4871" y="16826"/>
                      </a:cubicBezTo>
                      <a:cubicBezTo>
                        <a:pt x="4771" y="16957"/>
                        <a:pt x="4435" y="17063"/>
                        <a:pt x="4432" y="17063"/>
                      </a:cubicBezTo>
                      <a:lnTo>
                        <a:pt x="4395" y="17067"/>
                      </a:lnTo>
                      <a:cubicBezTo>
                        <a:pt x="4309" y="17067"/>
                        <a:pt x="4244" y="17006"/>
                        <a:pt x="4194" y="16946"/>
                      </a:cubicBezTo>
                      <a:cubicBezTo>
                        <a:pt x="4178" y="16926"/>
                        <a:pt x="4163" y="16906"/>
                        <a:pt x="4150" y="16888"/>
                      </a:cubicBezTo>
                      <a:lnTo>
                        <a:pt x="4118" y="16843"/>
                      </a:lnTo>
                      <a:cubicBezTo>
                        <a:pt x="4048" y="16748"/>
                        <a:pt x="4001" y="16690"/>
                        <a:pt x="3976" y="16671"/>
                      </a:cubicBezTo>
                      <a:cubicBezTo>
                        <a:pt x="3982" y="16678"/>
                        <a:pt x="3965" y="16687"/>
                        <a:pt x="3954" y="16692"/>
                      </a:cubicBezTo>
                      <a:cubicBezTo>
                        <a:pt x="3922" y="16708"/>
                        <a:pt x="3887" y="16726"/>
                        <a:pt x="3844" y="16726"/>
                      </a:cubicBezTo>
                      <a:lnTo>
                        <a:pt x="3763" y="16701"/>
                      </a:lnTo>
                      <a:cubicBezTo>
                        <a:pt x="3683" y="16652"/>
                        <a:pt x="3639" y="16550"/>
                        <a:pt x="3611" y="16463"/>
                      </a:cubicBezTo>
                      <a:cubicBezTo>
                        <a:pt x="3599" y="16455"/>
                        <a:pt x="3587" y="16448"/>
                        <a:pt x="3576" y="16441"/>
                      </a:cubicBezTo>
                      <a:cubicBezTo>
                        <a:pt x="3534" y="16414"/>
                        <a:pt x="3498" y="16391"/>
                        <a:pt x="3465" y="16350"/>
                      </a:cubicBezTo>
                      <a:cubicBezTo>
                        <a:pt x="3410" y="16280"/>
                        <a:pt x="3353" y="16148"/>
                        <a:pt x="3324" y="16006"/>
                      </a:cubicBezTo>
                      <a:cubicBezTo>
                        <a:pt x="3314" y="15959"/>
                        <a:pt x="3307" y="15910"/>
                        <a:pt x="3305" y="15863"/>
                      </a:cubicBezTo>
                      <a:cubicBezTo>
                        <a:pt x="3295" y="15839"/>
                        <a:pt x="3287" y="15814"/>
                        <a:pt x="3282" y="15789"/>
                      </a:cubicBezTo>
                      <a:cubicBezTo>
                        <a:pt x="3251" y="15768"/>
                        <a:pt x="3223" y="15741"/>
                        <a:pt x="3197" y="15711"/>
                      </a:cubicBezTo>
                      <a:lnTo>
                        <a:pt x="2472" y="17260"/>
                      </a:lnTo>
                      <a:cubicBezTo>
                        <a:pt x="2472" y="17261"/>
                        <a:pt x="2271" y="17437"/>
                        <a:pt x="2135" y="17563"/>
                      </a:cubicBezTo>
                      <a:cubicBezTo>
                        <a:pt x="2062" y="17630"/>
                        <a:pt x="1977" y="17781"/>
                        <a:pt x="1895" y="17927"/>
                      </a:cubicBezTo>
                      <a:cubicBezTo>
                        <a:pt x="1858" y="17991"/>
                        <a:pt x="1821" y="18056"/>
                        <a:pt x="1785" y="18117"/>
                      </a:cubicBezTo>
                      <a:cubicBezTo>
                        <a:pt x="1716" y="18231"/>
                        <a:pt x="1656" y="18311"/>
                        <a:pt x="1608" y="18369"/>
                      </a:cubicBezTo>
                      <a:cubicBezTo>
                        <a:pt x="1608" y="18372"/>
                        <a:pt x="1609" y="18376"/>
                        <a:pt x="1610" y="18380"/>
                      </a:cubicBezTo>
                      <a:cubicBezTo>
                        <a:pt x="1652" y="18597"/>
                        <a:pt x="1598" y="18809"/>
                        <a:pt x="1574" y="18900"/>
                      </a:cubicBezTo>
                      <a:cubicBezTo>
                        <a:pt x="1563" y="18962"/>
                        <a:pt x="1538" y="19037"/>
                        <a:pt x="1484" y="19091"/>
                      </a:cubicBezTo>
                      <a:cubicBezTo>
                        <a:pt x="1475" y="19117"/>
                        <a:pt x="1465" y="19144"/>
                        <a:pt x="1451" y="19169"/>
                      </a:cubicBezTo>
                      <a:cubicBezTo>
                        <a:pt x="1418" y="19232"/>
                        <a:pt x="1376" y="19268"/>
                        <a:pt x="1335" y="19293"/>
                      </a:cubicBezTo>
                      <a:cubicBezTo>
                        <a:pt x="1330" y="19306"/>
                        <a:pt x="1325" y="19319"/>
                        <a:pt x="1320" y="19331"/>
                      </a:cubicBezTo>
                      <a:cubicBezTo>
                        <a:pt x="1329" y="19403"/>
                        <a:pt x="1327" y="19465"/>
                        <a:pt x="1325" y="19495"/>
                      </a:cubicBezTo>
                      <a:cubicBezTo>
                        <a:pt x="1325" y="19579"/>
                        <a:pt x="1308" y="19646"/>
                        <a:pt x="1292" y="19692"/>
                      </a:cubicBezTo>
                      <a:cubicBezTo>
                        <a:pt x="1294" y="19734"/>
                        <a:pt x="1295" y="19767"/>
                        <a:pt x="1293" y="19798"/>
                      </a:cubicBezTo>
                      <a:cubicBezTo>
                        <a:pt x="1284" y="20048"/>
                        <a:pt x="1138" y="20162"/>
                        <a:pt x="937" y="20321"/>
                      </a:cubicBezTo>
                      <a:lnTo>
                        <a:pt x="888" y="20362"/>
                      </a:lnTo>
                      <a:cubicBezTo>
                        <a:pt x="846" y="20463"/>
                        <a:pt x="770" y="20490"/>
                        <a:pt x="683" y="20499"/>
                      </a:cubicBezTo>
                      <a:cubicBezTo>
                        <a:pt x="682" y="20607"/>
                        <a:pt x="655" y="20690"/>
                        <a:pt x="630" y="20750"/>
                      </a:cubicBezTo>
                      <a:cubicBezTo>
                        <a:pt x="635" y="20794"/>
                        <a:pt x="637" y="20845"/>
                        <a:pt x="632" y="20901"/>
                      </a:cubicBezTo>
                      <a:cubicBezTo>
                        <a:pt x="616" y="21074"/>
                        <a:pt x="541" y="21191"/>
                        <a:pt x="407" y="21244"/>
                      </a:cubicBezTo>
                      <a:cubicBezTo>
                        <a:pt x="375" y="21258"/>
                        <a:pt x="289" y="21310"/>
                        <a:pt x="159" y="21435"/>
                      </a:cubicBezTo>
                      <a:cubicBezTo>
                        <a:pt x="115" y="21476"/>
                        <a:pt x="62" y="21533"/>
                        <a:pt x="11" y="21589"/>
                      </a:cubicBezTo>
                      <a:cubicBezTo>
                        <a:pt x="7" y="21593"/>
                        <a:pt x="4" y="21597"/>
                        <a:pt x="0" y="21600"/>
                      </a:cubicBezTo>
                      <a:lnTo>
                        <a:pt x="3921" y="20436"/>
                      </a:lnTo>
                      <a:lnTo>
                        <a:pt x="3952" y="20306"/>
                      </a:lnTo>
                      <a:lnTo>
                        <a:pt x="5115" y="19949"/>
                      </a:lnTo>
                      <a:lnTo>
                        <a:pt x="5104" y="20117"/>
                      </a:lnTo>
                      <a:cubicBezTo>
                        <a:pt x="5209" y="20092"/>
                        <a:pt x="5314" y="20067"/>
                        <a:pt x="5420" y="20041"/>
                      </a:cubicBezTo>
                      <a:close/>
                      <a:moveTo>
                        <a:pt x="5420" y="20041"/>
                      </a:moveTo>
                    </a:path>
                  </a:pathLst>
                </a:custGeom>
                <a:solidFill>
                  <a:schemeClr val="tx1">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513F3A"/>
                    </a:solidFill>
                    <a:effectLst/>
                    <a:uLnTx/>
                    <a:uFillTx/>
                    <a:latin typeface="Arial"/>
                    <a:ea typeface="Arial"/>
                    <a:cs typeface="Arial"/>
                    <a:sym typeface="Arial"/>
                  </a:endParaRPr>
                </a:p>
              </p:txBody>
            </p:sp>
            <p:sp>
              <p:nvSpPr>
                <p:cNvPr id="49" name="Google Shape;430;p54">
                  <a:extLst>
                    <a:ext uri="{FF2B5EF4-FFF2-40B4-BE49-F238E27FC236}">
                      <a16:creationId xmlns:a16="http://schemas.microsoft.com/office/drawing/2014/main" id="{2A141624-DD6C-4C58-ADB9-D2185ECE01D2}"/>
                    </a:ext>
                  </a:extLst>
                </p:cNvPr>
                <p:cNvSpPr/>
                <p:nvPr/>
              </p:nvSpPr>
              <p:spPr>
                <a:xfrm>
                  <a:off x="5506932" y="4396532"/>
                  <a:ext cx="519210" cy="919026"/>
                </a:xfrm>
                <a:custGeom>
                  <a:avLst/>
                  <a:gdLst/>
                  <a:ahLst/>
                  <a:cxnLst/>
                  <a:rect l="l" t="t" r="r" b="b"/>
                  <a:pathLst>
                    <a:path w="21600" h="21600" extrusionOk="0">
                      <a:moveTo>
                        <a:pt x="21600" y="20422"/>
                      </a:moveTo>
                      <a:lnTo>
                        <a:pt x="19676" y="13896"/>
                      </a:lnTo>
                      <a:lnTo>
                        <a:pt x="19182" y="328"/>
                      </a:lnTo>
                      <a:cubicBezTo>
                        <a:pt x="19176" y="327"/>
                        <a:pt x="19169" y="325"/>
                        <a:pt x="19163" y="324"/>
                      </a:cubicBezTo>
                      <a:cubicBezTo>
                        <a:pt x="19161" y="323"/>
                        <a:pt x="19160" y="322"/>
                        <a:pt x="19158" y="322"/>
                      </a:cubicBezTo>
                      <a:lnTo>
                        <a:pt x="19110" y="592"/>
                      </a:lnTo>
                      <a:lnTo>
                        <a:pt x="18582" y="0"/>
                      </a:lnTo>
                      <a:cubicBezTo>
                        <a:pt x="18294" y="21"/>
                        <a:pt x="17997" y="41"/>
                        <a:pt x="17707" y="61"/>
                      </a:cubicBezTo>
                      <a:cubicBezTo>
                        <a:pt x="16969" y="114"/>
                        <a:pt x="16231" y="166"/>
                        <a:pt x="15482" y="217"/>
                      </a:cubicBezTo>
                      <a:cubicBezTo>
                        <a:pt x="15031" y="248"/>
                        <a:pt x="14572" y="277"/>
                        <a:pt x="14117" y="307"/>
                      </a:cubicBezTo>
                      <a:cubicBezTo>
                        <a:pt x="13503" y="347"/>
                        <a:pt x="12890" y="388"/>
                        <a:pt x="12269" y="428"/>
                      </a:cubicBezTo>
                      <a:cubicBezTo>
                        <a:pt x="11767" y="459"/>
                        <a:pt x="11259" y="490"/>
                        <a:pt x="10754" y="521"/>
                      </a:cubicBezTo>
                      <a:cubicBezTo>
                        <a:pt x="10178" y="556"/>
                        <a:pt x="9603" y="592"/>
                        <a:pt x="9023" y="626"/>
                      </a:cubicBezTo>
                      <a:cubicBezTo>
                        <a:pt x="8470" y="659"/>
                        <a:pt x="7912" y="690"/>
                        <a:pt x="7355" y="722"/>
                      </a:cubicBezTo>
                      <a:cubicBezTo>
                        <a:pt x="6941" y="745"/>
                        <a:pt x="6530" y="770"/>
                        <a:pt x="6115" y="793"/>
                      </a:cubicBezTo>
                      <a:cubicBezTo>
                        <a:pt x="6124" y="809"/>
                        <a:pt x="6132" y="826"/>
                        <a:pt x="6139" y="843"/>
                      </a:cubicBezTo>
                      <a:cubicBezTo>
                        <a:pt x="6162" y="900"/>
                        <a:pt x="6161" y="953"/>
                        <a:pt x="6143" y="1001"/>
                      </a:cubicBezTo>
                      <a:cubicBezTo>
                        <a:pt x="6092" y="1144"/>
                        <a:pt x="5890" y="1243"/>
                        <a:pt x="5744" y="1301"/>
                      </a:cubicBezTo>
                      <a:lnTo>
                        <a:pt x="5731" y="1342"/>
                      </a:lnTo>
                      <a:cubicBezTo>
                        <a:pt x="5650" y="1468"/>
                        <a:pt x="5394" y="1536"/>
                        <a:pt x="5177" y="1509"/>
                      </a:cubicBezTo>
                      <a:cubicBezTo>
                        <a:pt x="5074" y="1549"/>
                        <a:pt x="4967" y="1583"/>
                        <a:pt x="4854" y="1601"/>
                      </a:cubicBezTo>
                      <a:cubicBezTo>
                        <a:pt x="4870" y="1617"/>
                        <a:pt x="4884" y="1635"/>
                        <a:pt x="4895" y="1653"/>
                      </a:cubicBezTo>
                      <a:cubicBezTo>
                        <a:pt x="4929" y="1706"/>
                        <a:pt x="4971" y="1815"/>
                        <a:pt x="4867" y="1927"/>
                      </a:cubicBezTo>
                      <a:cubicBezTo>
                        <a:pt x="4898" y="1957"/>
                        <a:pt x="4921" y="1989"/>
                        <a:pt x="4934" y="2023"/>
                      </a:cubicBezTo>
                      <a:cubicBezTo>
                        <a:pt x="4979" y="2144"/>
                        <a:pt x="4866" y="2244"/>
                        <a:pt x="4748" y="2326"/>
                      </a:cubicBezTo>
                      <a:cubicBezTo>
                        <a:pt x="4631" y="2407"/>
                        <a:pt x="4519" y="2470"/>
                        <a:pt x="4412" y="2514"/>
                      </a:cubicBezTo>
                      <a:cubicBezTo>
                        <a:pt x="4437" y="2534"/>
                        <a:pt x="4461" y="2554"/>
                        <a:pt x="4480" y="2575"/>
                      </a:cubicBezTo>
                      <a:cubicBezTo>
                        <a:pt x="4570" y="2674"/>
                        <a:pt x="4617" y="2823"/>
                        <a:pt x="4324" y="2972"/>
                      </a:cubicBezTo>
                      <a:cubicBezTo>
                        <a:pt x="4314" y="2977"/>
                        <a:pt x="4303" y="2982"/>
                        <a:pt x="4292" y="2989"/>
                      </a:cubicBezTo>
                      <a:cubicBezTo>
                        <a:pt x="4303" y="3001"/>
                        <a:pt x="4323" y="3018"/>
                        <a:pt x="4353" y="3041"/>
                      </a:cubicBezTo>
                      <a:cubicBezTo>
                        <a:pt x="4478" y="3138"/>
                        <a:pt x="4565" y="3292"/>
                        <a:pt x="4302" y="3492"/>
                      </a:cubicBezTo>
                      <a:cubicBezTo>
                        <a:pt x="4212" y="3567"/>
                        <a:pt x="4100" y="3605"/>
                        <a:pt x="3913" y="3663"/>
                      </a:cubicBezTo>
                      <a:cubicBezTo>
                        <a:pt x="3982" y="3849"/>
                        <a:pt x="3837" y="3954"/>
                        <a:pt x="3734" y="4002"/>
                      </a:cubicBezTo>
                      <a:lnTo>
                        <a:pt x="3615" y="4059"/>
                      </a:lnTo>
                      <a:lnTo>
                        <a:pt x="3416" y="4069"/>
                      </a:lnTo>
                      <a:cubicBezTo>
                        <a:pt x="3381" y="4069"/>
                        <a:pt x="3349" y="4067"/>
                        <a:pt x="3318" y="4063"/>
                      </a:cubicBezTo>
                      <a:cubicBezTo>
                        <a:pt x="3298" y="4080"/>
                        <a:pt x="3275" y="4096"/>
                        <a:pt x="3250" y="4112"/>
                      </a:cubicBezTo>
                      <a:cubicBezTo>
                        <a:pt x="3112" y="4195"/>
                        <a:pt x="2954" y="4221"/>
                        <a:pt x="2843" y="4229"/>
                      </a:cubicBezTo>
                      <a:cubicBezTo>
                        <a:pt x="2842" y="4232"/>
                        <a:pt x="2841" y="4235"/>
                        <a:pt x="2840" y="4237"/>
                      </a:cubicBezTo>
                      <a:cubicBezTo>
                        <a:pt x="2967" y="4277"/>
                        <a:pt x="3058" y="4344"/>
                        <a:pt x="3089" y="4427"/>
                      </a:cubicBezTo>
                      <a:cubicBezTo>
                        <a:pt x="3156" y="4607"/>
                        <a:pt x="2918" y="4765"/>
                        <a:pt x="2750" y="4839"/>
                      </a:cubicBezTo>
                      <a:cubicBezTo>
                        <a:pt x="2791" y="4906"/>
                        <a:pt x="2787" y="4997"/>
                        <a:pt x="2660" y="5111"/>
                      </a:cubicBezTo>
                      <a:cubicBezTo>
                        <a:pt x="2669" y="5149"/>
                        <a:pt x="2668" y="5192"/>
                        <a:pt x="2639" y="5238"/>
                      </a:cubicBezTo>
                      <a:cubicBezTo>
                        <a:pt x="2548" y="5369"/>
                        <a:pt x="2364" y="5409"/>
                        <a:pt x="2251" y="5427"/>
                      </a:cubicBezTo>
                      <a:cubicBezTo>
                        <a:pt x="2255" y="5477"/>
                        <a:pt x="2236" y="5528"/>
                        <a:pt x="2192" y="5575"/>
                      </a:cubicBezTo>
                      <a:cubicBezTo>
                        <a:pt x="2139" y="5633"/>
                        <a:pt x="2057" y="5676"/>
                        <a:pt x="1967" y="5706"/>
                      </a:cubicBezTo>
                      <a:cubicBezTo>
                        <a:pt x="1956" y="5824"/>
                        <a:pt x="1800" y="5926"/>
                        <a:pt x="1684" y="5997"/>
                      </a:cubicBezTo>
                      <a:cubicBezTo>
                        <a:pt x="1703" y="6004"/>
                        <a:pt x="1720" y="6007"/>
                        <a:pt x="1749" y="6011"/>
                      </a:cubicBezTo>
                      <a:cubicBezTo>
                        <a:pt x="1827" y="6024"/>
                        <a:pt x="1959" y="6044"/>
                        <a:pt x="2082" y="6114"/>
                      </a:cubicBezTo>
                      <a:cubicBezTo>
                        <a:pt x="2206" y="6184"/>
                        <a:pt x="2260" y="6279"/>
                        <a:pt x="2232" y="6373"/>
                      </a:cubicBezTo>
                      <a:cubicBezTo>
                        <a:pt x="2196" y="6494"/>
                        <a:pt x="2039" y="6574"/>
                        <a:pt x="1916" y="6619"/>
                      </a:cubicBezTo>
                      <a:cubicBezTo>
                        <a:pt x="1976" y="6675"/>
                        <a:pt x="2027" y="6747"/>
                        <a:pt x="2021" y="6828"/>
                      </a:cubicBezTo>
                      <a:cubicBezTo>
                        <a:pt x="2016" y="6911"/>
                        <a:pt x="1941" y="7094"/>
                        <a:pt x="1400" y="7124"/>
                      </a:cubicBezTo>
                      <a:cubicBezTo>
                        <a:pt x="1413" y="7183"/>
                        <a:pt x="1420" y="7305"/>
                        <a:pt x="1269" y="7394"/>
                      </a:cubicBezTo>
                      <a:cubicBezTo>
                        <a:pt x="1211" y="7426"/>
                        <a:pt x="1138" y="7449"/>
                        <a:pt x="1067" y="7465"/>
                      </a:cubicBezTo>
                      <a:cubicBezTo>
                        <a:pt x="1175" y="7482"/>
                        <a:pt x="1287" y="7514"/>
                        <a:pt x="1373" y="7568"/>
                      </a:cubicBezTo>
                      <a:cubicBezTo>
                        <a:pt x="1379" y="7572"/>
                        <a:pt x="1385" y="7576"/>
                        <a:pt x="1390" y="7579"/>
                      </a:cubicBezTo>
                      <a:lnTo>
                        <a:pt x="1470" y="7577"/>
                      </a:lnTo>
                      <a:cubicBezTo>
                        <a:pt x="1812" y="7577"/>
                        <a:pt x="2023" y="7771"/>
                        <a:pt x="2023" y="7951"/>
                      </a:cubicBezTo>
                      <a:cubicBezTo>
                        <a:pt x="2023" y="8083"/>
                        <a:pt x="1868" y="8178"/>
                        <a:pt x="1730" y="8262"/>
                      </a:cubicBezTo>
                      <a:cubicBezTo>
                        <a:pt x="1705" y="8277"/>
                        <a:pt x="1681" y="8291"/>
                        <a:pt x="1666" y="8303"/>
                      </a:cubicBezTo>
                      <a:cubicBezTo>
                        <a:pt x="1656" y="8311"/>
                        <a:pt x="1647" y="8320"/>
                        <a:pt x="1638" y="8328"/>
                      </a:cubicBezTo>
                      <a:cubicBezTo>
                        <a:pt x="1895" y="8339"/>
                        <a:pt x="2098" y="8406"/>
                        <a:pt x="2209" y="8537"/>
                      </a:cubicBezTo>
                      <a:cubicBezTo>
                        <a:pt x="2368" y="8729"/>
                        <a:pt x="2161" y="8883"/>
                        <a:pt x="2010" y="8966"/>
                      </a:cubicBezTo>
                      <a:cubicBezTo>
                        <a:pt x="2028" y="9016"/>
                        <a:pt x="2036" y="9052"/>
                        <a:pt x="2036" y="9091"/>
                      </a:cubicBezTo>
                      <a:cubicBezTo>
                        <a:pt x="2036" y="9174"/>
                        <a:pt x="2036" y="9344"/>
                        <a:pt x="1768" y="9464"/>
                      </a:cubicBezTo>
                      <a:cubicBezTo>
                        <a:pt x="1813" y="9504"/>
                        <a:pt x="1842" y="9549"/>
                        <a:pt x="1859" y="9597"/>
                      </a:cubicBezTo>
                      <a:cubicBezTo>
                        <a:pt x="1863" y="9612"/>
                        <a:pt x="1857" y="9629"/>
                        <a:pt x="1859" y="9644"/>
                      </a:cubicBezTo>
                      <a:cubicBezTo>
                        <a:pt x="1861" y="9675"/>
                        <a:pt x="1868" y="9705"/>
                        <a:pt x="1859" y="9737"/>
                      </a:cubicBezTo>
                      <a:cubicBezTo>
                        <a:pt x="1860" y="9738"/>
                        <a:pt x="1861" y="9739"/>
                        <a:pt x="1863" y="9739"/>
                      </a:cubicBezTo>
                      <a:cubicBezTo>
                        <a:pt x="1950" y="9762"/>
                        <a:pt x="2028" y="9792"/>
                        <a:pt x="2082" y="9827"/>
                      </a:cubicBezTo>
                      <a:cubicBezTo>
                        <a:pt x="2185" y="9896"/>
                        <a:pt x="2211" y="9967"/>
                        <a:pt x="2220" y="10011"/>
                      </a:cubicBezTo>
                      <a:cubicBezTo>
                        <a:pt x="2349" y="10142"/>
                        <a:pt x="2377" y="10353"/>
                        <a:pt x="2274" y="10498"/>
                      </a:cubicBezTo>
                      <a:cubicBezTo>
                        <a:pt x="2167" y="10644"/>
                        <a:pt x="1950" y="10704"/>
                        <a:pt x="1816" y="10740"/>
                      </a:cubicBezTo>
                      <a:cubicBezTo>
                        <a:pt x="1812" y="10761"/>
                        <a:pt x="1810" y="10785"/>
                        <a:pt x="1809" y="10810"/>
                      </a:cubicBezTo>
                      <a:cubicBezTo>
                        <a:pt x="1863" y="10810"/>
                        <a:pt x="1916" y="10812"/>
                        <a:pt x="1963" y="10815"/>
                      </a:cubicBezTo>
                      <a:cubicBezTo>
                        <a:pt x="2165" y="10825"/>
                        <a:pt x="2336" y="10879"/>
                        <a:pt x="2442" y="10965"/>
                      </a:cubicBezTo>
                      <a:cubicBezTo>
                        <a:pt x="2529" y="11036"/>
                        <a:pt x="2565" y="11126"/>
                        <a:pt x="2544" y="11215"/>
                      </a:cubicBezTo>
                      <a:cubicBezTo>
                        <a:pt x="2748" y="11245"/>
                        <a:pt x="2910" y="11338"/>
                        <a:pt x="2975" y="11468"/>
                      </a:cubicBezTo>
                      <a:cubicBezTo>
                        <a:pt x="3020" y="11559"/>
                        <a:pt x="3020" y="11686"/>
                        <a:pt x="2831" y="11821"/>
                      </a:cubicBezTo>
                      <a:cubicBezTo>
                        <a:pt x="2938" y="11859"/>
                        <a:pt x="3036" y="11911"/>
                        <a:pt x="3096" y="11978"/>
                      </a:cubicBezTo>
                      <a:cubicBezTo>
                        <a:pt x="3149" y="12037"/>
                        <a:pt x="3166" y="12103"/>
                        <a:pt x="3148" y="12168"/>
                      </a:cubicBezTo>
                      <a:cubicBezTo>
                        <a:pt x="3281" y="12243"/>
                        <a:pt x="3369" y="12342"/>
                        <a:pt x="3378" y="12407"/>
                      </a:cubicBezTo>
                      <a:lnTo>
                        <a:pt x="3393" y="12524"/>
                      </a:lnTo>
                      <a:cubicBezTo>
                        <a:pt x="3595" y="12545"/>
                        <a:pt x="3811" y="12597"/>
                        <a:pt x="3899" y="12733"/>
                      </a:cubicBezTo>
                      <a:cubicBezTo>
                        <a:pt x="4029" y="12937"/>
                        <a:pt x="3739" y="13112"/>
                        <a:pt x="3615" y="13186"/>
                      </a:cubicBezTo>
                      <a:lnTo>
                        <a:pt x="3539" y="13233"/>
                      </a:lnTo>
                      <a:lnTo>
                        <a:pt x="3592" y="13336"/>
                      </a:lnTo>
                      <a:lnTo>
                        <a:pt x="3360" y="13390"/>
                      </a:lnTo>
                      <a:cubicBezTo>
                        <a:pt x="3346" y="13437"/>
                        <a:pt x="3312" y="13478"/>
                        <a:pt x="3264" y="13511"/>
                      </a:cubicBezTo>
                      <a:cubicBezTo>
                        <a:pt x="3276" y="13523"/>
                        <a:pt x="3286" y="13535"/>
                        <a:pt x="3294" y="13547"/>
                      </a:cubicBezTo>
                      <a:cubicBezTo>
                        <a:pt x="3405" y="13699"/>
                        <a:pt x="3268" y="13843"/>
                        <a:pt x="3201" y="13913"/>
                      </a:cubicBezTo>
                      <a:cubicBezTo>
                        <a:pt x="3150" y="13990"/>
                        <a:pt x="3051" y="14045"/>
                        <a:pt x="2895" y="14119"/>
                      </a:cubicBezTo>
                      <a:lnTo>
                        <a:pt x="2913" y="14126"/>
                      </a:lnTo>
                      <a:lnTo>
                        <a:pt x="2921" y="14300"/>
                      </a:lnTo>
                      <a:cubicBezTo>
                        <a:pt x="2911" y="14396"/>
                        <a:pt x="2823" y="14535"/>
                        <a:pt x="2606" y="14609"/>
                      </a:cubicBezTo>
                      <a:cubicBezTo>
                        <a:pt x="2525" y="14637"/>
                        <a:pt x="2431" y="14653"/>
                        <a:pt x="2340" y="14668"/>
                      </a:cubicBezTo>
                      <a:cubicBezTo>
                        <a:pt x="2326" y="14670"/>
                        <a:pt x="2309" y="14672"/>
                        <a:pt x="2293" y="14676"/>
                      </a:cubicBezTo>
                      <a:lnTo>
                        <a:pt x="2307" y="14709"/>
                      </a:lnTo>
                      <a:lnTo>
                        <a:pt x="2307" y="14710"/>
                      </a:lnTo>
                      <a:cubicBezTo>
                        <a:pt x="2333" y="14848"/>
                        <a:pt x="2180" y="14944"/>
                        <a:pt x="2099" y="14995"/>
                      </a:cubicBezTo>
                      <a:cubicBezTo>
                        <a:pt x="2040" y="15037"/>
                        <a:pt x="1983" y="15070"/>
                        <a:pt x="1919" y="15100"/>
                      </a:cubicBezTo>
                      <a:cubicBezTo>
                        <a:pt x="1936" y="15129"/>
                        <a:pt x="1946" y="15163"/>
                        <a:pt x="1945" y="15200"/>
                      </a:cubicBezTo>
                      <a:cubicBezTo>
                        <a:pt x="1939" y="15291"/>
                        <a:pt x="1864" y="15374"/>
                        <a:pt x="1723" y="15446"/>
                      </a:cubicBezTo>
                      <a:lnTo>
                        <a:pt x="1600" y="15510"/>
                      </a:lnTo>
                      <a:lnTo>
                        <a:pt x="1377" y="15525"/>
                      </a:lnTo>
                      <a:cubicBezTo>
                        <a:pt x="1355" y="15525"/>
                        <a:pt x="1333" y="15524"/>
                        <a:pt x="1312" y="15523"/>
                      </a:cubicBezTo>
                      <a:cubicBezTo>
                        <a:pt x="1337" y="15608"/>
                        <a:pt x="1298" y="15723"/>
                        <a:pt x="1053" y="15807"/>
                      </a:cubicBezTo>
                      <a:cubicBezTo>
                        <a:pt x="1012" y="15835"/>
                        <a:pt x="992" y="15855"/>
                        <a:pt x="985" y="15864"/>
                      </a:cubicBezTo>
                      <a:cubicBezTo>
                        <a:pt x="986" y="15864"/>
                        <a:pt x="986" y="15863"/>
                        <a:pt x="986" y="15863"/>
                      </a:cubicBezTo>
                      <a:cubicBezTo>
                        <a:pt x="992" y="15863"/>
                        <a:pt x="997" y="15881"/>
                        <a:pt x="1002" y="15901"/>
                      </a:cubicBezTo>
                      <a:cubicBezTo>
                        <a:pt x="1020" y="15985"/>
                        <a:pt x="1044" y="16091"/>
                        <a:pt x="1012" y="16195"/>
                      </a:cubicBezTo>
                      <a:lnTo>
                        <a:pt x="1070" y="16222"/>
                      </a:lnTo>
                      <a:lnTo>
                        <a:pt x="1087" y="16367"/>
                      </a:lnTo>
                      <a:cubicBezTo>
                        <a:pt x="1080" y="16528"/>
                        <a:pt x="848" y="16639"/>
                        <a:pt x="570" y="16757"/>
                      </a:cubicBezTo>
                      <a:cubicBezTo>
                        <a:pt x="493" y="16796"/>
                        <a:pt x="418" y="16819"/>
                        <a:pt x="353" y="16833"/>
                      </a:cubicBezTo>
                      <a:cubicBezTo>
                        <a:pt x="361" y="16855"/>
                        <a:pt x="368" y="16878"/>
                        <a:pt x="374" y="16898"/>
                      </a:cubicBezTo>
                      <a:cubicBezTo>
                        <a:pt x="392" y="16908"/>
                        <a:pt x="410" y="16918"/>
                        <a:pt x="429" y="16928"/>
                      </a:cubicBezTo>
                      <a:cubicBezTo>
                        <a:pt x="572" y="17006"/>
                        <a:pt x="720" y="17087"/>
                        <a:pt x="767" y="17194"/>
                      </a:cubicBezTo>
                      <a:cubicBezTo>
                        <a:pt x="809" y="17294"/>
                        <a:pt x="774" y="17388"/>
                        <a:pt x="670" y="17461"/>
                      </a:cubicBezTo>
                      <a:cubicBezTo>
                        <a:pt x="642" y="17482"/>
                        <a:pt x="610" y="17500"/>
                        <a:pt x="575" y="17515"/>
                      </a:cubicBezTo>
                      <a:cubicBezTo>
                        <a:pt x="624" y="17577"/>
                        <a:pt x="641" y="17644"/>
                        <a:pt x="620" y="17711"/>
                      </a:cubicBezTo>
                      <a:cubicBezTo>
                        <a:pt x="564" y="17894"/>
                        <a:pt x="272" y="17988"/>
                        <a:pt x="98" y="18044"/>
                      </a:cubicBezTo>
                      <a:cubicBezTo>
                        <a:pt x="77" y="18051"/>
                        <a:pt x="57" y="18058"/>
                        <a:pt x="38" y="18063"/>
                      </a:cubicBezTo>
                      <a:cubicBezTo>
                        <a:pt x="42" y="18067"/>
                        <a:pt x="47" y="18072"/>
                        <a:pt x="51" y="18076"/>
                      </a:cubicBezTo>
                      <a:cubicBezTo>
                        <a:pt x="212" y="18235"/>
                        <a:pt x="110" y="18369"/>
                        <a:pt x="0" y="18456"/>
                      </a:cubicBezTo>
                      <a:cubicBezTo>
                        <a:pt x="142" y="18512"/>
                        <a:pt x="291" y="18583"/>
                        <a:pt x="358" y="18687"/>
                      </a:cubicBezTo>
                      <a:cubicBezTo>
                        <a:pt x="373" y="18710"/>
                        <a:pt x="382" y="18733"/>
                        <a:pt x="388" y="18756"/>
                      </a:cubicBezTo>
                      <a:cubicBezTo>
                        <a:pt x="4315" y="18569"/>
                        <a:pt x="8335" y="18341"/>
                        <a:pt x="12349" y="18078"/>
                      </a:cubicBezTo>
                      <a:lnTo>
                        <a:pt x="12741" y="18052"/>
                      </a:lnTo>
                      <a:lnTo>
                        <a:pt x="12818" y="18268"/>
                      </a:lnTo>
                      <a:cubicBezTo>
                        <a:pt x="12818" y="18268"/>
                        <a:pt x="12866" y="18400"/>
                        <a:pt x="12872" y="18454"/>
                      </a:cubicBezTo>
                      <a:cubicBezTo>
                        <a:pt x="12880" y="18531"/>
                        <a:pt x="12840" y="18591"/>
                        <a:pt x="12791" y="18635"/>
                      </a:cubicBezTo>
                      <a:cubicBezTo>
                        <a:pt x="12808" y="18696"/>
                        <a:pt x="12794" y="18774"/>
                        <a:pt x="12657" y="18907"/>
                      </a:cubicBezTo>
                      <a:cubicBezTo>
                        <a:pt x="12678" y="18969"/>
                        <a:pt x="12666" y="19028"/>
                        <a:pt x="12620" y="19081"/>
                      </a:cubicBezTo>
                      <a:lnTo>
                        <a:pt x="12625" y="19090"/>
                      </a:lnTo>
                      <a:cubicBezTo>
                        <a:pt x="12708" y="19254"/>
                        <a:pt x="12509" y="19370"/>
                        <a:pt x="12443" y="19408"/>
                      </a:cubicBezTo>
                      <a:cubicBezTo>
                        <a:pt x="12408" y="19430"/>
                        <a:pt x="12380" y="19454"/>
                        <a:pt x="12365" y="19470"/>
                      </a:cubicBezTo>
                      <a:lnTo>
                        <a:pt x="12386" y="19467"/>
                      </a:lnTo>
                      <a:lnTo>
                        <a:pt x="12438" y="19602"/>
                      </a:lnTo>
                      <a:lnTo>
                        <a:pt x="12371" y="19650"/>
                      </a:lnTo>
                      <a:cubicBezTo>
                        <a:pt x="12376" y="19670"/>
                        <a:pt x="12382" y="19704"/>
                        <a:pt x="12387" y="19738"/>
                      </a:cubicBezTo>
                      <a:cubicBezTo>
                        <a:pt x="12428" y="19758"/>
                        <a:pt x="12470" y="19783"/>
                        <a:pt x="12507" y="19816"/>
                      </a:cubicBezTo>
                      <a:cubicBezTo>
                        <a:pt x="12619" y="19912"/>
                        <a:pt x="12617" y="19990"/>
                        <a:pt x="12606" y="20056"/>
                      </a:cubicBezTo>
                      <a:cubicBezTo>
                        <a:pt x="12612" y="20091"/>
                        <a:pt x="12698" y="20168"/>
                        <a:pt x="12773" y="20215"/>
                      </a:cubicBezTo>
                      <a:lnTo>
                        <a:pt x="12872" y="20282"/>
                      </a:lnTo>
                      <a:cubicBezTo>
                        <a:pt x="12912" y="20309"/>
                        <a:pt x="12978" y="20354"/>
                        <a:pt x="13006" y="20367"/>
                      </a:cubicBezTo>
                      <a:cubicBezTo>
                        <a:pt x="13104" y="20378"/>
                        <a:pt x="13247" y="20430"/>
                        <a:pt x="13400" y="20517"/>
                      </a:cubicBezTo>
                      <a:cubicBezTo>
                        <a:pt x="13528" y="20590"/>
                        <a:pt x="13600" y="20702"/>
                        <a:pt x="13689" y="20852"/>
                      </a:cubicBezTo>
                      <a:cubicBezTo>
                        <a:pt x="13708" y="20884"/>
                        <a:pt x="13723" y="20912"/>
                        <a:pt x="13737" y="20929"/>
                      </a:cubicBezTo>
                      <a:cubicBezTo>
                        <a:pt x="13757" y="20946"/>
                        <a:pt x="13875" y="21016"/>
                        <a:pt x="13920" y="21038"/>
                      </a:cubicBezTo>
                      <a:cubicBezTo>
                        <a:pt x="14115" y="21128"/>
                        <a:pt x="14123" y="21253"/>
                        <a:pt x="14128" y="21314"/>
                      </a:cubicBezTo>
                      <a:cubicBezTo>
                        <a:pt x="14133" y="21368"/>
                        <a:pt x="14122" y="21416"/>
                        <a:pt x="14096" y="21458"/>
                      </a:cubicBezTo>
                      <a:lnTo>
                        <a:pt x="14152" y="21542"/>
                      </a:lnTo>
                      <a:cubicBezTo>
                        <a:pt x="14143" y="21490"/>
                        <a:pt x="14104" y="21458"/>
                        <a:pt x="14100" y="21455"/>
                      </a:cubicBezTo>
                      <a:cubicBezTo>
                        <a:pt x="14144" y="21487"/>
                        <a:pt x="14171" y="21508"/>
                        <a:pt x="14191" y="21528"/>
                      </a:cubicBezTo>
                      <a:cubicBezTo>
                        <a:pt x="14206" y="21541"/>
                        <a:pt x="14219" y="21555"/>
                        <a:pt x="14231" y="21570"/>
                      </a:cubicBezTo>
                      <a:cubicBezTo>
                        <a:pt x="14238" y="21573"/>
                        <a:pt x="14245" y="21575"/>
                        <a:pt x="14251" y="21577"/>
                      </a:cubicBezTo>
                      <a:lnTo>
                        <a:pt x="14407" y="21589"/>
                      </a:lnTo>
                      <a:cubicBezTo>
                        <a:pt x="14457" y="21589"/>
                        <a:pt x="14502" y="21593"/>
                        <a:pt x="14543" y="21600"/>
                      </a:cubicBezTo>
                      <a:cubicBezTo>
                        <a:pt x="14600" y="21586"/>
                        <a:pt x="14664" y="21575"/>
                        <a:pt x="14731" y="21571"/>
                      </a:cubicBezTo>
                      <a:cubicBezTo>
                        <a:pt x="14741" y="21510"/>
                        <a:pt x="14785" y="21370"/>
                        <a:pt x="14984" y="21296"/>
                      </a:cubicBezTo>
                      <a:cubicBezTo>
                        <a:pt x="15035" y="21277"/>
                        <a:pt x="15083" y="21266"/>
                        <a:pt x="15130" y="21257"/>
                      </a:cubicBezTo>
                      <a:cubicBezTo>
                        <a:pt x="15134" y="21252"/>
                        <a:pt x="15139" y="21247"/>
                        <a:pt x="15144" y="21243"/>
                      </a:cubicBezTo>
                      <a:cubicBezTo>
                        <a:pt x="14976" y="21155"/>
                        <a:pt x="14983" y="21063"/>
                        <a:pt x="15030" y="20990"/>
                      </a:cubicBezTo>
                      <a:cubicBezTo>
                        <a:pt x="15072" y="20921"/>
                        <a:pt x="15266" y="20754"/>
                        <a:pt x="15556" y="20707"/>
                      </a:cubicBezTo>
                      <a:lnTo>
                        <a:pt x="15719" y="20694"/>
                      </a:lnTo>
                      <a:cubicBezTo>
                        <a:pt x="15932" y="20694"/>
                        <a:pt x="16270" y="20764"/>
                        <a:pt x="16424" y="20895"/>
                      </a:cubicBezTo>
                      <a:cubicBezTo>
                        <a:pt x="16463" y="20886"/>
                        <a:pt x="16497" y="20878"/>
                        <a:pt x="16521" y="20870"/>
                      </a:cubicBezTo>
                      <a:cubicBezTo>
                        <a:pt x="16533" y="20856"/>
                        <a:pt x="16567" y="20836"/>
                        <a:pt x="16649" y="20805"/>
                      </a:cubicBezTo>
                      <a:cubicBezTo>
                        <a:pt x="16719" y="20776"/>
                        <a:pt x="17256" y="20607"/>
                        <a:pt x="17696" y="20532"/>
                      </a:cubicBezTo>
                      <a:cubicBezTo>
                        <a:pt x="18029" y="20475"/>
                        <a:pt x="18419" y="20435"/>
                        <a:pt x="18654" y="20434"/>
                      </a:cubicBezTo>
                      <a:cubicBezTo>
                        <a:pt x="18671" y="20424"/>
                        <a:pt x="18691" y="20415"/>
                        <a:pt x="18713" y="20407"/>
                      </a:cubicBezTo>
                      <a:cubicBezTo>
                        <a:pt x="18848" y="20356"/>
                        <a:pt x="19022" y="20353"/>
                        <a:pt x="19071" y="20353"/>
                      </a:cubicBezTo>
                      <a:cubicBezTo>
                        <a:pt x="19215" y="20353"/>
                        <a:pt x="19349" y="20376"/>
                        <a:pt x="19458" y="20421"/>
                      </a:cubicBezTo>
                      <a:cubicBezTo>
                        <a:pt x="19546" y="20456"/>
                        <a:pt x="19599" y="20492"/>
                        <a:pt x="19632" y="20513"/>
                      </a:cubicBezTo>
                      <a:cubicBezTo>
                        <a:pt x="19649" y="20503"/>
                        <a:pt x="19767" y="20517"/>
                        <a:pt x="19872" y="20567"/>
                      </a:cubicBezTo>
                      <a:cubicBezTo>
                        <a:pt x="19957" y="20528"/>
                        <a:pt x="20044" y="20491"/>
                        <a:pt x="20155" y="20469"/>
                      </a:cubicBezTo>
                      <a:cubicBezTo>
                        <a:pt x="20264" y="20448"/>
                        <a:pt x="20339" y="20431"/>
                        <a:pt x="20574" y="20457"/>
                      </a:cubicBezTo>
                      <a:cubicBezTo>
                        <a:pt x="20608" y="20452"/>
                        <a:pt x="20648" y="20449"/>
                        <a:pt x="20690" y="20449"/>
                      </a:cubicBezTo>
                      <a:lnTo>
                        <a:pt x="20791" y="20449"/>
                      </a:lnTo>
                      <a:lnTo>
                        <a:pt x="20896" y="20476"/>
                      </a:lnTo>
                      <a:cubicBezTo>
                        <a:pt x="20986" y="20495"/>
                        <a:pt x="21026" y="20495"/>
                        <a:pt x="21068" y="20496"/>
                      </a:cubicBezTo>
                      <a:cubicBezTo>
                        <a:pt x="21191" y="20500"/>
                        <a:pt x="21303" y="20503"/>
                        <a:pt x="21405" y="20520"/>
                      </a:cubicBezTo>
                      <a:cubicBezTo>
                        <a:pt x="21451" y="20479"/>
                        <a:pt x="21517" y="20445"/>
                        <a:pt x="21600" y="20422"/>
                      </a:cubicBezTo>
                      <a:close/>
                      <a:moveTo>
                        <a:pt x="21600" y="20422"/>
                      </a:moveTo>
                    </a:path>
                  </a:pathLst>
                </a:custGeom>
                <a:solidFill>
                  <a:schemeClr val="accent6">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2400"/>
                    <a:buFontTx/>
                    <a:buNone/>
                    <a:tabLst/>
                    <a:defRPr/>
                  </a:pPr>
                  <a:endParaRPr kumimoji="0" sz="18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50" name="Google Shape;431;p54">
                  <a:extLst>
                    <a:ext uri="{FF2B5EF4-FFF2-40B4-BE49-F238E27FC236}">
                      <a16:creationId xmlns:a16="http://schemas.microsoft.com/office/drawing/2014/main" id="{56CBF21F-560B-4E2C-8BAC-429D20D84E42}"/>
                    </a:ext>
                  </a:extLst>
                </p:cNvPr>
                <p:cNvSpPr/>
                <p:nvPr/>
              </p:nvSpPr>
              <p:spPr>
                <a:xfrm>
                  <a:off x="6161223" y="5031437"/>
                  <a:ext cx="1394010" cy="1011744"/>
                </a:xfrm>
                <a:custGeom>
                  <a:avLst/>
                  <a:gdLst/>
                  <a:ahLst/>
                  <a:cxnLst/>
                  <a:rect l="l" t="t" r="r" b="b"/>
                  <a:pathLst>
                    <a:path w="21600" h="21600" extrusionOk="0">
                      <a:moveTo>
                        <a:pt x="21595" y="18359"/>
                      </a:moveTo>
                      <a:cubicBezTo>
                        <a:pt x="21577" y="18317"/>
                        <a:pt x="21568" y="18269"/>
                        <a:pt x="21569" y="18216"/>
                      </a:cubicBezTo>
                      <a:lnTo>
                        <a:pt x="21546" y="18075"/>
                      </a:lnTo>
                      <a:cubicBezTo>
                        <a:pt x="21505" y="17867"/>
                        <a:pt x="21492" y="17786"/>
                        <a:pt x="21501" y="17714"/>
                      </a:cubicBezTo>
                      <a:cubicBezTo>
                        <a:pt x="21503" y="17694"/>
                        <a:pt x="21505" y="17679"/>
                        <a:pt x="21506" y="17667"/>
                      </a:cubicBezTo>
                      <a:lnTo>
                        <a:pt x="21490" y="17643"/>
                      </a:lnTo>
                      <a:lnTo>
                        <a:pt x="21481" y="17534"/>
                      </a:lnTo>
                      <a:cubicBezTo>
                        <a:pt x="21479" y="17468"/>
                        <a:pt x="21394" y="15488"/>
                        <a:pt x="21349" y="15103"/>
                      </a:cubicBezTo>
                      <a:cubicBezTo>
                        <a:pt x="21303" y="14713"/>
                        <a:pt x="21220" y="14352"/>
                        <a:pt x="21164" y="14210"/>
                      </a:cubicBezTo>
                      <a:cubicBezTo>
                        <a:pt x="21141" y="14148"/>
                        <a:pt x="21031" y="13934"/>
                        <a:pt x="20943" y="13762"/>
                      </a:cubicBezTo>
                      <a:cubicBezTo>
                        <a:pt x="20671" y="13232"/>
                        <a:pt x="20654" y="13192"/>
                        <a:pt x="20661" y="13088"/>
                      </a:cubicBezTo>
                      <a:cubicBezTo>
                        <a:pt x="20658" y="13116"/>
                        <a:pt x="20634" y="13020"/>
                        <a:pt x="20479" y="12722"/>
                      </a:cubicBezTo>
                      <a:cubicBezTo>
                        <a:pt x="20364" y="12503"/>
                        <a:pt x="20273" y="12271"/>
                        <a:pt x="20219" y="12132"/>
                      </a:cubicBezTo>
                      <a:cubicBezTo>
                        <a:pt x="20200" y="12083"/>
                        <a:pt x="20185" y="12045"/>
                        <a:pt x="20176" y="12026"/>
                      </a:cubicBezTo>
                      <a:cubicBezTo>
                        <a:pt x="20133" y="11984"/>
                        <a:pt x="20076" y="11911"/>
                        <a:pt x="20018" y="11713"/>
                      </a:cubicBezTo>
                      <a:cubicBezTo>
                        <a:pt x="19995" y="11636"/>
                        <a:pt x="19985" y="11621"/>
                        <a:pt x="19976" y="11609"/>
                      </a:cubicBezTo>
                      <a:cubicBezTo>
                        <a:pt x="19950" y="11572"/>
                        <a:pt x="19921" y="11526"/>
                        <a:pt x="19902" y="11432"/>
                      </a:cubicBezTo>
                      <a:lnTo>
                        <a:pt x="19892" y="11377"/>
                      </a:lnTo>
                      <a:cubicBezTo>
                        <a:pt x="19882" y="11315"/>
                        <a:pt x="19869" y="11238"/>
                        <a:pt x="19681" y="10902"/>
                      </a:cubicBezTo>
                      <a:lnTo>
                        <a:pt x="19562" y="10693"/>
                      </a:lnTo>
                      <a:cubicBezTo>
                        <a:pt x="19331" y="10288"/>
                        <a:pt x="19069" y="9829"/>
                        <a:pt x="18953" y="9411"/>
                      </a:cubicBezTo>
                      <a:cubicBezTo>
                        <a:pt x="18821" y="8939"/>
                        <a:pt x="18782" y="8628"/>
                        <a:pt x="18828" y="8405"/>
                      </a:cubicBezTo>
                      <a:cubicBezTo>
                        <a:pt x="18845" y="8324"/>
                        <a:pt x="18874" y="8260"/>
                        <a:pt x="18905" y="8209"/>
                      </a:cubicBezTo>
                      <a:cubicBezTo>
                        <a:pt x="18900" y="8196"/>
                        <a:pt x="18894" y="8183"/>
                        <a:pt x="18889" y="8170"/>
                      </a:cubicBezTo>
                      <a:lnTo>
                        <a:pt x="18871" y="8116"/>
                      </a:lnTo>
                      <a:cubicBezTo>
                        <a:pt x="18856" y="8073"/>
                        <a:pt x="18821" y="7970"/>
                        <a:pt x="18805" y="7943"/>
                      </a:cubicBezTo>
                      <a:cubicBezTo>
                        <a:pt x="18770" y="7889"/>
                        <a:pt x="18387" y="7382"/>
                        <a:pt x="18342" y="7330"/>
                      </a:cubicBezTo>
                      <a:cubicBezTo>
                        <a:pt x="18298" y="7293"/>
                        <a:pt x="18279" y="7228"/>
                        <a:pt x="18271" y="7182"/>
                      </a:cubicBezTo>
                      <a:cubicBezTo>
                        <a:pt x="18247" y="7155"/>
                        <a:pt x="18220" y="7121"/>
                        <a:pt x="18196" y="7076"/>
                      </a:cubicBezTo>
                      <a:cubicBezTo>
                        <a:pt x="18193" y="7072"/>
                        <a:pt x="18176" y="7048"/>
                        <a:pt x="18151" y="7014"/>
                      </a:cubicBezTo>
                      <a:cubicBezTo>
                        <a:pt x="18004" y="6808"/>
                        <a:pt x="17612" y="6263"/>
                        <a:pt x="17250" y="5543"/>
                      </a:cubicBezTo>
                      <a:cubicBezTo>
                        <a:pt x="17019" y="5081"/>
                        <a:pt x="16347" y="3702"/>
                        <a:pt x="16295" y="3425"/>
                      </a:cubicBezTo>
                      <a:cubicBezTo>
                        <a:pt x="16276" y="3321"/>
                        <a:pt x="16253" y="3202"/>
                        <a:pt x="16242" y="3173"/>
                      </a:cubicBezTo>
                      <a:cubicBezTo>
                        <a:pt x="16196" y="3110"/>
                        <a:pt x="16129" y="3012"/>
                        <a:pt x="16103" y="2882"/>
                      </a:cubicBezTo>
                      <a:cubicBezTo>
                        <a:pt x="16091" y="2826"/>
                        <a:pt x="16003" y="2552"/>
                        <a:pt x="15938" y="2353"/>
                      </a:cubicBezTo>
                      <a:cubicBezTo>
                        <a:pt x="15884" y="2187"/>
                        <a:pt x="15831" y="2020"/>
                        <a:pt x="15794" y="1899"/>
                      </a:cubicBezTo>
                      <a:cubicBezTo>
                        <a:pt x="15700" y="1590"/>
                        <a:pt x="15657" y="1449"/>
                        <a:pt x="15646" y="1322"/>
                      </a:cubicBezTo>
                      <a:cubicBezTo>
                        <a:pt x="15639" y="1261"/>
                        <a:pt x="15579" y="1027"/>
                        <a:pt x="15546" y="929"/>
                      </a:cubicBezTo>
                      <a:cubicBezTo>
                        <a:pt x="15425" y="872"/>
                        <a:pt x="15416" y="744"/>
                        <a:pt x="15416" y="704"/>
                      </a:cubicBezTo>
                      <a:lnTo>
                        <a:pt x="15425" y="619"/>
                      </a:lnTo>
                      <a:cubicBezTo>
                        <a:pt x="15403" y="566"/>
                        <a:pt x="15383" y="509"/>
                        <a:pt x="15381" y="441"/>
                      </a:cubicBezTo>
                      <a:cubicBezTo>
                        <a:pt x="15374" y="260"/>
                        <a:pt x="15368" y="158"/>
                        <a:pt x="15363" y="99"/>
                      </a:cubicBezTo>
                      <a:cubicBezTo>
                        <a:pt x="15361" y="98"/>
                        <a:pt x="15360" y="97"/>
                        <a:pt x="15359" y="97"/>
                      </a:cubicBezTo>
                      <a:cubicBezTo>
                        <a:pt x="15340" y="89"/>
                        <a:pt x="15323" y="79"/>
                        <a:pt x="15311" y="69"/>
                      </a:cubicBezTo>
                      <a:lnTo>
                        <a:pt x="15307" y="71"/>
                      </a:lnTo>
                      <a:cubicBezTo>
                        <a:pt x="15285" y="96"/>
                        <a:pt x="15249" y="131"/>
                        <a:pt x="15198" y="137"/>
                      </a:cubicBezTo>
                      <a:cubicBezTo>
                        <a:pt x="15179" y="140"/>
                        <a:pt x="15021" y="142"/>
                        <a:pt x="14964" y="140"/>
                      </a:cubicBezTo>
                      <a:cubicBezTo>
                        <a:pt x="14947" y="138"/>
                        <a:pt x="14930" y="137"/>
                        <a:pt x="14913" y="134"/>
                      </a:cubicBezTo>
                      <a:cubicBezTo>
                        <a:pt x="14841" y="172"/>
                        <a:pt x="14790" y="158"/>
                        <a:pt x="14735" y="151"/>
                      </a:cubicBezTo>
                      <a:cubicBezTo>
                        <a:pt x="14681" y="144"/>
                        <a:pt x="14639" y="114"/>
                        <a:pt x="14608" y="87"/>
                      </a:cubicBezTo>
                      <a:cubicBezTo>
                        <a:pt x="14605" y="88"/>
                        <a:pt x="14601" y="88"/>
                        <a:pt x="14597" y="89"/>
                      </a:cubicBezTo>
                      <a:cubicBezTo>
                        <a:pt x="14527" y="89"/>
                        <a:pt x="14487" y="59"/>
                        <a:pt x="14465" y="37"/>
                      </a:cubicBezTo>
                      <a:cubicBezTo>
                        <a:pt x="14461" y="39"/>
                        <a:pt x="14457" y="41"/>
                        <a:pt x="14453" y="42"/>
                      </a:cubicBezTo>
                      <a:cubicBezTo>
                        <a:pt x="14431" y="50"/>
                        <a:pt x="14408" y="58"/>
                        <a:pt x="14381" y="58"/>
                      </a:cubicBezTo>
                      <a:cubicBezTo>
                        <a:pt x="14339" y="50"/>
                        <a:pt x="14298" y="27"/>
                        <a:pt x="14264" y="0"/>
                      </a:cubicBezTo>
                      <a:cubicBezTo>
                        <a:pt x="14251" y="53"/>
                        <a:pt x="14228" y="103"/>
                        <a:pt x="14199" y="137"/>
                      </a:cubicBezTo>
                      <a:lnTo>
                        <a:pt x="14137" y="193"/>
                      </a:lnTo>
                      <a:cubicBezTo>
                        <a:pt x="14137" y="194"/>
                        <a:pt x="14136" y="195"/>
                        <a:pt x="14136" y="195"/>
                      </a:cubicBezTo>
                      <a:cubicBezTo>
                        <a:pt x="14142" y="215"/>
                        <a:pt x="14146" y="235"/>
                        <a:pt x="14149" y="257"/>
                      </a:cubicBezTo>
                      <a:cubicBezTo>
                        <a:pt x="14156" y="317"/>
                        <a:pt x="14148" y="368"/>
                        <a:pt x="14136" y="408"/>
                      </a:cubicBezTo>
                      <a:cubicBezTo>
                        <a:pt x="14144" y="424"/>
                        <a:pt x="14155" y="441"/>
                        <a:pt x="14165" y="457"/>
                      </a:cubicBezTo>
                      <a:cubicBezTo>
                        <a:pt x="14221" y="543"/>
                        <a:pt x="14275" y="691"/>
                        <a:pt x="14291" y="760"/>
                      </a:cubicBezTo>
                      <a:cubicBezTo>
                        <a:pt x="14308" y="838"/>
                        <a:pt x="14300" y="903"/>
                        <a:pt x="14293" y="942"/>
                      </a:cubicBezTo>
                      <a:cubicBezTo>
                        <a:pt x="14294" y="955"/>
                        <a:pt x="14296" y="972"/>
                        <a:pt x="14298" y="990"/>
                      </a:cubicBezTo>
                      <a:cubicBezTo>
                        <a:pt x="14305" y="1042"/>
                        <a:pt x="14314" y="1104"/>
                        <a:pt x="14317" y="1120"/>
                      </a:cubicBezTo>
                      <a:cubicBezTo>
                        <a:pt x="14322" y="1153"/>
                        <a:pt x="14322" y="1183"/>
                        <a:pt x="14320" y="1212"/>
                      </a:cubicBezTo>
                      <a:cubicBezTo>
                        <a:pt x="14317" y="1241"/>
                        <a:pt x="14312" y="1268"/>
                        <a:pt x="14308" y="1296"/>
                      </a:cubicBezTo>
                      <a:cubicBezTo>
                        <a:pt x="14303" y="1320"/>
                        <a:pt x="14298" y="1348"/>
                        <a:pt x="14296" y="1380"/>
                      </a:cubicBezTo>
                      <a:cubicBezTo>
                        <a:pt x="14295" y="1398"/>
                        <a:pt x="14302" y="1444"/>
                        <a:pt x="14306" y="1471"/>
                      </a:cubicBezTo>
                      <a:cubicBezTo>
                        <a:pt x="14313" y="1524"/>
                        <a:pt x="14322" y="1578"/>
                        <a:pt x="14317" y="1636"/>
                      </a:cubicBezTo>
                      <a:cubicBezTo>
                        <a:pt x="14308" y="1758"/>
                        <a:pt x="14245" y="1853"/>
                        <a:pt x="14131" y="1914"/>
                      </a:cubicBezTo>
                      <a:lnTo>
                        <a:pt x="14052" y="1935"/>
                      </a:lnTo>
                      <a:cubicBezTo>
                        <a:pt x="14024" y="1935"/>
                        <a:pt x="14002" y="1927"/>
                        <a:pt x="13984" y="1919"/>
                      </a:cubicBezTo>
                      <a:cubicBezTo>
                        <a:pt x="13944" y="1955"/>
                        <a:pt x="13907" y="1981"/>
                        <a:pt x="13860" y="1981"/>
                      </a:cubicBezTo>
                      <a:cubicBezTo>
                        <a:pt x="13792" y="1981"/>
                        <a:pt x="13694" y="1933"/>
                        <a:pt x="13620" y="1800"/>
                      </a:cubicBezTo>
                      <a:cubicBezTo>
                        <a:pt x="13570" y="1711"/>
                        <a:pt x="13554" y="1576"/>
                        <a:pt x="13546" y="1375"/>
                      </a:cubicBezTo>
                      <a:cubicBezTo>
                        <a:pt x="13512" y="1326"/>
                        <a:pt x="13482" y="1283"/>
                        <a:pt x="13454" y="1226"/>
                      </a:cubicBezTo>
                      <a:cubicBezTo>
                        <a:pt x="13453" y="1223"/>
                        <a:pt x="13451" y="1218"/>
                        <a:pt x="13449" y="1214"/>
                      </a:cubicBezTo>
                      <a:cubicBezTo>
                        <a:pt x="11276" y="1549"/>
                        <a:pt x="9107" y="1877"/>
                        <a:pt x="6944" y="2198"/>
                      </a:cubicBezTo>
                      <a:lnTo>
                        <a:pt x="6903" y="2202"/>
                      </a:lnTo>
                      <a:lnTo>
                        <a:pt x="6887" y="2201"/>
                      </a:lnTo>
                      <a:cubicBezTo>
                        <a:pt x="6815" y="2197"/>
                        <a:pt x="6746" y="2122"/>
                        <a:pt x="6702" y="2061"/>
                      </a:cubicBezTo>
                      <a:cubicBezTo>
                        <a:pt x="6669" y="2048"/>
                        <a:pt x="6640" y="2022"/>
                        <a:pt x="6615" y="1987"/>
                      </a:cubicBezTo>
                      <a:cubicBezTo>
                        <a:pt x="6580" y="1937"/>
                        <a:pt x="6566" y="1887"/>
                        <a:pt x="6557" y="1857"/>
                      </a:cubicBezTo>
                      <a:cubicBezTo>
                        <a:pt x="6505" y="1759"/>
                        <a:pt x="6500" y="1655"/>
                        <a:pt x="6497" y="1585"/>
                      </a:cubicBezTo>
                      <a:cubicBezTo>
                        <a:pt x="6489" y="1537"/>
                        <a:pt x="6487" y="1502"/>
                        <a:pt x="6485" y="1478"/>
                      </a:cubicBezTo>
                      <a:cubicBezTo>
                        <a:pt x="6477" y="1449"/>
                        <a:pt x="6452" y="1420"/>
                        <a:pt x="6430" y="1392"/>
                      </a:cubicBezTo>
                      <a:cubicBezTo>
                        <a:pt x="6387" y="1336"/>
                        <a:pt x="6362" y="1303"/>
                        <a:pt x="6344" y="1262"/>
                      </a:cubicBezTo>
                      <a:lnTo>
                        <a:pt x="6320" y="1176"/>
                      </a:lnTo>
                      <a:cubicBezTo>
                        <a:pt x="6314" y="1170"/>
                        <a:pt x="6308" y="1163"/>
                        <a:pt x="6302" y="1155"/>
                      </a:cubicBezTo>
                      <a:cubicBezTo>
                        <a:pt x="6298" y="1150"/>
                        <a:pt x="6294" y="1145"/>
                        <a:pt x="6290" y="1140"/>
                      </a:cubicBezTo>
                      <a:cubicBezTo>
                        <a:pt x="6186" y="1166"/>
                        <a:pt x="6079" y="1191"/>
                        <a:pt x="5973" y="1217"/>
                      </a:cubicBezTo>
                      <a:cubicBezTo>
                        <a:pt x="5860" y="1244"/>
                        <a:pt x="5746" y="1271"/>
                        <a:pt x="5631" y="1299"/>
                      </a:cubicBezTo>
                      <a:cubicBezTo>
                        <a:pt x="5505" y="1329"/>
                        <a:pt x="5377" y="1357"/>
                        <a:pt x="5250" y="1387"/>
                      </a:cubicBezTo>
                      <a:cubicBezTo>
                        <a:pt x="5128" y="1415"/>
                        <a:pt x="5008" y="1443"/>
                        <a:pt x="4885" y="1471"/>
                      </a:cubicBezTo>
                      <a:cubicBezTo>
                        <a:pt x="4768" y="1497"/>
                        <a:pt x="4649" y="1523"/>
                        <a:pt x="4530" y="1549"/>
                      </a:cubicBezTo>
                      <a:cubicBezTo>
                        <a:pt x="4395" y="1579"/>
                        <a:pt x="4259" y="1609"/>
                        <a:pt x="4122" y="1638"/>
                      </a:cubicBezTo>
                      <a:cubicBezTo>
                        <a:pt x="4017" y="1661"/>
                        <a:pt x="3909" y="1683"/>
                        <a:pt x="3803" y="1705"/>
                      </a:cubicBezTo>
                      <a:cubicBezTo>
                        <a:pt x="3651" y="1737"/>
                        <a:pt x="3500" y="1769"/>
                        <a:pt x="3346" y="1800"/>
                      </a:cubicBezTo>
                      <a:cubicBezTo>
                        <a:pt x="3254" y="1819"/>
                        <a:pt x="3160" y="1838"/>
                        <a:pt x="3067" y="1856"/>
                      </a:cubicBezTo>
                      <a:cubicBezTo>
                        <a:pt x="2895" y="1890"/>
                        <a:pt x="2724" y="1925"/>
                        <a:pt x="2550" y="1959"/>
                      </a:cubicBezTo>
                      <a:cubicBezTo>
                        <a:pt x="2483" y="1972"/>
                        <a:pt x="2414" y="1985"/>
                        <a:pt x="2347" y="1997"/>
                      </a:cubicBezTo>
                      <a:cubicBezTo>
                        <a:pt x="2146" y="2036"/>
                        <a:pt x="1945" y="2074"/>
                        <a:pt x="1740" y="2113"/>
                      </a:cubicBezTo>
                      <a:cubicBezTo>
                        <a:pt x="1695" y="2121"/>
                        <a:pt x="1648" y="2129"/>
                        <a:pt x="1603" y="2137"/>
                      </a:cubicBezTo>
                      <a:cubicBezTo>
                        <a:pt x="1375" y="2179"/>
                        <a:pt x="1147" y="2220"/>
                        <a:pt x="914" y="2262"/>
                      </a:cubicBezTo>
                      <a:cubicBezTo>
                        <a:pt x="636" y="2311"/>
                        <a:pt x="355" y="2359"/>
                        <a:pt x="70" y="2407"/>
                      </a:cubicBezTo>
                      <a:cubicBezTo>
                        <a:pt x="67" y="2487"/>
                        <a:pt x="41" y="2579"/>
                        <a:pt x="6" y="2699"/>
                      </a:cubicBezTo>
                      <a:cubicBezTo>
                        <a:pt x="4" y="2706"/>
                        <a:pt x="2" y="2713"/>
                        <a:pt x="0" y="2720"/>
                      </a:cubicBezTo>
                      <a:lnTo>
                        <a:pt x="5" y="2718"/>
                      </a:lnTo>
                      <a:cubicBezTo>
                        <a:pt x="48" y="2756"/>
                        <a:pt x="107" y="2808"/>
                        <a:pt x="156" y="2880"/>
                      </a:cubicBezTo>
                      <a:cubicBezTo>
                        <a:pt x="212" y="2962"/>
                        <a:pt x="234" y="3007"/>
                        <a:pt x="252" y="3051"/>
                      </a:cubicBezTo>
                      <a:cubicBezTo>
                        <a:pt x="261" y="3058"/>
                        <a:pt x="270" y="3064"/>
                        <a:pt x="278" y="3070"/>
                      </a:cubicBezTo>
                      <a:cubicBezTo>
                        <a:pt x="312" y="3095"/>
                        <a:pt x="334" y="3108"/>
                        <a:pt x="360" y="3123"/>
                      </a:cubicBezTo>
                      <a:cubicBezTo>
                        <a:pt x="424" y="3162"/>
                        <a:pt x="510" y="3215"/>
                        <a:pt x="557" y="3255"/>
                      </a:cubicBezTo>
                      <a:cubicBezTo>
                        <a:pt x="626" y="3313"/>
                        <a:pt x="672" y="3417"/>
                        <a:pt x="686" y="3549"/>
                      </a:cubicBezTo>
                      <a:cubicBezTo>
                        <a:pt x="693" y="3614"/>
                        <a:pt x="697" y="3724"/>
                        <a:pt x="663" y="3812"/>
                      </a:cubicBezTo>
                      <a:cubicBezTo>
                        <a:pt x="662" y="3823"/>
                        <a:pt x="660" y="3835"/>
                        <a:pt x="658" y="3847"/>
                      </a:cubicBezTo>
                      <a:cubicBezTo>
                        <a:pt x="650" y="3909"/>
                        <a:pt x="642" y="3974"/>
                        <a:pt x="616" y="4030"/>
                      </a:cubicBezTo>
                      <a:cubicBezTo>
                        <a:pt x="616" y="4030"/>
                        <a:pt x="616" y="4030"/>
                        <a:pt x="616" y="4030"/>
                      </a:cubicBezTo>
                      <a:cubicBezTo>
                        <a:pt x="629" y="4055"/>
                        <a:pt x="638" y="4081"/>
                        <a:pt x="644" y="4106"/>
                      </a:cubicBezTo>
                      <a:cubicBezTo>
                        <a:pt x="646" y="4107"/>
                        <a:pt x="649" y="4107"/>
                        <a:pt x="651" y="4108"/>
                      </a:cubicBezTo>
                      <a:cubicBezTo>
                        <a:pt x="715" y="4126"/>
                        <a:pt x="769" y="4181"/>
                        <a:pt x="801" y="4259"/>
                      </a:cubicBezTo>
                      <a:cubicBezTo>
                        <a:pt x="830" y="4333"/>
                        <a:pt x="835" y="4419"/>
                        <a:pt x="814" y="4494"/>
                      </a:cubicBezTo>
                      <a:cubicBezTo>
                        <a:pt x="789" y="4585"/>
                        <a:pt x="732" y="4627"/>
                        <a:pt x="673" y="4671"/>
                      </a:cubicBezTo>
                      <a:cubicBezTo>
                        <a:pt x="672" y="4671"/>
                        <a:pt x="672" y="4672"/>
                        <a:pt x="672" y="4672"/>
                      </a:cubicBezTo>
                      <a:cubicBezTo>
                        <a:pt x="838" y="4591"/>
                        <a:pt x="858" y="4591"/>
                        <a:pt x="882" y="4591"/>
                      </a:cubicBezTo>
                      <a:lnTo>
                        <a:pt x="925" y="4596"/>
                      </a:lnTo>
                      <a:cubicBezTo>
                        <a:pt x="961" y="4601"/>
                        <a:pt x="1033" y="4599"/>
                        <a:pt x="1119" y="4566"/>
                      </a:cubicBezTo>
                      <a:cubicBezTo>
                        <a:pt x="1176" y="4544"/>
                        <a:pt x="1253" y="4499"/>
                        <a:pt x="1346" y="4446"/>
                      </a:cubicBezTo>
                      <a:cubicBezTo>
                        <a:pt x="1529" y="4341"/>
                        <a:pt x="1779" y="4197"/>
                        <a:pt x="2061" y="4111"/>
                      </a:cubicBezTo>
                      <a:cubicBezTo>
                        <a:pt x="2578" y="3954"/>
                        <a:pt x="3092" y="3941"/>
                        <a:pt x="3149" y="3940"/>
                      </a:cubicBezTo>
                      <a:cubicBezTo>
                        <a:pt x="3149" y="3940"/>
                        <a:pt x="3149" y="3940"/>
                        <a:pt x="3149" y="3940"/>
                      </a:cubicBezTo>
                      <a:cubicBezTo>
                        <a:pt x="3352" y="3940"/>
                        <a:pt x="3955" y="4012"/>
                        <a:pt x="4317" y="4190"/>
                      </a:cubicBezTo>
                      <a:cubicBezTo>
                        <a:pt x="4675" y="4367"/>
                        <a:pt x="4963" y="4579"/>
                        <a:pt x="5035" y="4640"/>
                      </a:cubicBezTo>
                      <a:cubicBezTo>
                        <a:pt x="5095" y="4691"/>
                        <a:pt x="5125" y="4712"/>
                        <a:pt x="5203" y="4734"/>
                      </a:cubicBezTo>
                      <a:cubicBezTo>
                        <a:pt x="5318" y="4765"/>
                        <a:pt x="5408" y="4803"/>
                        <a:pt x="5469" y="4888"/>
                      </a:cubicBezTo>
                      <a:cubicBezTo>
                        <a:pt x="5489" y="4916"/>
                        <a:pt x="5503" y="4947"/>
                        <a:pt x="5518" y="4980"/>
                      </a:cubicBezTo>
                      <a:cubicBezTo>
                        <a:pt x="5538" y="5026"/>
                        <a:pt x="5568" y="5095"/>
                        <a:pt x="5599" y="5104"/>
                      </a:cubicBezTo>
                      <a:cubicBezTo>
                        <a:pt x="5649" y="5119"/>
                        <a:pt x="5701" y="5130"/>
                        <a:pt x="5747" y="5139"/>
                      </a:cubicBezTo>
                      <a:cubicBezTo>
                        <a:pt x="5838" y="5158"/>
                        <a:pt x="5903" y="5171"/>
                        <a:pt x="5954" y="5209"/>
                      </a:cubicBezTo>
                      <a:cubicBezTo>
                        <a:pt x="5996" y="5241"/>
                        <a:pt x="6121" y="5367"/>
                        <a:pt x="6158" y="5466"/>
                      </a:cubicBezTo>
                      <a:lnTo>
                        <a:pt x="6173" y="5512"/>
                      </a:lnTo>
                      <a:cubicBezTo>
                        <a:pt x="6193" y="5558"/>
                        <a:pt x="6202" y="5567"/>
                        <a:pt x="6210" y="5576"/>
                      </a:cubicBezTo>
                      <a:cubicBezTo>
                        <a:pt x="6242" y="5613"/>
                        <a:pt x="6291" y="5667"/>
                        <a:pt x="6310" y="5759"/>
                      </a:cubicBezTo>
                      <a:cubicBezTo>
                        <a:pt x="6351" y="5941"/>
                        <a:pt x="6367" y="6021"/>
                        <a:pt x="6372" y="6071"/>
                      </a:cubicBezTo>
                      <a:cubicBezTo>
                        <a:pt x="6390" y="6061"/>
                        <a:pt x="6410" y="6054"/>
                        <a:pt x="6431" y="6049"/>
                      </a:cubicBezTo>
                      <a:cubicBezTo>
                        <a:pt x="6443" y="6046"/>
                        <a:pt x="6472" y="6035"/>
                        <a:pt x="6533" y="6001"/>
                      </a:cubicBezTo>
                      <a:cubicBezTo>
                        <a:pt x="6625" y="5939"/>
                        <a:pt x="6684" y="5902"/>
                        <a:pt x="6744" y="5897"/>
                      </a:cubicBezTo>
                      <a:lnTo>
                        <a:pt x="6790" y="5895"/>
                      </a:lnTo>
                      <a:cubicBezTo>
                        <a:pt x="6817" y="5893"/>
                        <a:pt x="6887" y="5890"/>
                        <a:pt x="6929" y="5884"/>
                      </a:cubicBezTo>
                      <a:cubicBezTo>
                        <a:pt x="6931" y="5878"/>
                        <a:pt x="6934" y="5872"/>
                        <a:pt x="6937" y="5867"/>
                      </a:cubicBezTo>
                      <a:cubicBezTo>
                        <a:pt x="6953" y="5834"/>
                        <a:pt x="6969" y="5805"/>
                        <a:pt x="6981" y="5789"/>
                      </a:cubicBezTo>
                      <a:lnTo>
                        <a:pt x="7008" y="5753"/>
                      </a:lnTo>
                      <a:cubicBezTo>
                        <a:pt x="7020" y="5674"/>
                        <a:pt x="7047" y="5590"/>
                        <a:pt x="7118" y="5546"/>
                      </a:cubicBezTo>
                      <a:cubicBezTo>
                        <a:pt x="7151" y="5525"/>
                        <a:pt x="7202" y="5511"/>
                        <a:pt x="7245" y="5511"/>
                      </a:cubicBezTo>
                      <a:lnTo>
                        <a:pt x="7371" y="5511"/>
                      </a:lnTo>
                      <a:lnTo>
                        <a:pt x="7386" y="5558"/>
                      </a:lnTo>
                      <a:cubicBezTo>
                        <a:pt x="7400" y="5543"/>
                        <a:pt x="7414" y="5527"/>
                        <a:pt x="7425" y="5515"/>
                      </a:cubicBezTo>
                      <a:cubicBezTo>
                        <a:pt x="7450" y="5487"/>
                        <a:pt x="7457" y="5475"/>
                        <a:pt x="7462" y="5467"/>
                      </a:cubicBezTo>
                      <a:lnTo>
                        <a:pt x="7495" y="5422"/>
                      </a:lnTo>
                      <a:cubicBezTo>
                        <a:pt x="7574" y="5331"/>
                        <a:pt x="7626" y="5280"/>
                        <a:pt x="7667" y="5252"/>
                      </a:cubicBezTo>
                      <a:cubicBezTo>
                        <a:pt x="7688" y="5237"/>
                        <a:pt x="7708" y="5227"/>
                        <a:pt x="7725" y="5220"/>
                      </a:cubicBezTo>
                      <a:cubicBezTo>
                        <a:pt x="7773" y="5123"/>
                        <a:pt x="7847" y="5005"/>
                        <a:pt x="7901" y="4963"/>
                      </a:cubicBezTo>
                      <a:cubicBezTo>
                        <a:pt x="7904" y="4959"/>
                        <a:pt x="7916" y="4942"/>
                        <a:pt x="7929" y="4926"/>
                      </a:cubicBezTo>
                      <a:cubicBezTo>
                        <a:pt x="7991" y="4845"/>
                        <a:pt x="8061" y="4755"/>
                        <a:pt x="8155" y="4755"/>
                      </a:cubicBezTo>
                      <a:lnTo>
                        <a:pt x="8158" y="4755"/>
                      </a:lnTo>
                      <a:cubicBezTo>
                        <a:pt x="8190" y="4719"/>
                        <a:pt x="8236" y="4682"/>
                        <a:pt x="8291" y="4682"/>
                      </a:cubicBezTo>
                      <a:lnTo>
                        <a:pt x="8339" y="4691"/>
                      </a:lnTo>
                      <a:cubicBezTo>
                        <a:pt x="8331" y="4666"/>
                        <a:pt x="8325" y="4638"/>
                        <a:pt x="8323" y="4608"/>
                      </a:cubicBezTo>
                      <a:cubicBezTo>
                        <a:pt x="8300" y="4384"/>
                        <a:pt x="8289" y="4280"/>
                        <a:pt x="8344" y="4190"/>
                      </a:cubicBezTo>
                      <a:cubicBezTo>
                        <a:pt x="8396" y="4106"/>
                        <a:pt x="8450" y="4079"/>
                        <a:pt x="8492" y="4073"/>
                      </a:cubicBezTo>
                      <a:cubicBezTo>
                        <a:pt x="8500" y="4068"/>
                        <a:pt x="8508" y="4063"/>
                        <a:pt x="8516" y="4058"/>
                      </a:cubicBezTo>
                      <a:cubicBezTo>
                        <a:pt x="8536" y="4000"/>
                        <a:pt x="8613" y="3862"/>
                        <a:pt x="8720" y="3862"/>
                      </a:cubicBezTo>
                      <a:lnTo>
                        <a:pt x="8789" y="3862"/>
                      </a:lnTo>
                      <a:lnTo>
                        <a:pt x="8825" y="3910"/>
                      </a:lnTo>
                      <a:cubicBezTo>
                        <a:pt x="8840" y="3905"/>
                        <a:pt x="8855" y="3903"/>
                        <a:pt x="8871" y="3903"/>
                      </a:cubicBezTo>
                      <a:lnTo>
                        <a:pt x="8924" y="3903"/>
                      </a:lnTo>
                      <a:cubicBezTo>
                        <a:pt x="8945" y="3882"/>
                        <a:pt x="8966" y="3865"/>
                        <a:pt x="8990" y="3853"/>
                      </a:cubicBezTo>
                      <a:cubicBezTo>
                        <a:pt x="9006" y="3845"/>
                        <a:pt x="9029" y="3838"/>
                        <a:pt x="9053" y="3832"/>
                      </a:cubicBezTo>
                      <a:cubicBezTo>
                        <a:pt x="9079" y="3793"/>
                        <a:pt x="9114" y="3754"/>
                        <a:pt x="9163" y="3740"/>
                      </a:cubicBezTo>
                      <a:cubicBezTo>
                        <a:pt x="9194" y="3730"/>
                        <a:pt x="9255" y="3728"/>
                        <a:pt x="9284" y="3728"/>
                      </a:cubicBezTo>
                      <a:cubicBezTo>
                        <a:pt x="9356" y="3728"/>
                        <a:pt x="9431" y="3737"/>
                        <a:pt x="9485" y="3807"/>
                      </a:cubicBezTo>
                      <a:cubicBezTo>
                        <a:pt x="9498" y="3823"/>
                        <a:pt x="9510" y="3841"/>
                        <a:pt x="9521" y="3859"/>
                      </a:cubicBezTo>
                      <a:cubicBezTo>
                        <a:pt x="9528" y="3868"/>
                        <a:pt x="9543" y="3877"/>
                        <a:pt x="9558" y="3886"/>
                      </a:cubicBezTo>
                      <a:cubicBezTo>
                        <a:pt x="9602" y="3911"/>
                        <a:pt x="9639" y="3933"/>
                        <a:pt x="9668" y="3969"/>
                      </a:cubicBezTo>
                      <a:cubicBezTo>
                        <a:pt x="9698" y="3976"/>
                        <a:pt x="9740" y="3995"/>
                        <a:pt x="9775" y="4042"/>
                      </a:cubicBezTo>
                      <a:cubicBezTo>
                        <a:pt x="9763" y="4026"/>
                        <a:pt x="9798" y="4043"/>
                        <a:pt x="9811" y="4047"/>
                      </a:cubicBezTo>
                      <a:cubicBezTo>
                        <a:pt x="9822" y="4049"/>
                        <a:pt x="9850" y="4049"/>
                        <a:pt x="9885" y="4071"/>
                      </a:cubicBezTo>
                      <a:cubicBezTo>
                        <a:pt x="9959" y="4064"/>
                        <a:pt x="10037" y="4092"/>
                        <a:pt x="10094" y="4159"/>
                      </a:cubicBezTo>
                      <a:cubicBezTo>
                        <a:pt x="10109" y="4172"/>
                        <a:pt x="10186" y="4215"/>
                        <a:pt x="10232" y="4240"/>
                      </a:cubicBezTo>
                      <a:cubicBezTo>
                        <a:pt x="10357" y="4309"/>
                        <a:pt x="10418" y="4345"/>
                        <a:pt x="10459" y="4407"/>
                      </a:cubicBezTo>
                      <a:cubicBezTo>
                        <a:pt x="10476" y="4434"/>
                        <a:pt x="10501" y="4483"/>
                        <a:pt x="10525" y="4533"/>
                      </a:cubicBezTo>
                      <a:cubicBezTo>
                        <a:pt x="10532" y="4549"/>
                        <a:pt x="10540" y="4566"/>
                        <a:pt x="10548" y="4580"/>
                      </a:cubicBezTo>
                      <a:cubicBezTo>
                        <a:pt x="10601" y="4612"/>
                        <a:pt x="10652" y="4669"/>
                        <a:pt x="10674" y="4752"/>
                      </a:cubicBezTo>
                      <a:cubicBezTo>
                        <a:pt x="10678" y="4766"/>
                        <a:pt x="10683" y="4794"/>
                        <a:pt x="10689" y="4826"/>
                      </a:cubicBezTo>
                      <a:cubicBezTo>
                        <a:pt x="10692" y="4840"/>
                        <a:pt x="10694" y="4855"/>
                        <a:pt x="10696" y="4869"/>
                      </a:cubicBezTo>
                      <a:cubicBezTo>
                        <a:pt x="10700" y="4873"/>
                        <a:pt x="10703" y="4877"/>
                        <a:pt x="10706" y="4881"/>
                      </a:cubicBezTo>
                      <a:cubicBezTo>
                        <a:pt x="10733" y="4917"/>
                        <a:pt x="10773" y="4972"/>
                        <a:pt x="10798" y="4995"/>
                      </a:cubicBezTo>
                      <a:lnTo>
                        <a:pt x="10760" y="4978"/>
                      </a:lnTo>
                      <a:lnTo>
                        <a:pt x="10800" y="5196"/>
                      </a:lnTo>
                      <a:lnTo>
                        <a:pt x="10800" y="4976"/>
                      </a:lnTo>
                      <a:cubicBezTo>
                        <a:pt x="10859" y="4976"/>
                        <a:pt x="10909" y="5000"/>
                        <a:pt x="10949" y="5046"/>
                      </a:cubicBezTo>
                      <a:cubicBezTo>
                        <a:pt x="10955" y="5053"/>
                        <a:pt x="10962" y="5062"/>
                        <a:pt x="10969" y="5072"/>
                      </a:cubicBezTo>
                      <a:cubicBezTo>
                        <a:pt x="10978" y="5070"/>
                        <a:pt x="10988" y="5069"/>
                        <a:pt x="10999" y="5069"/>
                      </a:cubicBezTo>
                      <a:lnTo>
                        <a:pt x="11040" y="5069"/>
                      </a:lnTo>
                      <a:lnTo>
                        <a:pt x="11103" y="5107"/>
                      </a:lnTo>
                      <a:lnTo>
                        <a:pt x="11246" y="5116"/>
                      </a:lnTo>
                      <a:lnTo>
                        <a:pt x="11255" y="5320"/>
                      </a:lnTo>
                      <a:cubicBezTo>
                        <a:pt x="11256" y="5331"/>
                        <a:pt x="11256" y="5341"/>
                        <a:pt x="11256" y="5353"/>
                      </a:cubicBezTo>
                      <a:cubicBezTo>
                        <a:pt x="11261" y="5376"/>
                        <a:pt x="11264" y="5398"/>
                        <a:pt x="11267" y="5416"/>
                      </a:cubicBezTo>
                      <a:cubicBezTo>
                        <a:pt x="11294" y="5484"/>
                        <a:pt x="11315" y="5690"/>
                        <a:pt x="11319" y="5759"/>
                      </a:cubicBezTo>
                      <a:cubicBezTo>
                        <a:pt x="11357" y="5777"/>
                        <a:pt x="11394" y="5797"/>
                        <a:pt x="11424" y="5832"/>
                      </a:cubicBezTo>
                      <a:cubicBezTo>
                        <a:pt x="11498" y="5838"/>
                        <a:pt x="11548" y="5896"/>
                        <a:pt x="11573" y="5955"/>
                      </a:cubicBezTo>
                      <a:cubicBezTo>
                        <a:pt x="11647" y="5951"/>
                        <a:pt x="11714" y="5970"/>
                        <a:pt x="11762" y="6022"/>
                      </a:cubicBezTo>
                      <a:cubicBezTo>
                        <a:pt x="11807" y="6072"/>
                        <a:pt x="11840" y="6146"/>
                        <a:pt x="11875" y="6231"/>
                      </a:cubicBezTo>
                      <a:cubicBezTo>
                        <a:pt x="11870" y="6231"/>
                        <a:pt x="11984" y="6343"/>
                        <a:pt x="12004" y="6466"/>
                      </a:cubicBezTo>
                      <a:lnTo>
                        <a:pt x="12026" y="6466"/>
                      </a:lnTo>
                      <a:lnTo>
                        <a:pt x="12068" y="6525"/>
                      </a:lnTo>
                      <a:cubicBezTo>
                        <a:pt x="12135" y="6529"/>
                        <a:pt x="12214" y="6541"/>
                        <a:pt x="12262" y="6643"/>
                      </a:cubicBezTo>
                      <a:cubicBezTo>
                        <a:pt x="12295" y="6712"/>
                        <a:pt x="12312" y="6778"/>
                        <a:pt x="12313" y="6838"/>
                      </a:cubicBezTo>
                      <a:cubicBezTo>
                        <a:pt x="12368" y="6802"/>
                        <a:pt x="12440" y="6792"/>
                        <a:pt x="12504" y="6812"/>
                      </a:cubicBezTo>
                      <a:cubicBezTo>
                        <a:pt x="12510" y="6805"/>
                        <a:pt x="12529" y="6802"/>
                        <a:pt x="12553" y="6802"/>
                      </a:cubicBezTo>
                      <a:lnTo>
                        <a:pt x="12615" y="6804"/>
                      </a:lnTo>
                      <a:cubicBezTo>
                        <a:pt x="12641" y="6804"/>
                        <a:pt x="12671" y="6803"/>
                        <a:pt x="12692" y="6802"/>
                      </a:cubicBezTo>
                      <a:cubicBezTo>
                        <a:pt x="12729" y="6781"/>
                        <a:pt x="12772" y="6771"/>
                        <a:pt x="12794" y="6771"/>
                      </a:cubicBezTo>
                      <a:cubicBezTo>
                        <a:pt x="12821" y="6771"/>
                        <a:pt x="12950" y="6803"/>
                        <a:pt x="13011" y="6894"/>
                      </a:cubicBezTo>
                      <a:lnTo>
                        <a:pt x="13058" y="6966"/>
                      </a:lnTo>
                      <a:lnTo>
                        <a:pt x="13056" y="7054"/>
                      </a:lnTo>
                      <a:cubicBezTo>
                        <a:pt x="13064" y="7082"/>
                        <a:pt x="13071" y="7110"/>
                        <a:pt x="13075" y="7137"/>
                      </a:cubicBezTo>
                      <a:cubicBezTo>
                        <a:pt x="13102" y="7158"/>
                        <a:pt x="13124" y="7187"/>
                        <a:pt x="13142" y="7223"/>
                      </a:cubicBezTo>
                      <a:cubicBezTo>
                        <a:pt x="13161" y="7245"/>
                        <a:pt x="13183" y="7280"/>
                        <a:pt x="13198" y="7330"/>
                      </a:cubicBezTo>
                      <a:cubicBezTo>
                        <a:pt x="13207" y="7358"/>
                        <a:pt x="13210" y="7389"/>
                        <a:pt x="13214" y="7429"/>
                      </a:cubicBezTo>
                      <a:cubicBezTo>
                        <a:pt x="13251" y="7455"/>
                        <a:pt x="13287" y="7497"/>
                        <a:pt x="13304" y="7571"/>
                      </a:cubicBezTo>
                      <a:lnTo>
                        <a:pt x="13310" y="7600"/>
                      </a:lnTo>
                      <a:cubicBezTo>
                        <a:pt x="13332" y="7635"/>
                        <a:pt x="13363" y="7686"/>
                        <a:pt x="13388" y="7720"/>
                      </a:cubicBezTo>
                      <a:cubicBezTo>
                        <a:pt x="13458" y="7723"/>
                        <a:pt x="13528" y="7734"/>
                        <a:pt x="13575" y="7824"/>
                      </a:cubicBezTo>
                      <a:cubicBezTo>
                        <a:pt x="13601" y="7872"/>
                        <a:pt x="13609" y="7926"/>
                        <a:pt x="13616" y="7970"/>
                      </a:cubicBezTo>
                      <a:cubicBezTo>
                        <a:pt x="13636" y="8083"/>
                        <a:pt x="13626" y="8167"/>
                        <a:pt x="13617" y="8219"/>
                      </a:cubicBezTo>
                      <a:cubicBezTo>
                        <a:pt x="13621" y="8241"/>
                        <a:pt x="13627" y="8268"/>
                        <a:pt x="13630" y="8281"/>
                      </a:cubicBezTo>
                      <a:cubicBezTo>
                        <a:pt x="13637" y="8293"/>
                        <a:pt x="13666" y="8361"/>
                        <a:pt x="13661" y="8457"/>
                      </a:cubicBezTo>
                      <a:cubicBezTo>
                        <a:pt x="13659" y="8478"/>
                        <a:pt x="13654" y="8511"/>
                        <a:pt x="13648" y="8545"/>
                      </a:cubicBezTo>
                      <a:lnTo>
                        <a:pt x="13679" y="8718"/>
                      </a:lnTo>
                      <a:cubicBezTo>
                        <a:pt x="13689" y="8812"/>
                        <a:pt x="13702" y="8949"/>
                        <a:pt x="13702" y="8988"/>
                      </a:cubicBezTo>
                      <a:cubicBezTo>
                        <a:pt x="13702" y="9031"/>
                        <a:pt x="13706" y="9062"/>
                        <a:pt x="13707" y="9070"/>
                      </a:cubicBezTo>
                      <a:cubicBezTo>
                        <a:pt x="13707" y="9071"/>
                        <a:pt x="13748" y="9260"/>
                        <a:pt x="13748" y="9337"/>
                      </a:cubicBezTo>
                      <a:cubicBezTo>
                        <a:pt x="13748" y="9380"/>
                        <a:pt x="13741" y="9419"/>
                        <a:pt x="13731" y="9463"/>
                      </a:cubicBezTo>
                      <a:cubicBezTo>
                        <a:pt x="13737" y="9499"/>
                        <a:pt x="13740" y="9539"/>
                        <a:pt x="13740" y="9586"/>
                      </a:cubicBezTo>
                      <a:cubicBezTo>
                        <a:pt x="13740" y="9623"/>
                        <a:pt x="13745" y="9659"/>
                        <a:pt x="13748" y="9689"/>
                      </a:cubicBezTo>
                      <a:cubicBezTo>
                        <a:pt x="13757" y="9763"/>
                        <a:pt x="13771" y="9886"/>
                        <a:pt x="13696" y="9973"/>
                      </a:cubicBezTo>
                      <a:cubicBezTo>
                        <a:pt x="13699" y="9970"/>
                        <a:pt x="13700" y="9973"/>
                        <a:pt x="13697" y="9982"/>
                      </a:cubicBezTo>
                      <a:cubicBezTo>
                        <a:pt x="13713" y="10056"/>
                        <a:pt x="13725" y="10137"/>
                        <a:pt x="13698" y="10219"/>
                      </a:cubicBezTo>
                      <a:cubicBezTo>
                        <a:pt x="13694" y="10235"/>
                        <a:pt x="13681" y="10291"/>
                        <a:pt x="13674" y="10329"/>
                      </a:cubicBezTo>
                      <a:cubicBezTo>
                        <a:pt x="13697" y="10425"/>
                        <a:pt x="13715" y="10532"/>
                        <a:pt x="13665" y="10630"/>
                      </a:cubicBezTo>
                      <a:cubicBezTo>
                        <a:pt x="13663" y="10635"/>
                        <a:pt x="13660" y="10640"/>
                        <a:pt x="13658" y="10644"/>
                      </a:cubicBezTo>
                      <a:lnTo>
                        <a:pt x="13663" y="10740"/>
                      </a:lnTo>
                      <a:lnTo>
                        <a:pt x="13650" y="10878"/>
                      </a:lnTo>
                      <a:lnTo>
                        <a:pt x="13595" y="10905"/>
                      </a:lnTo>
                      <a:lnTo>
                        <a:pt x="13608" y="10930"/>
                      </a:lnTo>
                      <a:cubicBezTo>
                        <a:pt x="13609" y="10932"/>
                        <a:pt x="13680" y="11159"/>
                        <a:pt x="13678" y="11270"/>
                      </a:cubicBezTo>
                      <a:cubicBezTo>
                        <a:pt x="13678" y="11286"/>
                        <a:pt x="13680" y="11322"/>
                        <a:pt x="13682" y="11367"/>
                      </a:cubicBezTo>
                      <a:cubicBezTo>
                        <a:pt x="13686" y="11428"/>
                        <a:pt x="13688" y="11484"/>
                        <a:pt x="13690" y="11534"/>
                      </a:cubicBezTo>
                      <a:cubicBezTo>
                        <a:pt x="13708" y="11525"/>
                        <a:pt x="13728" y="11517"/>
                        <a:pt x="13756" y="11506"/>
                      </a:cubicBezTo>
                      <a:cubicBezTo>
                        <a:pt x="13770" y="11501"/>
                        <a:pt x="13785" y="11496"/>
                        <a:pt x="13797" y="11491"/>
                      </a:cubicBezTo>
                      <a:cubicBezTo>
                        <a:pt x="13819" y="11469"/>
                        <a:pt x="13839" y="11457"/>
                        <a:pt x="13852" y="11450"/>
                      </a:cubicBezTo>
                      <a:cubicBezTo>
                        <a:pt x="13875" y="11436"/>
                        <a:pt x="13893" y="11429"/>
                        <a:pt x="13907" y="11425"/>
                      </a:cubicBezTo>
                      <a:cubicBezTo>
                        <a:pt x="13981" y="11376"/>
                        <a:pt x="14095" y="11366"/>
                        <a:pt x="14166" y="11366"/>
                      </a:cubicBezTo>
                      <a:lnTo>
                        <a:pt x="14205" y="11372"/>
                      </a:lnTo>
                      <a:cubicBezTo>
                        <a:pt x="14242" y="11384"/>
                        <a:pt x="14280" y="11420"/>
                        <a:pt x="14313" y="11464"/>
                      </a:cubicBezTo>
                      <a:lnTo>
                        <a:pt x="14314" y="11463"/>
                      </a:lnTo>
                      <a:lnTo>
                        <a:pt x="14387" y="11459"/>
                      </a:lnTo>
                      <a:cubicBezTo>
                        <a:pt x="14446" y="11459"/>
                        <a:pt x="14502" y="11499"/>
                        <a:pt x="14541" y="11544"/>
                      </a:cubicBezTo>
                      <a:cubicBezTo>
                        <a:pt x="14543" y="11544"/>
                        <a:pt x="14545" y="11544"/>
                        <a:pt x="14547" y="11544"/>
                      </a:cubicBezTo>
                      <a:lnTo>
                        <a:pt x="14606" y="11544"/>
                      </a:lnTo>
                      <a:lnTo>
                        <a:pt x="14681" y="11604"/>
                      </a:lnTo>
                      <a:cubicBezTo>
                        <a:pt x="14713" y="11641"/>
                        <a:pt x="14776" y="11712"/>
                        <a:pt x="14776" y="11832"/>
                      </a:cubicBezTo>
                      <a:cubicBezTo>
                        <a:pt x="14797" y="11900"/>
                        <a:pt x="14825" y="11978"/>
                        <a:pt x="14814" y="12076"/>
                      </a:cubicBezTo>
                      <a:cubicBezTo>
                        <a:pt x="14806" y="12136"/>
                        <a:pt x="14796" y="12207"/>
                        <a:pt x="14764" y="12264"/>
                      </a:cubicBezTo>
                      <a:cubicBezTo>
                        <a:pt x="14759" y="12301"/>
                        <a:pt x="14751" y="12339"/>
                        <a:pt x="14734" y="12375"/>
                      </a:cubicBezTo>
                      <a:cubicBezTo>
                        <a:pt x="14724" y="12418"/>
                        <a:pt x="14704" y="12464"/>
                        <a:pt x="14673" y="12507"/>
                      </a:cubicBezTo>
                      <a:lnTo>
                        <a:pt x="14653" y="12532"/>
                      </a:lnTo>
                      <a:cubicBezTo>
                        <a:pt x="14652" y="12588"/>
                        <a:pt x="14641" y="12649"/>
                        <a:pt x="14604" y="12700"/>
                      </a:cubicBezTo>
                      <a:lnTo>
                        <a:pt x="14539" y="12762"/>
                      </a:lnTo>
                      <a:cubicBezTo>
                        <a:pt x="14533" y="12779"/>
                        <a:pt x="14526" y="12797"/>
                        <a:pt x="14524" y="12807"/>
                      </a:cubicBezTo>
                      <a:lnTo>
                        <a:pt x="14505" y="12887"/>
                      </a:lnTo>
                      <a:cubicBezTo>
                        <a:pt x="14496" y="12924"/>
                        <a:pt x="14487" y="12960"/>
                        <a:pt x="14484" y="12977"/>
                      </a:cubicBezTo>
                      <a:cubicBezTo>
                        <a:pt x="14484" y="13017"/>
                        <a:pt x="14482" y="13076"/>
                        <a:pt x="14458" y="13136"/>
                      </a:cubicBezTo>
                      <a:cubicBezTo>
                        <a:pt x="14437" y="13186"/>
                        <a:pt x="14408" y="13221"/>
                        <a:pt x="14361" y="13273"/>
                      </a:cubicBezTo>
                      <a:cubicBezTo>
                        <a:pt x="14354" y="13312"/>
                        <a:pt x="14349" y="13340"/>
                        <a:pt x="14339" y="13368"/>
                      </a:cubicBezTo>
                      <a:cubicBezTo>
                        <a:pt x="14306" y="13494"/>
                        <a:pt x="14282" y="13572"/>
                        <a:pt x="14227" y="13622"/>
                      </a:cubicBezTo>
                      <a:lnTo>
                        <a:pt x="14221" y="13628"/>
                      </a:lnTo>
                      <a:cubicBezTo>
                        <a:pt x="14218" y="13635"/>
                        <a:pt x="14215" y="13643"/>
                        <a:pt x="14212" y="13650"/>
                      </a:cubicBezTo>
                      <a:cubicBezTo>
                        <a:pt x="14221" y="13659"/>
                        <a:pt x="14229" y="13667"/>
                        <a:pt x="14235" y="13673"/>
                      </a:cubicBezTo>
                      <a:lnTo>
                        <a:pt x="14327" y="13770"/>
                      </a:lnTo>
                      <a:cubicBezTo>
                        <a:pt x="14389" y="13838"/>
                        <a:pt x="14478" y="13935"/>
                        <a:pt x="14506" y="13971"/>
                      </a:cubicBezTo>
                      <a:lnTo>
                        <a:pt x="14538" y="14013"/>
                      </a:lnTo>
                      <a:cubicBezTo>
                        <a:pt x="14585" y="14072"/>
                        <a:pt x="14627" y="14125"/>
                        <a:pt x="14643" y="14199"/>
                      </a:cubicBezTo>
                      <a:cubicBezTo>
                        <a:pt x="14667" y="14219"/>
                        <a:pt x="14692" y="14244"/>
                        <a:pt x="14716" y="14275"/>
                      </a:cubicBezTo>
                      <a:cubicBezTo>
                        <a:pt x="14765" y="14338"/>
                        <a:pt x="14877" y="14543"/>
                        <a:pt x="14911" y="14621"/>
                      </a:cubicBezTo>
                      <a:cubicBezTo>
                        <a:pt x="14924" y="14648"/>
                        <a:pt x="14948" y="14713"/>
                        <a:pt x="14975" y="14784"/>
                      </a:cubicBezTo>
                      <a:cubicBezTo>
                        <a:pt x="15007" y="14869"/>
                        <a:pt x="15044" y="14968"/>
                        <a:pt x="15063" y="15006"/>
                      </a:cubicBezTo>
                      <a:cubicBezTo>
                        <a:pt x="15086" y="15029"/>
                        <a:pt x="15127" y="15082"/>
                        <a:pt x="15220" y="15257"/>
                      </a:cubicBezTo>
                      <a:cubicBezTo>
                        <a:pt x="15271" y="15352"/>
                        <a:pt x="15340" y="15448"/>
                        <a:pt x="15395" y="15525"/>
                      </a:cubicBezTo>
                      <a:cubicBezTo>
                        <a:pt x="15436" y="15582"/>
                        <a:pt x="15471" y="15631"/>
                        <a:pt x="15489" y="15664"/>
                      </a:cubicBezTo>
                      <a:cubicBezTo>
                        <a:pt x="15495" y="15674"/>
                        <a:pt x="15510" y="15688"/>
                        <a:pt x="15523" y="15700"/>
                      </a:cubicBezTo>
                      <a:cubicBezTo>
                        <a:pt x="15558" y="15734"/>
                        <a:pt x="15609" y="15783"/>
                        <a:pt x="15637" y="15873"/>
                      </a:cubicBezTo>
                      <a:cubicBezTo>
                        <a:pt x="15643" y="15872"/>
                        <a:pt x="15649" y="15871"/>
                        <a:pt x="15655" y="15871"/>
                      </a:cubicBezTo>
                      <a:cubicBezTo>
                        <a:pt x="15653" y="15865"/>
                        <a:pt x="15652" y="15859"/>
                        <a:pt x="15650" y="15853"/>
                      </a:cubicBezTo>
                      <a:cubicBezTo>
                        <a:pt x="15640" y="15820"/>
                        <a:pt x="15626" y="15785"/>
                        <a:pt x="15614" y="15753"/>
                      </a:cubicBezTo>
                      <a:cubicBezTo>
                        <a:pt x="15576" y="15658"/>
                        <a:pt x="15538" y="15559"/>
                        <a:pt x="15573" y="15443"/>
                      </a:cubicBezTo>
                      <a:cubicBezTo>
                        <a:pt x="15595" y="15366"/>
                        <a:pt x="15639" y="15326"/>
                        <a:pt x="15675" y="15305"/>
                      </a:cubicBezTo>
                      <a:cubicBezTo>
                        <a:pt x="15687" y="15251"/>
                        <a:pt x="15707" y="15191"/>
                        <a:pt x="15751" y="15145"/>
                      </a:cubicBezTo>
                      <a:cubicBezTo>
                        <a:pt x="15788" y="15107"/>
                        <a:pt x="15872" y="15051"/>
                        <a:pt x="15948" y="15051"/>
                      </a:cubicBezTo>
                      <a:lnTo>
                        <a:pt x="15986" y="15051"/>
                      </a:lnTo>
                      <a:lnTo>
                        <a:pt x="16035" y="15078"/>
                      </a:lnTo>
                      <a:cubicBezTo>
                        <a:pt x="16088" y="15115"/>
                        <a:pt x="16185" y="15250"/>
                        <a:pt x="16188" y="15389"/>
                      </a:cubicBezTo>
                      <a:lnTo>
                        <a:pt x="16191" y="15514"/>
                      </a:lnTo>
                      <a:cubicBezTo>
                        <a:pt x="16213" y="15574"/>
                        <a:pt x="16222" y="15646"/>
                        <a:pt x="16231" y="15716"/>
                      </a:cubicBezTo>
                      <a:lnTo>
                        <a:pt x="16234" y="15739"/>
                      </a:lnTo>
                      <a:cubicBezTo>
                        <a:pt x="16256" y="15798"/>
                        <a:pt x="16257" y="15863"/>
                        <a:pt x="16258" y="15911"/>
                      </a:cubicBezTo>
                      <a:cubicBezTo>
                        <a:pt x="16261" y="15978"/>
                        <a:pt x="16261" y="16198"/>
                        <a:pt x="16255" y="16252"/>
                      </a:cubicBezTo>
                      <a:cubicBezTo>
                        <a:pt x="16252" y="16286"/>
                        <a:pt x="16240" y="16319"/>
                        <a:pt x="16228" y="16349"/>
                      </a:cubicBezTo>
                      <a:cubicBezTo>
                        <a:pt x="16238" y="16455"/>
                        <a:pt x="16242" y="16578"/>
                        <a:pt x="16169" y="16648"/>
                      </a:cubicBezTo>
                      <a:cubicBezTo>
                        <a:pt x="16181" y="16690"/>
                        <a:pt x="16201" y="16762"/>
                        <a:pt x="16218" y="16819"/>
                      </a:cubicBezTo>
                      <a:cubicBezTo>
                        <a:pt x="16257" y="16806"/>
                        <a:pt x="16301" y="16798"/>
                        <a:pt x="16340" y="16798"/>
                      </a:cubicBezTo>
                      <a:cubicBezTo>
                        <a:pt x="16432" y="16798"/>
                        <a:pt x="16482" y="16849"/>
                        <a:pt x="16509" y="16898"/>
                      </a:cubicBezTo>
                      <a:cubicBezTo>
                        <a:pt x="16554" y="16907"/>
                        <a:pt x="16611" y="16932"/>
                        <a:pt x="16649" y="17009"/>
                      </a:cubicBezTo>
                      <a:lnTo>
                        <a:pt x="16656" y="17023"/>
                      </a:lnTo>
                      <a:cubicBezTo>
                        <a:pt x="16699" y="17033"/>
                        <a:pt x="16743" y="17054"/>
                        <a:pt x="16785" y="17111"/>
                      </a:cubicBezTo>
                      <a:cubicBezTo>
                        <a:pt x="16868" y="17199"/>
                        <a:pt x="17007" y="17346"/>
                        <a:pt x="17074" y="17537"/>
                      </a:cubicBezTo>
                      <a:cubicBezTo>
                        <a:pt x="17114" y="17652"/>
                        <a:pt x="17148" y="17809"/>
                        <a:pt x="17181" y="17962"/>
                      </a:cubicBezTo>
                      <a:cubicBezTo>
                        <a:pt x="17204" y="18072"/>
                        <a:pt x="17226" y="18177"/>
                        <a:pt x="17248" y="18242"/>
                      </a:cubicBezTo>
                      <a:cubicBezTo>
                        <a:pt x="17291" y="18370"/>
                        <a:pt x="17370" y="18578"/>
                        <a:pt x="17408" y="18665"/>
                      </a:cubicBezTo>
                      <a:cubicBezTo>
                        <a:pt x="17447" y="18688"/>
                        <a:pt x="17491" y="18723"/>
                        <a:pt x="17516" y="18796"/>
                      </a:cubicBezTo>
                      <a:cubicBezTo>
                        <a:pt x="17532" y="18841"/>
                        <a:pt x="17534" y="18890"/>
                        <a:pt x="17535" y="18963"/>
                      </a:cubicBezTo>
                      <a:cubicBezTo>
                        <a:pt x="17548" y="18984"/>
                        <a:pt x="17563" y="19010"/>
                        <a:pt x="17576" y="19030"/>
                      </a:cubicBezTo>
                      <a:cubicBezTo>
                        <a:pt x="17604" y="18998"/>
                        <a:pt x="17633" y="18973"/>
                        <a:pt x="17654" y="18960"/>
                      </a:cubicBezTo>
                      <a:lnTo>
                        <a:pt x="17684" y="18943"/>
                      </a:lnTo>
                      <a:lnTo>
                        <a:pt x="17741" y="18939"/>
                      </a:lnTo>
                      <a:lnTo>
                        <a:pt x="17835" y="18944"/>
                      </a:lnTo>
                      <a:cubicBezTo>
                        <a:pt x="17944" y="18866"/>
                        <a:pt x="17991" y="18866"/>
                        <a:pt x="18013" y="18866"/>
                      </a:cubicBezTo>
                      <a:lnTo>
                        <a:pt x="18069" y="18866"/>
                      </a:lnTo>
                      <a:lnTo>
                        <a:pt x="18096" y="18893"/>
                      </a:lnTo>
                      <a:lnTo>
                        <a:pt x="18103" y="18889"/>
                      </a:lnTo>
                      <a:lnTo>
                        <a:pt x="18124" y="18891"/>
                      </a:lnTo>
                      <a:cubicBezTo>
                        <a:pt x="18159" y="18891"/>
                        <a:pt x="18193" y="18905"/>
                        <a:pt x="18225" y="18932"/>
                      </a:cubicBezTo>
                      <a:lnTo>
                        <a:pt x="18246" y="18952"/>
                      </a:lnTo>
                      <a:cubicBezTo>
                        <a:pt x="18267" y="18944"/>
                        <a:pt x="18290" y="18939"/>
                        <a:pt x="18314" y="18939"/>
                      </a:cubicBezTo>
                      <a:lnTo>
                        <a:pt x="18362" y="18939"/>
                      </a:lnTo>
                      <a:lnTo>
                        <a:pt x="18455" y="19011"/>
                      </a:lnTo>
                      <a:cubicBezTo>
                        <a:pt x="18479" y="19034"/>
                        <a:pt x="18512" y="19063"/>
                        <a:pt x="18528" y="19076"/>
                      </a:cubicBezTo>
                      <a:cubicBezTo>
                        <a:pt x="18616" y="19136"/>
                        <a:pt x="18672" y="19189"/>
                        <a:pt x="18698" y="19277"/>
                      </a:cubicBezTo>
                      <a:cubicBezTo>
                        <a:pt x="18706" y="19303"/>
                        <a:pt x="18722" y="19357"/>
                        <a:pt x="18723" y="19421"/>
                      </a:cubicBezTo>
                      <a:lnTo>
                        <a:pt x="18733" y="19501"/>
                      </a:lnTo>
                      <a:lnTo>
                        <a:pt x="18772" y="19533"/>
                      </a:lnTo>
                      <a:cubicBezTo>
                        <a:pt x="18782" y="19546"/>
                        <a:pt x="18790" y="19559"/>
                        <a:pt x="18796" y="19570"/>
                      </a:cubicBezTo>
                      <a:cubicBezTo>
                        <a:pt x="18859" y="19609"/>
                        <a:pt x="18910" y="19681"/>
                        <a:pt x="18951" y="19740"/>
                      </a:cubicBezTo>
                      <a:lnTo>
                        <a:pt x="18978" y="19777"/>
                      </a:lnTo>
                      <a:cubicBezTo>
                        <a:pt x="19023" y="19837"/>
                        <a:pt x="19052" y="19919"/>
                        <a:pt x="19076" y="19991"/>
                      </a:cubicBezTo>
                      <a:cubicBezTo>
                        <a:pt x="19084" y="20013"/>
                        <a:pt x="19090" y="20033"/>
                        <a:pt x="19097" y="20048"/>
                      </a:cubicBezTo>
                      <a:cubicBezTo>
                        <a:pt x="19101" y="20053"/>
                        <a:pt x="19111" y="20065"/>
                        <a:pt x="19120" y="20077"/>
                      </a:cubicBezTo>
                      <a:cubicBezTo>
                        <a:pt x="19155" y="20122"/>
                        <a:pt x="19199" y="20177"/>
                        <a:pt x="19207" y="20270"/>
                      </a:cubicBezTo>
                      <a:lnTo>
                        <a:pt x="19208" y="20286"/>
                      </a:lnTo>
                      <a:lnTo>
                        <a:pt x="19208" y="20303"/>
                      </a:lnTo>
                      <a:cubicBezTo>
                        <a:pt x="19250" y="20330"/>
                        <a:pt x="19289" y="20363"/>
                        <a:pt x="19320" y="20415"/>
                      </a:cubicBezTo>
                      <a:cubicBezTo>
                        <a:pt x="19327" y="20427"/>
                        <a:pt x="19390" y="20553"/>
                        <a:pt x="19425" y="20670"/>
                      </a:cubicBezTo>
                      <a:cubicBezTo>
                        <a:pt x="19449" y="20683"/>
                        <a:pt x="19473" y="20705"/>
                        <a:pt x="19493" y="20739"/>
                      </a:cubicBezTo>
                      <a:cubicBezTo>
                        <a:pt x="19530" y="20801"/>
                        <a:pt x="19602" y="21018"/>
                        <a:pt x="19510" y="21169"/>
                      </a:cubicBezTo>
                      <a:cubicBezTo>
                        <a:pt x="19504" y="21181"/>
                        <a:pt x="19496" y="21192"/>
                        <a:pt x="19489" y="21201"/>
                      </a:cubicBezTo>
                      <a:cubicBezTo>
                        <a:pt x="19487" y="21268"/>
                        <a:pt x="19486" y="21358"/>
                        <a:pt x="19487" y="21416"/>
                      </a:cubicBezTo>
                      <a:cubicBezTo>
                        <a:pt x="19516" y="21457"/>
                        <a:pt x="19541" y="21497"/>
                        <a:pt x="19559" y="21540"/>
                      </a:cubicBezTo>
                      <a:cubicBezTo>
                        <a:pt x="19561" y="21545"/>
                        <a:pt x="19563" y="21550"/>
                        <a:pt x="19566" y="21556"/>
                      </a:cubicBezTo>
                      <a:cubicBezTo>
                        <a:pt x="19589" y="21564"/>
                        <a:pt x="19612" y="21578"/>
                        <a:pt x="19633" y="21600"/>
                      </a:cubicBezTo>
                      <a:cubicBezTo>
                        <a:pt x="19659" y="21572"/>
                        <a:pt x="19698" y="21541"/>
                        <a:pt x="19759" y="21537"/>
                      </a:cubicBezTo>
                      <a:lnTo>
                        <a:pt x="19810" y="21537"/>
                      </a:lnTo>
                      <a:cubicBezTo>
                        <a:pt x="19833" y="21516"/>
                        <a:pt x="19862" y="21495"/>
                        <a:pt x="19898" y="21482"/>
                      </a:cubicBezTo>
                      <a:lnTo>
                        <a:pt x="19932" y="21471"/>
                      </a:lnTo>
                      <a:cubicBezTo>
                        <a:pt x="19935" y="21470"/>
                        <a:pt x="19938" y="21469"/>
                        <a:pt x="19942" y="21468"/>
                      </a:cubicBezTo>
                      <a:lnTo>
                        <a:pt x="19974" y="21409"/>
                      </a:lnTo>
                      <a:cubicBezTo>
                        <a:pt x="20005" y="21345"/>
                        <a:pt x="20058" y="21241"/>
                        <a:pt x="20155" y="21236"/>
                      </a:cubicBezTo>
                      <a:cubicBezTo>
                        <a:pt x="20177" y="21229"/>
                        <a:pt x="20199" y="21225"/>
                        <a:pt x="20220" y="21225"/>
                      </a:cubicBezTo>
                      <a:lnTo>
                        <a:pt x="20279" y="21231"/>
                      </a:lnTo>
                      <a:cubicBezTo>
                        <a:pt x="20302" y="21214"/>
                        <a:pt x="20329" y="21202"/>
                        <a:pt x="20363" y="21202"/>
                      </a:cubicBezTo>
                      <a:lnTo>
                        <a:pt x="20415" y="21199"/>
                      </a:lnTo>
                      <a:cubicBezTo>
                        <a:pt x="20462" y="21199"/>
                        <a:pt x="20501" y="21209"/>
                        <a:pt x="20535" y="21229"/>
                      </a:cubicBezTo>
                      <a:cubicBezTo>
                        <a:pt x="20550" y="21209"/>
                        <a:pt x="20568" y="21192"/>
                        <a:pt x="20591" y="21177"/>
                      </a:cubicBezTo>
                      <a:cubicBezTo>
                        <a:pt x="20632" y="21137"/>
                        <a:pt x="20667" y="21102"/>
                        <a:pt x="20703" y="21081"/>
                      </a:cubicBezTo>
                      <a:cubicBezTo>
                        <a:pt x="20705" y="21044"/>
                        <a:pt x="20713" y="21006"/>
                        <a:pt x="20732" y="20967"/>
                      </a:cubicBezTo>
                      <a:lnTo>
                        <a:pt x="20765" y="20916"/>
                      </a:lnTo>
                      <a:cubicBezTo>
                        <a:pt x="20792" y="20860"/>
                        <a:pt x="20833" y="20828"/>
                        <a:pt x="20857" y="20809"/>
                      </a:cubicBezTo>
                      <a:cubicBezTo>
                        <a:pt x="20954" y="20737"/>
                        <a:pt x="21015" y="20765"/>
                        <a:pt x="21065" y="20800"/>
                      </a:cubicBezTo>
                      <a:cubicBezTo>
                        <a:pt x="21071" y="20791"/>
                        <a:pt x="21078" y="20783"/>
                        <a:pt x="21084" y="20774"/>
                      </a:cubicBezTo>
                      <a:cubicBezTo>
                        <a:pt x="21204" y="20630"/>
                        <a:pt x="21228" y="20583"/>
                        <a:pt x="21229" y="20582"/>
                      </a:cubicBezTo>
                      <a:cubicBezTo>
                        <a:pt x="21233" y="20523"/>
                        <a:pt x="21246" y="20437"/>
                        <a:pt x="21297" y="20355"/>
                      </a:cubicBezTo>
                      <a:cubicBezTo>
                        <a:pt x="21307" y="20339"/>
                        <a:pt x="21317" y="20325"/>
                        <a:pt x="21327" y="20312"/>
                      </a:cubicBezTo>
                      <a:cubicBezTo>
                        <a:pt x="21296" y="20248"/>
                        <a:pt x="21296" y="20179"/>
                        <a:pt x="21297" y="20159"/>
                      </a:cubicBezTo>
                      <a:lnTo>
                        <a:pt x="21300" y="20118"/>
                      </a:lnTo>
                      <a:cubicBezTo>
                        <a:pt x="21253" y="20050"/>
                        <a:pt x="21213" y="19978"/>
                        <a:pt x="21213" y="19881"/>
                      </a:cubicBezTo>
                      <a:cubicBezTo>
                        <a:pt x="21209" y="19766"/>
                        <a:pt x="21210" y="19654"/>
                        <a:pt x="21254" y="19561"/>
                      </a:cubicBezTo>
                      <a:cubicBezTo>
                        <a:pt x="21256" y="19555"/>
                        <a:pt x="21258" y="19550"/>
                        <a:pt x="21260" y="19546"/>
                      </a:cubicBezTo>
                      <a:cubicBezTo>
                        <a:pt x="21234" y="19464"/>
                        <a:pt x="21208" y="19337"/>
                        <a:pt x="21275" y="19220"/>
                      </a:cubicBezTo>
                      <a:cubicBezTo>
                        <a:pt x="21281" y="19210"/>
                        <a:pt x="21289" y="19183"/>
                        <a:pt x="21295" y="19161"/>
                      </a:cubicBezTo>
                      <a:cubicBezTo>
                        <a:pt x="21302" y="19134"/>
                        <a:pt x="21309" y="19107"/>
                        <a:pt x="21318" y="19084"/>
                      </a:cubicBezTo>
                      <a:cubicBezTo>
                        <a:pt x="21316" y="19082"/>
                        <a:pt x="21318" y="19035"/>
                        <a:pt x="21322" y="18990"/>
                      </a:cubicBezTo>
                      <a:cubicBezTo>
                        <a:pt x="21332" y="18856"/>
                        <a:pt x="21337" y="18781"/>
                        <a:pt x="21379" y="18716"/>
                      </a:cubicBezTo>
                      <a:cubicBezTo>
                        <a:pt x="21381" y="18713"/>
                        <a:pt x="21491" y="18551"/>
                        <a:pt x="21600" y="18511"/>
                      </a:cubicBezTo>
                      <a:cubicBezTo>
                        <a:pt x="21599" y="18456"/>
                        <a:pt x="21597" y="18398"/>
                        <a:pt x="21595" y="18359"/>
                      </a:cubicBezTo>
                      <a:close/>
                      <a:moveTo>
                        <a:pt x="21595" y="18359"/>
                      </a:moveTo>
                    </a:path>
                  </a:pathLst>
                </a:custGeom>
                <a:solidFill>
                  <a:schemeClr val="accent6">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2400"/>
                    <a:buFontTx/>
                    <a:buNone/>
                    <a:tabLst/>
                    <a:defRPr/>
                  </a:pPr>
                  <a:endParaRPr kumimoji="0" sz="18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51" name="Google Shape;432;p54">
                  <a:extLst>
                    <a:ext uri="{FF2B5EF4-FFF2-40B4-BE49-F238E27FC236}">
                      <a16:creationId xmlns:a16="http://schemas.microsoft.com/office/drawing/2014/main" id="{EE196BEF-4571-4EB5-926E-C06AA45C9EAD}"/>
                    </a:ext>
                  </a:extLst>
                </p:cNvPr>
                <p:cNvSpPr/>
                <p:nvPr/>
              </p:nvSpPr>
              <p:spPr>
                <a:xfrm>
                  <a:off x="5977053" y="4343219"/>
                  <a:ext cx="582822" cy="925074"/>
                </a:xfrm>
                <a:custGeom>
                  <a:avLst/>
                  <a:gdLst/>
                  <a:ahLst/>
                  <a:cxnLst/>
                  <a:rect l="l" t="t" r="r" b="b"/>
                  <a:pathLst>
                    <a:path w="21600" h="21600" extrusionOk="0">
                      <a:moveTo>
                        <a:pt x="7687" y="20753"/>
                      </a:moveTo>
                      <a:cubicBezTo>
                        <a:pt x="7569" y="20692"/>
                        <a:pt x="7511" y="20619"/>
                        <a:pt x="7511" y="20533"/>
                      </a:cubicBezTo>
                      <a:cubicBezTo>
                        <a:pt x="7511" y="20431"/>
                        <a:pt x="7630" y="20266"/>
                        <a:pt x="7677" y="20217"/>
                      </a:cubicBezTo>
                      <a:cubicBezTo>
                        <a:pt x="7657" y="20239"/>
                        <a:pt x="7670" y="20205"/>
                        <a:pt x="7675" y="20185"/>
                      </a:cubicBezTo>
                      <a:cubicBezTo>
                        <a:pt x="7691" y="20132"/>
                        <a:pt x="7705" y="20081"/>
                        <a:pt x="7739" y="20035"/>
                      </a:cubicBezTo>
                      <a:cubicBezTo>
                        <a:pt x="7739" y="20028"/>
                        <a:pt x="7738" y="20022"/>
                        <a:pt x="7737" y="20016"/>
                      </a:cubicBezTo>
                      <a:cubicBezTo>
                        <a:pt x="7643" y="19985"/>
                        <a:pt x="7511" y="19949"/>
                        <a:pt x="7406" y="19920"/>
                      </a:cubicBezTo>
                      <a:cubicBezTo>
                        <a:pt x="7307" y="19893"/>
                        <a:pt x="7227" y="19870"/>
                        <a:pt x="7197" y="19859"/>
                      </a:cubicBezTo>
                      <a:cubicBezTo>
                        <a:pt x="7045" y="19809"/>
                        <a:pt x="6881" y="19756"/>
                        <a:pt x="6800" y="19650"/>
                      </a:cubicBezTo>
                      <a:cubicBezTo>
                        <a:pt x="6780" y="19625"/>
                        <a:pt x="6769" y="19611"/>
                        <a:pt x="6667" y="19542"/>
                      </a:cubicBezTo>
                      <a:cubicBezTo>
                        <a:pt x="6616" y="19508"/>
                        <a:pt x="6521" y="19470"/>
                        <a:pt x="6452" y="19442"/>
                      </a:cubicBezTo>
                      <a:cubicBezTo>
                        <a:pt x="6366" y="19407"/>
                        <a:pt x="6298" y="19380"/>
                        <a:pt x="6242" y="19337"/>
                      </a:cubicBezTo>
                      <a:cubicBezTo>
                        <a:pt x="6157" y="19271"/>
                        <a:pt x="6066" y="19151"/>
                        <a:pt x="6066" y="19042"/>
                      </a:cubicBezTo>
                      <a:cubicBezTo>
                        <a:pt x="6066" y="18981"/>
                        <a:pt x="6097" y="18933"/>
                        <a:pt x="6160" y="18835"/>
                      </a:cubicBezTo>
                      <a:cubicBezTo>
                        <a:pt x="6181" y="18801"/>
                        <a:pt x="6222" y="18739"/>
                        <a:pt x="6243" y="18697"/>
                      </a:cubicBezTo>
                      <a:cubicBezTo>
                        <a:pt x="6186" y="18607"/>
                        <a:pt x="6146" y="18512"/>
                        <a:pt x="6234" y="18412"/>
                      </a:cubicBezTo>
                      <a:cubicBezTo>
                        <a:pt x="6283" y="18357"/>
                        <a:pt x="6353" y="18317"/>
                        <a:pt x="6391" y="18298"/>
                      </a:cubicBezTo>
                      <a:lnTo>
                        <a:pt x="6476" y="18254"/>
                      </a:lnTo>
                      <a:lnTo>
                        <a:pt x="6584" y="18246"/>
                      </a:lnTo>
                      <a:cubicBezTo>
                        <a:pt x="7293" y="18192"/>
                        <a:pt x="7992" y="18137"/>
                        <a:pt x="8682" y="18082"/>
                      </a:cubicBezTo>
                      <a:cubicBezTo>
                        <a:pt x="8756" y="18076"/>
                        <a:pt x="8827" y="18070"/>
                        <a:pt x="8901" y="18064"/>
                      </a:cubicBezTo>
                      <a:cubicBezTo>
                        <a:pt x="9514" y="18015"/>
                        <a:pt x="10123" y="17965"/>
                        <a:pt x="10722" y="17915"/>
                      </a:cubicBezTo>
                      <a:cubicBezTo>
                        <a:pt x="10827" y="17906"/>
                        <a:pt x="10929" y="17897"/>
                        <a:pt x="11033" y="17888"/>
                      </a:cubicBezTo>
                      <a:cubicBezTo>
                        <a:pt x="11593" y="17840"/>
                        <a:pt x="12149" y="17793"/>
                        <a:pt x="12698" y="17744"/>
                      </a:cubicBezTo>
                      <a:cubicBezTo>
                        <a:pt x="12847" y="17731"/>
                        <a:pt x="12993" y="17717"/>
                        <a:pt x="13141" y="17704"/>
                      </a:cubicBezTo>
                      <a:cubicBezTo>
                        <a:pt x="13638" y="17660"/>
                        <a:pt x="14132" y="17615"/>
                        <a:pt x="14620" y="17569"/>
                      </a:cubicBezTo>
                      <a:cubicBezTo>
                        <a:pt x="14803" y="17553"/>
                        <a:pt x="14983" y="17535"/>
                        <a:pt x="15165" y="17518"/>
                      </a:cubicBezTo>
                      <a:cubicBezTo>
                        <a:pt x="15611" y="17476"/>
                        <a:pt x="16055" y="17434"/>
                        <a:pt x="16493" y="17391"/>
                      </a:cubicBezTo>
                      <a:cubicBezTo>
                        <a:pt x="16701" y="17371"/>
                        <a:pt x="16907" y="17350"/>
                        <a:pt x="17113" y="17330"/>
                      </a:cubicBezTo>
                      <a:cubicBezTo>
                        <a:pt x="17519" y="17289"/>
                        <a:pt x="17925" y="17249"/>
                        <a:pt x="18324" y="17208"/>
                      </a:cubicBezTo>
                      <a:cubicBezTo>
                        <a:pt x="18555" y="17184"/>
                        <a:pt x="18782" y="17160"/>
                        <a:pt x="19011" y="17136"/>
                      </a:cubicBezTo>
                      <a:cubicBezTo>
                        <a:pt x="19377" y="17098"/>
                        <a:pt x="19743" y="17060"/>
                        <a:pt x="20105" y="17021"/>
                      </a:cubicBezTo>
                      <a:cubicBezTo>
                        <a:pt x="20364" y="16993"/>
                        <a:pt x="20620" y="16964"/>
                        <a:pt x="20877" y="16936"/>
                      </a:cubicBezTo>
                      <a:cubicBezTo>
                        <a:pt x="21118" y="16909"/>
                        <a:pt x="21360" y="16883"/>
                        <a:pt x="21600" y="16856"/>
                      </a:cubicBezTo>
                      <a:cubicBezTo>
                        <a:pt x="21579" y="16829"/>
                        <a:pt x="21561" y="16800"/>
                        <a:pt x="21545" y="16775"/>
                      </a:cubicBezTo>
                      <a:lnTo>
                        <a:pt x="21506" y="16762"/>
                      </a:lnTo>
                      <a:cubicBezTo>
                        <a:pt x="21417" y="16723"/>
                        <a:pt x="21354" y="16668"/>
                        <a:pt x="21296" y="16605"/>
                      </a:cubicBezTo>
                      <a:cubicBezTo>
                        <a:pt x="21242" y="16593"/>
                        <a:pt x="21183" y="16573"/>
                        <a:pt x="21131" y="16537"/>
                      </a:cubicBezTo>
                      <a:lnTo>
                        <a:pt x="21030" y="16469"/>
                      </a:lnTo>
                      <a:lnTo>
                        <a:pt x="21027" y="16421"/>
                      </a:lnTo>
                      <a:cubicBezTo>
                        <a:pt x="21005" y="16406"/>
                        <a:pt x="20984" y="16387"/>
                        <a:pt x="20967" y="16366"/>
                      </a:cubicBezTo>
                      <a:lnTo>
                        <a:pt x="20898" y="16278"/>
                      </a:lnTo>
                      <a:lnTo>
                        <a:pt x="20949" y="16155"/>
                      </a:lnTo>
                      <a:cubicBezTo>
                        <a:pt x="20866" y="16101"/>
                        <a:pt x="20809" y="16047"/>
                        <a:pt x="20784" y="15986"/>
                      </a:cubicBezTo>
                      <a:cubicBezTo>
                        <a:pt x="20742" y="15862"/>
                        <a:pt x="20800" y="15757"/>
                        <a:pt x="20928" y="15693"/>
                      </a:cubicBezTo>
                      <a:cubicBezTo>
                        <a:pt x="20928" y="15690"/>
                        <a:pt x="20928" y="15688"/>
                        <a:pt x="20928" y="15687"/>
                      </a:cubicBezTo>
                      <a:cubicBezTo>
                        <a:pt x="20882" y="15642"/>
                        <a:pt x="20846" y="15546"/>
                        <a:pt x="20843" y="15455"/>
                      </a:cubicBezTo>
                      <a:cubicBezTo>
                        <a:pt x="20842" y="15424"/>
                        <a:pt x="20846" y="15394"/>
                        <a:pt x="20856" y="15366"/>
                      </a:cubicBezTo>
                      <a:cubicBezTo>
                        <a:pt x="20809" y="15267"/>
                        <a:pt x="20830" y="15191"/>
                        <a:pt x="20865" y="15136"/>
                      </a:cubicBezTo>
                      <a:cubicBezTo>
                        <a:pt x="20849" y="15113"/>
                        <a:pt x="20838" y="15093"/>
                        <a:pt x="20831" y="15072"/>
                      </a:cubicBezTo>
                      <a:cubicBezTo>
                        <a:pt x="20794" y="14971"/>
                        <a:pt x="20854" y="14885"/>
                        <a:pt x="20902" y="14816"/>
                      </a:cubicBezTo>
                      <a:cubicBezTo>
                        <a:pt x="20916" y="14792"/>
                        <a:pt x="20926" y="14772"/>
                        <a:pt x="20933" y="14754"/>
                      </a:cubicBezTo>
                      <a:lnTo>
                        <a:pt x="20918" y="14743"/>
                      </a:lnTo>
                      <a:cubicBezTo>
                        <a:pt x="20802" y="14650"/>
                        <a:pt x="20786" y="14555"/>
                        <a:pt x="20782" y="14495"/>
                      </a:cubicBezTo>
                      <a:lnTo>
                        <a:pt x="20746" y="14473"/>
                      </a:lnTo>
                      <a:cubicBezTo>
                        <a:pt x="20709" y="14445"/>
                        <a:pt x="20684" y="14421"/>
                        <a:pt x="20659" y="14395"/>
                      </a:cubicBezTo>
                      <a:cubicBezTo>
                        <a:pt x="20618" y="14381"/>
                        <a:pt x="20569" y="14361"/>
                        <a:pt x="20524" y="14329"/>
                      </a:cubicBezTo>
                      <a:cubicBezTo>
                        <a:pt x="20430" y="14262"/>
                        <a:pt x="20318" y="14179"/>
                        <a:pt x="20274" y="14135"/>
                      </a:cubicBezTo>
                      <a:cubicBezTo>
                        <a:pt x="20179" y="14042"/>
                        <a:pt x="20202" y="13944"/>
                        <a:pt x="20221" y="13887"/>
                      </a:cubicBezTo>
                      <a:cubicBezTo>
                        <a:pt x="20184" y="13855"/>
                        <a:pt x="20165" y="13840"/>
                        <a:pt x="20146" y="13823"/>
                      </a:cubicBezTo>
                      <a:cubicBezTo>
                        <a:pt x="20059" y="13743"/>
                        <a:pt x="20041" y="13655"/>
                        <a:pt x="20091" y="13563"/>
                      </a:cubicBezTo>
                      <a:cubicBezTo>
                        <a:pt x="19941" y="13430"/>
                        <a:pt x="20002" y="13296"/>
                        <a:pt x="20025" y="13243"/>
                      </a:cubicBezTo>
                      <a:lnTo>
                        <a:pt x="19969" y="13070"/>
                      </a:lnTo>
                      <a:lnTo>
                        <a:pt x="20064" y="13038"/>
                      </a:lnTo>
                      <a:lnTo>
                        <a:pt x="20154" y="12948"/>
                      </a:lnTo>
                      <a:cubicBezTo>
                        <a:pt x="20164" y="12930"/>
                        <a:pt x="20178" y="12913"/>
                        <a:pt x="20193" y="12898"/>
                      </a:cubicBezTo>
                      <a:lnTo>
                        <a:pt x="20158" y="12833"/>
                      </a:lnTo>
                      <a:lnTo>
                        <a:pt x="20257" y="12751"/>
                      </a:lnTo>
                      <a:cubicBezTo>
                        <a:pt x="20253" y="12731"/>
                        <a:pt x="20249" y="12706"/>
                        <a:pt x="20248" y="12692"/>
                      </a:cubicBezTo>
                      <a:cubicBezTo>
                        <a:pt x="20243" y="12630"/>
                        <a:pt x="20264" y="12581"/>
                        <a:pt x="20288" y="12542"/>
                      </a:cubicBezTo>
                      <a:lnTo>
                        <a:pt x="20281" y="12531"/>
                      </a:lnTo>
                      <a:cubicBezTo>
                        <a:pt x="20218" y="12445"/>
                        <a:pt x="20236" y="12354"/>
                        <a:pt x="20250" y="12288"/>
                      </a:cubicBezTo>
                      <a:lnTo>
                        <a:pt x="20220" y="12262"/>
                      </a:lnTo>
                      <a:lnTo>
                        <a:pt x="20143" y="12143"/>
                      </a:lnTo>
                      <a:cubicBezTo>
                        <a:pt x="20112" y="12051"/>
                        <a:pt x="20181" y="11952"/>
                        <a:pt x="20278" y="11884"/>
                      </a:cubicBezTo>
                      <a:cubicBezTo>
                        <a:pt x="20336" y="11806"/>
                        <a:pt x="20381" y="11749"/>
                        <a:pt x="20428" y="11706"/>
                      </a:cubicBezTo>
                      <a:cubicBezTo>
                        <a:pt x="20495" y="11645"/>
                        <a:pt x="20576" y="11609"/>
                        <a:pt x="20650" y="11587"/>
                      </a:cubicBezTo>
                      <a:cubicBezTo>
                        <a:pt x="20668" y="11549"/>
                        <a:pt x="20707" y="11498"/>
                        <a:pt x="20791" y="11458"/>
                      </a:cubicBezTo>
                      <a:cubicBezTo>
                        <a:pt x="20773" y="11455"/>
                        <a:pt x="20756" y="11452"/>
                        <a:pt x="20739" y="11449"/>
                      </a:cubicBezTo>
                      <a:cubicBezTo>
                        <a:pt x="20578" y="11419"/>
                        <a:pt x="20439" y="11393"/>
                        <a:pt x="20342" y="11314"/>
                      </a:cubicBezTo>
                      <a:cubicBezTo>
                        <a:pt x="20252" y="11242"/>
                        <a:pt x="20184" y="11122"/>
                        <a:pt x="20356" y="10956"/>
                      </a:cubicBezTo>
                      <a:cubicBezTo>
                        <a:pt x="20355" y="10937"/>
                        <a:pt x="20353" y="10915"/>
                        <a:pt x="20351" y="10898"/>
                      </a:cubicBezTo>
                      <a:cubicBezTo>
                        <a:pt x="20340" y="10877"/>
                        <a:pt x="20334" y="10854"/>
                        <a:pt x="20335" y="10828"/>
                      </a:cubicBezTo>
                      <a:cubicBezTo>
                        <a:pt x="20246" y="10784"/>
                        <a:pt x="20178" y="10711"/>
                        <a:pt x="20170" y="10588"/>
                      </a:cubicBezTo>
                      <a:cubicBezTo>
                        <a:pt x="20168" y="10555"/>
                        <a:pt x="20166" y="10526"/>
                        <a:pt x="20149" y="10499"/>
                      </a:cubicBezTo>
                      <a:cubicBezTo>
                        <a:pt x="20140" y="10490"/>
                        <a:pt x="20082" y="10438"/>
                        <a:pt x="19807" y="10310"/>
                      </a:cubicBezTo>
                      <a:lnTo>
                        <a:pt x="19741" y="10278"/>
                      </a:lnTo>
                      <a:cubicBezTo>
                        <a:pt x="19654" y="10233"/>
                        <a:pt x="19610" y="10169"/>
                        <a:pt x="19578" y="10123"/>
                      </a:cubicBezTo>
                      <a:cubicBezTo>
                        <a:pt x="19531" y="10066"/>
                        <a:pt x="19515" y="10048"/>
                        <a:pt x="19501" y="10035"/>
                      </a:cubicBezTo>
                      <a:cubicBezTo>
                        <a:pt x="19420" y="9987"/>
                        <a:pt x="19396" y="9920"/>
                        <a:pt x="19389" y="9854"/>
                      </a:cubicBezTo>
                      <a:cubicBezTo>
                        <a:pt x="19369" y="9840"/>
                        <a:pt x="19351" y="9825"/>
                        <a:pt x="19334" y="9809"/>
                      </a:cubicBezTo>
                      <a:cubicBezTo>
                        <a:pt x="19285" y="9761"/>
                        <a:pt x="19236" y="9669"/>
                        <a:pt x="19203" y="9586"/>
                      </a:cubicBezTo>
                      <a:cubicBezTo>
                        <a:pt x="19192" y="9581"/>
                        <a:pt x="19181" y="9577"/>
                        <a:pt x="19171" y="9571"/>
                      </a:cubicBezTo>
                      <a:cubicBezTo>
                        <a:pt x="19106" y="9541"/>
                        <a:pt x="18983" y="9466"/>
                        <a:pt x="18982" y="9343"/>
                      </a:cubicBezTo>
                      <a:lnTo>
                        <a:pt x="18958" y="9332"/>
                      </a:lnTo>
                      <a:cubicBezTo>
                        <a:pt x="18857" y="9281"/>
                        <a:pt x="18813" y="9213"/>
                        <a:pt x="18792" y="9149"/>
                      </a:cubicBezTo>
                      <a:lnTo>
                        <a:pt x="18722" y="9138"/>
                      </a:lnTo>
                      <a:lnTo>
                        <a:pt x="18654" y="9012"/>
                      </a:lnTo>
                      <a:lnTo>
                        <a:pt x="13964" y="0"/>
                      </a:lnTo>
                      <a:cubicBezTo>
                        <a:pt x="13478" y="45"/>
                        <a:pt x="12971" y="89"/>
                        <a:pt x="12474" y="133"/>
                      </a:cubicBezTo>
                      <a:cubicBezTo>
                        <a:pt x="12004" y="176"/>
                        <a:pt x="11539" y="218"/>
                        <a:pt x="11063" y="260"/>
                      </a:cubicBezTo>
                      <a:cubicBezTo>
                        <a:pt x="10549" y="305"/>
                        <a:pt x="10025" y="349"/>
                        <a:pt x="9503" y="393"/>
                      </a:cubicBezTo>
                      <a:cubicBezTo>
                        <a:pt x="8958" y="439"/>
                        <a:pt x="8410" y="485"/>
                        <a:pt x="7857" y="531"/>
                      </a:cubicBezTo>
                      <a:cubicBezTo>
                        <a:pt x="7381" y="570"/>
                        <a:pt x="6901" y="608"/>
                        <a:pt x="6419" y="647"/>
                      </a:cubicBezTo>
                      <a:cubicBezTo>
                        <a:pt x="5769" y="699"/>
                        <a:pt x="5113" y="750"/>
                        <a:pt x="4453" y="800"/>
                      </a:cubicBezTo>
                      <a:cubicBezTo>
                        <a:pt x="4039" y="832"/>
                        <a:pt x="3627" y="864"/>
                        <a:pt x="3209" y="895"/>
                      </a:cubicBezTo>
                      <a:cubicBezTo>
                        <a:pt x="2350" y="960"/>
                        <a:pt x="1483" y="1023"/>
                        <a:pt x="610" y="1085"/>
                      </a:cubicBezTo>
                      <a:cubicBezTo>
                        <a:pt x="405" y="1100"/>
                        <a:pt x="206" y="1115"/>
                        <a:pt x="0" y="1130"/>
                      </a:cubicBezTo>
                      <a:cubicBezTo>
                        <a:pt x="1" y="1130"/>
                        <a:pt x="1" y="1130"/>
                        <a:pt x="1" y="1130"/>
                      </a:cubicBezTo>
                      <a:cubicBezTo>
                        <a:pt x="168" y="1169"/>
                        <a:pt x="284" y="1201"/>
                        <a:pt x="369" y="1276"/>
                      </a:cubicBezTo>
                      <a:cubicBezTo>
                        <a:pt x="454" y="1357"/>
                        <a:pt x="462" y="1442"/>
                        <a:pt x="453" y="1500"/>
                      </a:cubicBezTo>
                      <a:lnTo>
                        <a:pt x="893" y="15004"/>
                      </a:lnTo>
                      <a:lnTo>
                        <a:pt x="2555" y="21273"/>
                      </a:lnTo>
                      <a:cubicBezTo>
                        <a:pt x="2564" y="21272"/>
                        <a:pt x="2573" y="21272"/>
                        <a:pt x="2582" y="21272"/>
                      </a:cubicBezTo>
                      <a:lnTo>
                        <a:pt x="2723" y="21272"/>
                      </a:lnTo>
                      <a:lnTo>
                        <a:pt x="2844" y="21325"/>
                      </a:lnTo>
                      <a:cubicBezTo>
                        <a:pt x="2912" y="21309"/>
                        <a:pt x="2989" y="21298"/>
                        <a:pt x="3072" y="21298"/>
                      </a:cubicBezTo>
                      <a:lnTo>
                        <a:pt x="3162" y="21298"/>
                      </a:lnTo>
                      <a:lnTo>
                        <a:pt x="3302" y="21331"/>
                      </a:lnTo>
                      <a:cubicBezTo>
                        <a:pt x="3330" y="21339"/>
                        <a:pt x="3381" y="21348"/>
                        <a:pt x="3432" y="21357"/>
                      </a:cubicBezTo>
                      <a:cubicBezTo>
                        <a:pt x="3495" y="21369"/>
                        <a:pt x="3556" y="21381"/>
                        <a:pt x="3613" y="21395"/>
                      </a:cubicBezTo>
                      <a:cubicBezTo>
                        <a:pt x="3609" y="21387"/>
                        <a:pt x="3606" y="21378"/>
                        <a:pt x="3603" y="21370"/>
                      </a:cubicBezTo>
                      <a:cubicBezTo>
                        <a:pt x="3560" y="21257"/>
                        <a:pt x="3528" y="21173"/>
                        <a:pt x="3573" y="21087"/>
                      </a:cubicBezTo>
                      <a:cubicBezTo>
                        <a:pt x="3530" y="21036"/>
                        <a:pt x="3491" y="20964"/>
                        <a:pt x="3519" y="20878"/>
                      </a:cubicBezTo>
                      <a:cubicBezTo>
                        <a:pt x="3541" y="20823"/>
                        <a:pt x="3578" y="20781"/>
                        <a:pt x="3610" y="20744"/>
                      </a:cubicBezTo>
                      <a:cubicBezTo>
                        <a:pt x="3600" y="20650"/>
                        <a:pt x="3596" y="20594"/>
                        <a:pt x="3629" y="20536"/>
                      </a:cubicBezTo>
                      <a:lnTo>
                        <a:pt x="3682" y="20470"/>
                      </a:lnTo>
                      <a:cubicBezTo>
                        <a:pt x="3666" y="20432"/>
                        <a:pt x="3658" y="20387"/>
                        <a:pt x="3672" y="20336"/>
                      </a:cubicBezTo>
                      <a:cubicBezTo>
                        <a:pt x="3573" y="20100"/>
                        <a:pt x="3885" y="20028"/>
                        <a:pt x="3945" y="20016"/>
                      </a:cubicBezTo>
                      <a:cubicBezTo>
                        <a:pt x="4020" y="19912"/>
                        <a:pt x="4130" y="19804"/>
                        <a:pt x="4361" y="19804"/>
                      </a:cubicBezTo>
                      <a:lnTo>
                        <a:pt x="4470" y="19804"/>
                      </a:lnTo>
                      <a:lnTo>
                        <a:pt x="4675" y="19896"/>
                      </a:lnTo>
                      <a:cubicBezTo>
                        <a:pt x="4724" y="19904"/>
                        <a:pt x="4771" y="19913"/>
                        <a:pt x="4815" y="19926"/>
                      </a:cubicBezTo>
                      <a:cubicBezTo>
                        <a:pt x="4981" y="19956"/>
                        <a:pt x="5143" y="19989"/>
                        <a:pt x="5232" y="20090"/>
                      </a:cubicBezTo>
                      <a:cubicBezTo>
                        <a:pt x="5272" y="20121"/>
                        <a:pt x="5361" y="20196"/>
                        <a:pt x="5370" y="20310"/>
                      </a:cubicBezTo>
                      <a:cubicBezTo>
                        <a:pt x="5372" y="20331"/>
                        <a:pt x="5371" y="20355"/>
                        <a:pt x="5369" y="20381"/>
                      </a:cubicBezTo>
                      <a:cubicBezTo>
                        <a:pt x="5369" y="20388"/>
                        <a:pt x="5369" y="20392"/>
                        <a:pt x="5368" y="20394"/>
                      </a:cubicBezTo>
                      <a:cubicBezTo>
                        <a:pt x="5485" y="20515"/>
                        <a:pt x="5559" y="20729"/>
                        <a:pt x="5409" y="20857"/>
                      </a:cubicBezTo>
                      <a:cubicBezTo>
                        <a:pt x="5408" y="20864"/>
                        <a:pt x="5406" y="20871"/>
                        <a:pt x="5404" y="20878"/>
                      </a:cubicBezTo>
                      <a:cubicBezTo>
                        <a:pt x="5446" y="20917"/>
                        <a:pt x="5480" y="20962"/>
                        <a:pt x="5494" y="21011"/>
                      </a:cubicBezTo>
                      <a:cubicBezTo>
                        <a:pt x="5510" y="21071"/>
                        <a:pt x="5515" y="21081"/>
                        <a:pt x="5532" y="21093"/>
                      </a:cubicBezTo>
                      <a:cubicBezTo>
                        <a:pt x="5532" y="21092"/>
                        <a:pt x="5533" y="21092"/>
                        <a:pt x="5535" y="21092"/>
                      </a:cubicBezTo>
                      <a:cubicBezTo>
                        <a:pt x="5546" y="21092"/>
                        <a:pt x="5588" y="21100"/>
                        <a:pt x="5614" y="21106"/>
                      </a:cubicBezTo>
                      <a:cubicBezTo>
                        <a:pt x="5714" y="21126"/>
                        <a:pt x="5838" y="21151"/>
                        <a:pt x="5934" y="21220"/>
                      </a:cubicBezTo>
                      <a:cubicBezTo>
                        <a:pt x="5965" y="21241"/>
                        <a:pt x="5988" y="21261"/>
                        <a:pt x="6009" y="21280"/>
                      </a:cubicBezTo>
                      <a:lnTo>
                        <a:pt x="6131" y="21341"/>
                      </a:lnTo>
                      <a:cubicBezTo>
                        <a:pt x="6376" y="21446"/>
                        <a:pt x="6527" y="21513"/>
                        <a:pt x="6599" y="21600"/>
                      </a:cubicBezTo>
                      <a:cubicBezTo>
                        <a:pt x="6757" y="21568"/>
                        <a:pt x="6962" y="21523"/>
                        <a:pt x="7185" y="21470"/>
                      </a:cubicBezTo>
                      <a:lnTo>
                        <a:pt x="7379" y="21423"/>
                      </a:lnTo>
                      <a:cubicBezTo>
                        <a:pt x="7379" y="21420"/>
                        <a:pt x="7384" y="21417"/>
                        <a:pt x="7385" y="21413"/>
                      </a:cubicBezTo>
                      <a:cubicBezTo>
                        <a:pt x="7399" y="21367"/>
                        <a:pt x="7429" y="21322"/>
                        <a:pt x="7471" y="21279"/>
                      </a:cubicBezTo>
                      <a:cubicBezTo>
                        <a:pt x="7481" y="21270"/>
                        <a:pt x="7490" y="21263"/>
                        <a:pt x="7500" y="21254"/>
                      </a:cubicBezTo>
                      <a:cubicBezTo>
                        <a:pt x="7550" y="21213"/>
                        <a:pt x="7607" y="21175"/>
                        <a:pt x="7676" y="21150"/>
                      </a:cubicBezTo>
                      <a:cubicBezTo>
                        <a:pt x="7682" y="21065"/>
                        <a:pt x="7699" y="20976"/>
                        <a:pt x="7777" y="20903"/>
                      </a:cubicBezTo>
                      <a:cubicBezTo>
                        <a:pt x="7714" y="20857"/>
                        <a:pt x="7686" y="20804"/>
                        <a:pt x="7675" y="20756"/>
                      </a:cubicBezTo>
                      <a:cubicBezTo>
                        <a:pt x="7675" y="20756"/>
                        <a:pt x="7687" y="20753"/>
                        <a:pt x="7687" y="20753"/>
                      </a:cubicBezTo>
                      <a:close/>
                      <a:moveTo>
                        <a:pt x="7687" y="20753"/>
                      </a:moveTo>
                    </a:path>
                  </a:pathLst>
                </a:custGeom>
                <a:solidFill>
                  <a:schemeClr val="accent6">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2400"/>
                    <a:buFontTx/>
                    <a:buNone/>
                    <a:tabLst/>
                    <a:defRPr/>
                  </a:pPr>
                  <a:endParaRPr kumimoji="0" sz="18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52" name="Google Shape;433;p54">
                  <a:extLst>
                    <a:ext uri="{FF2B5EF4-FFF2-40B4-BE49-F238E27FC236}">
                      <a16:creationId xmlns:a16="http://schemas.microsoft.com/office/drawing/2014/main" id="{8DEA705F-465E-4261-99CD-C14728CB4B03}"/>
                    </a:ext>
                  </a:extLst>
                </p:cNvPr>
                <p:cNvSpPr/>
                <p:nvPr/>
              </p:nvSpPr>
              <p:spPr>
                <a:xfrm>
                  <a:off x="6563492" y="3756780"/>
                  <a:ext cx="1257714" cy="571914"/>
                </a:xfrm>
                <a:custGeom>
                  <a:avLst/>
                  <a:gdLst/>
                  <a:ahLst/>
                  <a:cxnLst/>
                  <a:rect l="l" t="t" r="r" b="b"/>
                  <a:pathLst>
                    <a:path w="21600" h="21600" extrusionOk="0">
                      <a:moveTo>
                        <a:pt x="20441" y="11393"/>
                      </a:moveTo>
                      <a:cubicBezTo>
                        <a:pt x="20309" y="11582"/>
                        <a:pt x="20093" y="11686"/>
                        <a:pt x="20090" y="11687"/>
                      </a:cubicBezTo>
                      <a:lnTo>
                        <a:pt x="20032" y="11698"/>
                      </a:lnTo>
                      <a:cubicBezTo>
                        <a:pt x="19979" y="11698"/>
                        <a:pt x="19849" y="11672"/>
                        <a:pt x="19789" y="11436"/>
                      </a:cubicBezTo>
                      <a:cubicBezTo>
                        <a:pt x="19724" y="11210"/>
                        <a:pt x="19718" y="11016"/>
                        <a:pt x="19768" y="10849"/>
                      </a:cubicBezTo>
                      <a:cubicBezTo>
                        <a:pt x="19784" y="10756"/>
                        <a:pt x="19813" y="10609"/>
                        <a:pt x="19877" y="10522"/>
                      </a:cubicBezTo>
                      <a:cubicBezTo>
                        <a:pt x="19885" y="10473"/>
                        <a:pt x="19897" y="10420"/>
                        <a:pt x="19917" y="10365"/>
                      </a:cubicBezTo>
                      <a:cubicBezTo>
                        <a:pt x="19919" y="10358"/>
                        <a:pt x="19923" y="10334"/>
                        <a:pt x="19928" y="10296"/>
                      </a:cubicBezTo>
                      <a:lnTo>
                        <a:pt x="19941" y="10219"/>
                      </a:lnTo>
                      <a:cubicBezTo>
                        <a:pt x="19933" y="10268"/>
                        <a:pt x="19931" y="10220"/>
                        <a:pt x="19929" y="10177"/>
                      </a:cubicBezTo>
                      <a:cubicBezTo>
                        <a:pt x="19924" y="10017"/>
                        <a:pt x="19918" y="9865"/>
                        <a:pt x="19945" y="9727"/>
                      </a:cubicBezTo>
                      <a:cubicBezTo>
                        <a:pt x="19958" y="9657"/>
                        <a:pt x="19976" y="9598"/>
                        <a:pt x="19991" y="9555"/>
                      </a:cubicBezTo>
                      <a:cubicBezTo>
                        <a:pt x="19992" y="9461"/>
                        <a:pt x="19997" y="9352"/>
                        <a:pt x="20020" y="9248"/>
                      </a:cubicBezTo>
                      <a:cubicBezTo>
                        <a:pt x="20020" y="9247"/>
                        <a:pt x="20019" y="9246"/>
                        <a:pt x="20019" y="9244"/>
                      </a:cubicBezTo>
                      <a:cubicBezTo>
                        <a:pt x="19972" y="9306"/>
                        <a:pt x="19912" y="9338"/>
                        <a:pt x="19843" y="9338"/>
                      </a:cubicBezTo>
                      <a:cubicBezTo>
                        <a:pt x="19752" y="9338"/>
                        <a:pt x="19692" y="9243"/>
                        <a:pt x="19661" y="9180"/>
                      </a:cubicBezTo>
                      <a:cubicBezTo>
                        <a:pt x="19618" y="9133"/>
                        <a:pt x="19556" y="9054"/>
                        <a:pt x="19532" y="8881"/>
                      </a:cubicBezTo>
                      <a:lnTo>
                        <a:pt x="19509" y="8717"/>
                      </a:lnTo>
                      <a:lnTo>
                        <a:pt x="19551" y="8542"/>
                      </a:lnTo>
                      <a:cubicBezTo>
                        <a:pt x="19598" y="8378"/>
                        <a:pt x="19651" y="8225"/>
                        <a:pt x="19734" y="8167"/>
                      </a:cubicBezTo>
                      <a:cubicBezTo>
                        <a:pt x="19762" y="8147"/>
                        <a:pt x="19798" y="8130"/>
                        <a:pt x="19826" y="8117"/>
                      </a:cubicBezTo>
                      <a:cubicBezTo>
                        <a:pt x="19858" y="8068"/>
                        <a:pt x="19906" y="8008"/>
                        <a:pt x="19968" y="8008"/>
                      </a:cubicBezTo>
                      <a:lnTo>
                        <a:pt x="20015" y="8008"/>
                      </a:lnTo>
                      <a:lnTo>
                        <a:pt x="20054" y="8049"/>
                      </a:lnTo>
                      <a:cubicBezTo>
                        <a:pt x="20086" y="8012"/>
                        <a:pt x="20125" y="7978"/>
                        <a:pt x="20171" y="7978"/>
                      </a:cubicBezTo>
                      <a:lnTo>
                        <a:pt x="20218" y="7978"/>
                      </a:lnTo>
                      <a:lnTo>
                        <a:pt x="20271" y="8034"/>
                      </a:lnTo>
                      <a:cubicBezTo>
                        <a:pt x="20276" y="8041"/>
                        <a:pt x="20283" y="8050"/>
                        <a:pt x="20290" y="8061"/>
                      </a:cubicBezTo>
                      <a:lnTo>
                        <a:pt x="20364" y="8043"/>
                      </a:lnTo>
                      <a:cubicBezTo>
                        <a:pt x="20376" y="8044"/>
                        <a:pt x="20384" y="8046"/>
                        <a:pt x="20392" y="8047"/>
                      </a:cubicBezTo>
                      <a:cubicBezTo>
                        <a:pt x="20439" y="7980"/>
                        <a:pt x="20492" y="7916"/>
                        <a:pt x="20557" y="7916"/>
                      </a:cubicBezTo>
                      <a:lnTo>
                        <a:pt x="20629" y="7945"/>
                      </a:lnTo>
                      <a:cubicBezTo>
                        <a:pt x="20656" y="7913"/>
                        <a:pt x="20680" y="7892"/>
                        <a:pt x="20707" y="7882"/>
                      </a:cubicBezTo>
                      <a:cubicBezTo>
                        <a:pt x="20764" y="7880"/>
                        <a:pt x="20801" y="7900"/>
                        <a:pt x="20827" y="7926"/>
                      </a:cubicBezTo>
                      <a:cubicBezTo>
                        <a:pt x="20842" y="7915"/>
                        <a:pt x="20859" y="7907"/>
                        <a:pt x="20877" y="7902"/>
                      </a:cubicBezTo>
                      <a:cubicBezTo>
                        <a:pt x="20889" y="7875"/>
                        <a:pt x="20903" y="7850"/>
                        <a:pt x="20919" y="7828"/>
                      </a:cubicBezTo>
                      <a:cubicBezTo>
                        <a:pt x="20938" y="7801"/>
                        <a:pt x="20955" y="7773"/>
                        <a:pt x="20969" y="7749"/>
                      </a:cubicBezTo>
                      <a:cubicBezTo>
                        <a:pt x="20963" y="7605"/>
                        <a:pt x="20966" y="7393"/>
                        <a:pt x="21060" y="7268"/>
                      </a:cubicBezTo>
                      <a:cubicBezTo>
                        <a:pt x="21063" y="7264"/>
                        <a:pt x="21066" y="7260"/>
                        <a:pt x="21069" y="7257"/>
                      </a:cubicBezTo>
                      <a:cubicBezTo>
                        <a:pt x="21069" y="7231"/>
                        <a:pt x="21071" y="7204"/>
                        <a:pt x="21074" y="7177"/>
                      </a:cubicBezTo>
                      <a:cubicBezTo>
                        <a:pt x="21050" y="6978"/>
                        <a:pt x="21091" y="6837"/>
                        <a:pt x="21113" y="6779"/>
                      </a:cubicBezTo>
                      <a:cubicBezTo>
                        <a:pt x="21118" y="6764"/>
                        <a:pt x="21124" y="6750"/>
                        <a:pt x="21130" y="6738"/>
                      </a:cubicBezTo>
                      <a:cubicBezTo>
                        <a:pt x="21126" y="6516"/>
                        <a:pt x="21163" y="6359"/>
                        <a:pt x="21238" y="6260"/>
                      </a:cubicBezTo>
                      <a:cubicBezTo>
                        <a:pt x="21239" y="6258"/>
                        <a:pt x="21241" y="6257"/>
                        <a:pt x="21242" y="6255"/>
                      </a:cubicBezTo>
                      <a:cubicBezTo>
                        <a:pt x="21246" y="6172"/>
                        <a:pt x="21260" y="6072"/>
                        <a:pt x="21296" y="5986"/>
                      </a:cubicBezTo>
                      <a:cubicBezTo>
                        <a:pt x="21321" y="5870"/>
                        <a:pt x="21372" y="5654"/>
                        <a:pt x="21492" y="5654"/>
                      </a:cubicBezTo>
                      <a:lnTo>
                        <a:pt x="21557" y="5676"/>
                      </a:lnTo>
                      <a:cubicBezTo>
                        <a:pt x="21562" y="5643"/>
                        <a:pt x="21568" y="5610"/>
                        <a:pt x="21577" y="5578"/>
                      </a:cubicBezTo>
                      <a:cubicBezTo>
                        <a:pt x="21562" y="5492"/>
                        <a:pt x="21557" y="5393"/>
                        <a:pt x="21574" y="5284"/>
                      </a:cubicBezTo>
                      <a:cubicBezTo>
                        <a:pt x="21580" y="5240"/>
                        <a:pt x="21589" y="5199"/>
                        <a:pt x="21600" y="5158"/>
                      </a:cubicBezTo>
                      <a:cubicBezTo>
                        <a:pt x="21587" y="5100"/>
                        <a:pt x="21582" y="5044"/>
                        <a:pt x="21581" y="5003"/>
                      </a:cubicBezTo>
                      <a:lnTo>
                        <a:pt x="21571" y="4993"/>
                      </a:lnTo>
                      <a:cubicBezTo>
                        <a:pt x="21562" y="4947"/>
                        <a:pt x="21553" y="4903"/>
                        <a:pt x="21548" y="4872"/>
                      </a:cubicBezTo>
                      <a:cubicBezTo>
                        <a:pt x="21548" y="4883"/>
                        <a:pt x="21507" y="4801"/>
                        <a:pt x="21494" y="4660"/>
                      </a:cubicBezTo>
                      <a:cubicBezTo>
                        <a:pt x="21491" y="4630"/>
                        <a:pt x="21488" y="4547"/>
                        <a:pt x="21486" y="4456"/>
                      </a:cubicBezTo>
                      <a:cubicBezTo>
                        <a:pt x="21486" y="4431"/>
                        <a:pt x="21486" y="4406"/>
                        <a:pt x="21485" y="4382"/>
                      </a:cubicBezTo>
                      <a:cubicBezTo>
                        <a:pt x="21437" y="4278"/>
                        <a:pt x="21403" y="4195"/>
                        <a:pt x="21393" y="4062"/>
                      </a:cubicBezTo>
                      <a:cubicBezTo>
                        <a:pt x="21357" y="3983"/>
                        <a:pt x="21323" y="3875"/>
                        <a:pt x="21302" y="3828"/>
                      </a:cubicBezTo>
                      <a:cubicBezTo>
                        <a:pt x="21290" y="3825"/>
                        <a:pt x="21268" y="3813"/>
                        <a:pt x="21240" y="3769"/>
                      </a:cubicBezTo>
                      <a:cubicBezTo>
                        <a:pt x="21234" y="3770"/>
                        <a:pt x="21229" y="3771"/>
                        <a:pt x="21222" y="3773"/>
                      </a:cubicBezTo>
                      <a:cubicBezTo>
                        <a:pt x="21218" y="3867"/>
                        <a:pt x="21198" y="3939"/>
                        <a:pt x="21184" y="3978"/>
                      </a:cubicBezTo>
                      <a:cubicBezTo>
                        <a:pt x="21171" y="4159"/>
                        <a:pt x="21125" y="4381"/>
                        <a:pt x="21016" y="4438"/>
                      </a:cubicBezTo>
                      <a:cubicBezTo>
                        <a:pt x="20921" y="4492"/>
                        <a:pt x="20794" y="4454"/>
                        <a:pt x="20735" y="4302"/>
                      </a:cubicBezTo>
                      <a:cubicBezTo>
                        <a:pt x="20679" y="4164"/>
                        <a:pt x="20640" y="4045"/>
                        <a:pt x="20627" y="3913"/>
                      </a:cubicBezTo>
                      <a:cubicBezTo>
                        <a:pt x="20592" y="3932"/>
                        <a:pt x="20549" y="3957"/>
                        <a:pt x="20530" y="3969"/>
                      </a:cubicBezTo>
                      <a:cubicBezTo>
                        <a:pt x="20487" y="3998"/>
                        <a:pt x="20302" y="4163"/>
                        <a:pt x="20263" y="4219"/>
                      </a:cubicBezTo>
                      <a:cubicBezTo>
                        <a:pt x="20265" y="4221"/>
                        <a:pt x="20247" y="4274"/>
                        <a:pt x="20230" y="4324"/>
                      </a:cubicBezTo>
                      <a:cubicBezTo>
                        <a:pt x="20176" y="4482"/>
                        <a:pt x="20131" y="4611"/>
                        <a:pt x="20052" y="4633"/>
                      </a:cubicBezTo>
                      <a:cubicBezTo>
                        <a:pt x="20014" y="4699"/>
                        <a:pt x="19972" y="4734"/>
                        <a:pt x="19927" y="4734"/>
                      </a:cubicBezTo>
                      <a:lnTo>
                        <a:pt x="19825" y="4734"/>
                      </a:lnTo>
                      <a:lnTo>
                        <a:pt x="19770" y="4541"/>
                      </a:lnTo>
                      <a:cubicBezTo>
                        <a:pt x="19754" y="4564"/>
                        <a:pt x="19740" y="4585"/>
                        <a:pt x="19733" y="4599"/>
                      </a:cubicBezTo>
                      <a:cubicBezTo>
                        <a:pt x="19720" y="4665"/>
                        <a:pt x="19624" y="4867"/>
                        <a:pt x="19562" y="4921"/>
                      </a:cubicBezTo>
                      <a:cubicBezTo>
                        <a:pt x="19523" y="4953"/>
                        <a:pt x="19491" y="4956"/>
                        <a:pt x="19466" y="4957"/>
                      </a:cubicBezTo>
                      <a:cubicBezTo>
                        <a:pt x="19445" y="4975"/>
                        <a:pt x="19421" y="4990"/>
                        <a:pt x="19392" y="5007"/>
                      </a:cubicBezTo>
                      <a:cubicBezTo>
                        <a:pt x="19376" y="5016"/>
                        <a:pt x="19360" y="5024"/>
                        <a:pt x="19349" y="5032"/>
                      </a:cubicBezTo>
                      <a:cubicBezTo>
                        <a:pt x="19331" y="5057"/>
                        <a:pt x="19299" y="5074"/>
                        <a:pt x="19269" y="5089"/>
                      </a:cubicBezTo>
                      <a:cubicBezTo>
                        <a:pt x="19267" y="5091"/>
                        <a:pt x="19265" y="5092"/>
                        <a:pt x="19265" y="5092"/>
                      </a:cubicBezTo>
                      <a:lnTo>
                        <a:pt x="19264" y="5092"/>
                      </a:lnTo>
                      <a:cubicBezTo>
                        <a:pt x="19209" y="5164"/>
                        <a:pt x="19145" y="5174"/>
                        <a:pt x="19115" y="5174"/>
                      </a:cubicBezTo>
                      <a:lnTo>
                        <a:pt x="19016" y="5174"/>
                      </a:lnTo>
                      <a:lnTo>
                        <a:pt x="18938" y="4975"/>
                      </a:lnTo>
                      <a:cubicBezTo>
                        <a:pt x="18918" y="4917"/>
                        <a:pt x="18850" y="4709"/>
                        <a:pt x="18886" y="4455"/>
                      </a:cubicBezTo>
                      <a:lnTo>
                        <a:pt x="18888" y="4444"/>
                      </a:lnTo>
                      <a:cubicBezTo>
                        <a:pt x="18856" y="4289"/>
                        <a:pt x="18887" y="4131"/>
                        <a:pt x="18911" y="4051"/>
                      </a:cubicBezTo>
                      <a:cubicBezTo>
                        <a:pt x="18950" y="3901"/>
                        <a:pt x="19014" y="3652"/>
                        <a:pt x="19147" y="3638"/>
                      </a:cubicBezTo>
                      <a:lnTo>
                        <a:pt x="19237" y="3602"/>
                      </a:lnTo>
                      <a:cubicBezTo>
                        <a:pt x="19279" y="3602"/>
                        <a:pt x="19319" y="3629"/>
                        <a:pt x="19353" y="3678"/>
                      </a:cubicBezTo>
                      <a:cubicBezTo>
                        <a:pt x="19362" y="3676"/>
                        <a:pt x="19371" y="3673"/>
                        <a:pt x="19382" y="3673"/>
                      </a:cubicBezTo>
                      <a:lnTo>
                        <a:pt x="19420" y="3670"/>
                      </a:lnTo>
                      <a:cubicBezTo>
                        <a:pt x="19423" y="3670"/>
                        <a:pt x="19427" y="3670"/>
                        <a:pt x="19432" y="3670"/>
                      </a:cubicBezTo>
                      <a:cubicBezTo>
                        <a:pt x="19453" y="3613"/>
                        <a:pt x="19480" y="3542"/>
                        <a:pt x="19499" y="3487"/>
                      </a:cubicBezTo>
                      <a:cubicBezTo>
                        <a:pt x="19499" y="3297"/>
                        <a:pt x="19552" y="3173"/>
                        <a:pt x="19587" y="3110"/>
                      </a:cubicBezTo>
                      <a:cubicBezTo>
                        <a:pt x="19680" y="2950"/>
                        <a:pt x="19763" y="2869"/>
                        <a:pt x="19841" y="2860"/>
                      </a:cubicBezTo>
                      <a:cubicBezTo>
                        <a:pt x="19870" y="2773"/>
                        <a:pt x="19916" y="2677"/>
                        <a:pt x="19987" y="2652"/>
                      </a:cubicBezTo>
                      <a:lnTo>
                        <a:pt x="20039" y="2641"/>
                      </a:lnTo>
                      <a:cubicBezTo>
                        <a:pt x="20048" y="2640"/>
                        <a:pt x="20059" y="2638"/>
                        <a:pt x="20069" y="2636"/>
                      </a:cubicBezTo>
                      <a:cubicBezTo>
                        <a:pt x="20087" y="2576"/>
                        <a:pt x="20158" y="2350"/>
                        <a:pt x="20261" y="2321"/>
                      </a:cubicBezTo>
                      <a:cubicBezTo>
                        <a:pt x="20277" y="2295"/>
                        <a:pt x="20294" y="2267"/>
                        <a:pt x="20313" y="2239"/>
                      </a:cubicBezTo>
                      <a:cubicBezTo>
                        <a:pt x="20316" y="2128"/>
                        <a:pt x="20339" y="2048"/>
                        <a:pt x="20363" y="1992"/>
                      </a:cubicBezTo>
                      <a:cubicBezTo>
                        <a:pt x="20386" y="1887"/>
                        <a:pt x="20502" y="1649"/>
                        <a:pt x="20615" y="1649"/>
                      </a:cubicBezTo>
                      <a:lnTo>
                        <a:pt x="20696" y="1688"/>
                      </a:lnTo>
                      <a:lnTo>
                        <a:pt x="20746" y="1738"/>
                      </a:lnTo>
                      <a:cubicBezTo>
                        <a:pt x="20765" y="1739"/>
                        <a:pt x="20785" y="1739"/>
                        <a:pt x="20803" y="1738"/>
                      </a:cubicBezTo>
                      <a:cubicBezTo>
                        <a:pt x="20799" y="1720"/>
                        <a:pt x="20797" y="1701"/>
                        <a:pt x="20795" y="1681"/>
                      </a:cubicBezTo>
                      <a:cubicBezTo>
                        <a:pt x="20775" y="1615"/>
                        <a:pt x="20766" y="1549"/>
                        <a:pt x="20763" y="1498"/>
                      </a:cubicBezTo>
                      <a:cubicBezTo>
                        <a:pt x="20728" y="1450"/>
                        <a:pt x="20702" y="1389"/>
                        <a:pt x="20687" y="1313"/>
                      </a:cubicBezTo>
                      <a:lnTo>
                        <a:pt x="20673" y="1283"/>
                      </a:lnTo>
                      <a:lnTo>
                        <a:pt x="20641" y="1139"/>
                      </a:lnTo>
                      <a:cubicBezTo>
                        <a:pt x="20639" y="1135"/>
                        <a:pt x="20622" y="1075"/>
                        <a:pt x="20615" y="1056"/>
                      </a:cubicBezTo>
                      <a:cubicBezTo>
                        <a:pt x="20604" y="1046"/>
                        <a:pt x="20548" y="962"/>
                        <a:pt x="20529" y="798"/>
                      </a:cubicBezTo>
                      <a:lnTo>
                        <a:pt x="20491" y="758"/>
                      </a:lnTo>
                      <a:cubicBezTo>
                        <a:pt x="20463" y="725"/>
                        <a:pt x="20442" y="689"/>
                        <a:pt x="20426" y="659"/>
                      </a:cubicBezTo>
                      <a:cubicBezTo>
                        <a:pt x="20353" y="624"/>
                        <a:pt x="20278" y="572"/>
                        <a:pt x="20242" y="392"/>
                      </a:cubicBezTo>
                      <a:cubicBezTo>
                        <a:pt x="20200" y="295"/>
                        <a:pt x="20147" y="162"/>
                        <a:pt x="20143" y="0"/>
                      </a:cubicBezTo>
                      <a:cubicBezTo>
                        <a:pt x="20034" y="63"/>
                        <a:pt x="19928" y="122"/>
                        <a:pt x="19820" y="184"/>
                      </a:cubicBezTo>
                      <a:cubicBezTo>
                        <a:pt x="19662" y="275"/>
                        <a:pt x="19504" y="365"/>
                        <a:pt x="19348" y="453"/>
                      </a:cubicBezTo>
                      <a:cubicBezTo>
                        <a:pt x="19130" y="577"/>
                        <a:pt x="18914" y="699"/>
                        <a:pt x="18700" y="820"/>
                      </a:cubicBezTo>
                      <a:cubicBezTo>
                        <a:pt x="18547" y="905"/>
                        <a:pt x="18395" y="991"/>
                        <a:pt x="18244" y="1075"/>
                      </a:cubicBezTo>
                      <a:cubicBezTo>
                        <a:pt x="18032" y="1193"/>
                        <a:pt x="17823" y="1308"/>
                        <a:pt x="17615" y="1423"/>
                      </a:cubicBezTo>
                      <a:cubicBezTo>
                        <a:pt x="17464" y="1506"/>
                        <a:pt x="17314" y="1589"/>
                        <a:pt x="17165" y="1670"/>
                      </a:cubicBezTo>
                      <a:cubicBezTo>
                        <a:pt x="16962" y="1781"/>
                        <a:pt x="16761" y="1890"/>
                        <a:pt x="16561" y="1998"/>
                      </a:cubicBezTo>
                      <a:cubicBezTo>
                        <a:pt x="16413" y="2078"/>
                        <a:pt x="16263" y="2159"/>
                        <a:pt x="16116" y="2237"/>
                      </a:cubicBezTo>
                      <a:cubicBezTo>
                        <a:pt x="15919" y="2343"/>
                        <a:pt x="15724" y="2446"/>
                        <a:pt x="15530" y="2548"/>
                      </a:cubicBezTo>
                      <a:cubicBezTo>
                        <a:pt x="15387" y="2623"/>
                        <a:pt x="15244" y="2699"/>
                        <a:pt x="15103" y="2773"/>
                      </a:cubicBezTo>
                      <a:cubicBezTo>
                        <a:pt x="14906" y="2875"/>
                        <a:pt x="14713" y="2975"/>
                        <a:pt x="14519" y="3074"/>
                      </a:cubicBezTo>
                      <a:cubicBezTo>
                        <a:pt x="14386" y="3143"/>
                        <a:pt x="14251" y="3212"/>
                        <a:pt x="14118" y="3280"/>
                      </a:cubicBezTo>
                      <a:cubicBezTo>
                        <a:pt x="13925" y="3379"/>
                        <a:pt x="13734" y="3474"/>
                        <a:pt x="13544" y="3569"/>
                      </a:cubicBezTo>
                      <a:cubicBezTo>
                        <a:pt x="13416" y="3633"/>
                        <a:pt x="13287" y="3698"/>
                        <a:pt x="13161" y="3761"/>
                      </a:cubicBezTo>
                      <a:cubicBezTo>
                        <a:pt x="12971" y="3854"/>
                        <a:pt x="12785" y="3945"/>
                        <a:pt x="12598" y="4035"/>
                      </a:cubicBezTo>
                      <a:cubicBezTo>
                        <a:pt x="12477" y="4094"/>
                        <a:pt x="12354" y="4155"/>
                        <a:pt x="12234" y="4212"/>
                      </a:cubicBezTo>
                      <a:cubicBezTo>
                        <a:pt x="12044" y="4303"/>
                        <a:pt x="11858" y="4390"/>
                        <a:pt x="11672" y="4478"/>
                      </a:cubicBezTo>
                      <a:cubicBezTo>
                        <a:pt x="11561" y="4530"/>
                        <a:pt x="11448" y="4584"/>
                        <a:pt x="11338" y="4635"/>
                      </a:cubicBezTo>
                      <a:cubicBezTo>
                        <a:pt x="11139" y="4728"/>
                        <a:pt x="10944" y="4815"/>
                        <a:pt x="10750" y="4903"/>
                      </a:cubicBezTo>
                      <a:cubicBezTo>
                        <a:pt x="10658" y="4945"/>
                        <a:pt x="10564" y="4988"/>
                        <a:pt x="10474" y="5029"/>
                      </a:cubicBezTo>
                      <a:cubicBezTo>
                        <a:pt x="10258" y="5125"/>
                        <a:pt x="10047" y="5216"/>
                        <a:pt x="9837" y="5307"/>
                      </a:cubicBezTo>
                      <a:cubicBezTo>
                        <a:pt x="9771" y="5336"/>
                        <a:pt x="9703" y="5367"/>
                        <a:pt x="9637" y="5395"/>
                      </a:cubicBezTo>
                      <a:cubicBezTo>
                        <a:pt x="9088" y="5629"/>
                        <a:pt x="8560" y="5845"/>
                        <a:pt x="8053" y="6041"/>
                      </a:cubicBezTo>
                      <a:cubicBezTo>
                        <a:pt x="7988" y="6066"/>
                        <a:pt x="7927" y="6088"/>
                        <a:pt x="7863" y="6112"/>
                      </a:cubicBezTo>
                      <a:cubicBezTo>
                        <a:pt x="7678" y="6183"/>
                        <a:pt x="7493" y="6253"/>
                        <a:pt x="7313" y="6318"/>
                      </a:cubicBezTo>
                      <a:cubicBezTo>
                        <a:pt x="7224" y="6351"/>
                        <a:pt x="7139" y="6380"/>
                        <a:pt x="7051" y="6411"/>
                      </a:cubicBezTo>
                      <a:cubicBezTo>
                        <a:pt x="6901" y="6464"/>
                        <a:pt x="6749" y="6518"/>
                        <a:pt x="6603" y="6567"/>
                      </a:cubicBezTo>
                      <a:cubicBezTo>
                        <a:pt x="6510" y="6599"/>
                        <a:pt x="6420" y="6627"/>
                        <a:pt x="6329" y="6656"/>
                      </a:cubicBezTo>
                      <a:cubicBezTo>
                        <a:pt x="6214" y="6694"/>
                        <a:pt x="6096" y="6734"/>
                        <a:pt x="5983" y="6770"/>
                      </a:cubicBezTo>
                      <a:cubicBezTo>
                        <a:pt x="5983" y="6775"/>
                        <a:pt x="5982" y="6777"/>
                        <a:pt x="5981" y="6782"/>
                      </a:cubicBezTo>
                      <a:cubicBezTo>
                        <a:pt x="5977" y="6832"/>
                        <a:pt x="5972" y="6874"/>
                        <a:pt x="5965" y="6905"/>
                      </a:cubicBezTo>
                      <a:cubicBezTo>
                        <a:pt x="5968" y="6921"/>
                        <a:pt x="5972" y="6939"/>
                        <a:pt x="5975" y="6956"/>
                      </a:cubicBezTo>
                      <a:cubicBezTo>
                        <a:pt x="6000" y="7095"/>
                        <a:pt x="6016" y="7180"/>
                        <a:pt x="6017" y="7275"/>
                      </a:cubicBezTo>
                      <a:cubicBezTo>
                        <a:pt x="6019" y="7364"/>
                        <a:pt x="6009" y="7440"/>
                        <a:pt x="5996" y="7503"/>
                      </a:cubicBezTo>
                      <a:cubicBezTo>
                        <a:pt x="6004" y="7589"/>
                        <a:pt x="5999" y="7667"/>
                        <a:pt x="5990" y="7727"/>
                      </a:cubicBezTo>
                      <a:cubicBezTo>
                        <a:pt x="5985" y="7761"/>
                        <a:pt x="5978" y="7792"/>
                        <a:pt x="5972" y="7820"/>
                      </a:cubicBezTo>
                      <a:cubicBezTo>
                        <a:pt x="5978" y="7852"/>
                        <a:pt x="5982" y="7882"/>
                        <a:pt x="5985" y="7908"/>
                      </a:cubicBezTo>
                      <a:cubicBezTo>
                        <a:pt x="6024" y="8002"/>
                        <a:pt x="6044" y="8056"/>
                        <a:pt x="6058" y="8126"/>
                      </a:cubicBezTo>
                      <a:lnTo>
                        <a:pt x="6095" y="8319"/>
                      </a:lnTo>
                      <a:lnTo>
                        <a:pt x="5990" y="8677"/>
                      </a:lnTo>
                      <a:lnTo>
                        <a:pt x="5887" y="8682"/>
                      </a:lnTo>
                      <a:cubicBezTo>
                        <a:pt x="5877" y="8682"/>
                        <a:pt x="5867" y="8681"/>
                        <a:pt x="5857" y="8678"/>
                      </a:cubicBezTo>
                      <a:lnTo>
                        <a:pt x="5849" y="8690"/>
                      </a:lnTo>
                      <a:lnTo>
                        <a:pt x="5766" y="8727"/>
                      </a:lnTo>
                      <a:cubicBezTo>
                        <a:pt x="5729" y="8727"/>
                        <a:pt x="5698" y="8704"/>
                        <a:pt x="5672" y="8678"/>
                      </a:cubicBezTo>
                      <a:cubicBezTo>
                        <a:pt x="5662" y="8711"/>
                        <a:pt x="5651" y="8758"/>
                        <a:pt x="5636" y="8824"/>
                      </a:cubicBezTo>
                      <a:lnTo>
                        <a:pt x="5591" y="9025"/>
                      </a:lnTo>
                      <a:lnTo>
                        <a:pt x="5532" y="9045"/>
                      </a:lnTo>
                      <a:cubicBezTo>
                        <a:pt x="5528" y="9081"/>
                        <a:pt x="5522" y="9118"/>
                        <a:pt x="5517" y="9154"/>
                      </a:cubicBezTo>
                      <a:cubicBezTo>
                        <a:pt x="5506" y="9230"/>
                        <a:pt x="5496" y="9301"/>
                        <a:pt x="5488" y="9347"/>
                      </a:cubicBezTo>
                      <a:cubicBezTo>
                        <a:pt x="5480" y="9395"/>
                        <a:pt x="5460" y="9541"/>
                        <a:pt x="5438" y="9699"/>
                      </a:cubicBezTo>
                      <a:cubicBezTo>
                        <a:pt x="5359" y="10275"/>
                        <a:pt x="5352" y="10322"/>
                        <a:pt x="5309" y="10410"/>
                      </a:cubicBezTo>
                      <a:cubicBezTo>
                        <a:pt x="5282" y="10467"/>
                        <a:pt x="5251" y="10498"/>
                        <a:pt x="5223" y="10516"/>
                      </a:cubicBezTo>
                      <a:cubicBezTo>
                        <a:pt x="5207" y="10554"/>
                        <a:pt x="5185" y="10593"/>
                        <a:pt x="5157" y="10624"/>
                      </a:cubicBezTo>
                      <a:cubicBezTo>
                        <a:pt x="5106" y="10701"/>
                        <a:pt x="5045" y="10792"/>
                        <a:pt x="4968" y="10792"/>
                      </a:cubicBezTo>
                      <a:lnTo>
                        <a:pt x="4889" y="10758"/>
                      </a:lnTo>
                      <a:cubicBezTo>
                        <a:pt x="4846" y="10720"/>
                        <a:pt x="4816" y="10658"/>
                        <a:pt x="4794" y="10590"/>
                      </a:cubicBezTo>
                      <a:lnTo>
                        <a:pt x="4765" y="10600"/>
                      </a:lnTo>
                      <a:cubicBezTo>
                        <a:pt x="4763" y="10600"/>
                        <a:pt x="4761" y="10600"/>
                        <a:pt x="4759" y="10599"/>
                      </a:cubicBezTo>
                      <a:cubicBezTo>
                        <a:pt x="4756" y="10606"/>
                        <a:pt x="4753" y="10613"/>
                        <a:pt x="4749" y="10619"/>
                      </a:cubicBezTo>
                      <a:cubicBezTo>
                        <a:pt x="4703" y="10708"/>
                        <a:pt x="4650" y="10733"/>
                        <a:pt x="4601" y="10741"/>
                      </a:cubicBezTo>
                      <a:cubicBezTo>
                        <a:pt x="4575" y="10807"/>
                        <a:pt x="4533" y="10868"/>
                        <a:pt x="4469" y="10897"/>
                      </a:cubicBezTo>
                      <a:cubicBezTo>
                        <a:pt x="4439" y="10946"/>
                        <a:pt x="4399" y="11013"/>
                        <a:pt x="4387" y="11041"/>
                      </a:cubicBezTo>
                      <a:cubicBezTo>
                        <a:pt x="4394" y="11028"/>
                        <a:pt x="4380" y="11108"/>
                        <a:pt x="4372" y="11182"/>
                      </a:cubicBezTo>
                      <a:cubicBezTo>
                        <a:pt x="4356" y="11326"/>
                        <a:pt x="4297" y="11608"/>
                        <a:pt x="4254" y="11752"/>
                      </a:cubicBezTo>
                      <a:cubicBezTo>
                        <a:pt x="4214" y="11882"/>
                        <a:pt x="4148" y="11997"/>
                        <a:pt x="4103" y="12068"/>
                      </a:cubicBezTo>
                      <a:cubicBezTo>
                        <a:pt x="4091" y="12126"/>
                        <a:pt x="4069" y="12194"/>
                        <a:pt x="4034" y="12248"/>
                      </a:cubicBezTo>
                      <a:lnTo>
                        <a:pt x="3988" y="12318"/>
                      </a:lnTo>
                      <a:lnTo>
                        <a:pt x="3914" y="12330"/>
                      </a:lnTo>
                      <a:cubicBezTo>
                        <a:pt x="3862" y="12330"/>
                        <a:pt x="3821" y="12291"/>
                        <a:pt x="3797" y="12268"/>
                      </a:cubicBezTo>
                      <a:cubicBezTo>
                        <a:pt x="3749" y="12225"/>
                        <a:pt x="3642" y="12132"/>
                        <a:pt x="3618" y="11888"/>
                      </a:cubicBezTo>
                      <a:cubicBezTo>
                        <a:pt x="3614" y="11874"/>
                        <a:pt x="3611" y="11859"/>
                        <a:pt x="3609" y="11845"/>
                      </a:cubicBezTo>
                      <a:cubicBezTo>
                        <a:pt x="3569" y="11927"/>
                        <a:pt x="3531" y="12009"/>
                        <a:pt x="3520" y="12031"/>
                      </a:cubicBezTo>
                      <a:cubicBezTo>
                        <a:pt x="3526" y="12180"/>
                        <a:pt x="3504" y="12330"/>
                        <a:pt x="3458" y="12452"/>
                      </a:cubicBezTo>
                      <a:lnTo>
                        <a:pt x="3457" y="12514"/>
                      </a:lnTo>
                      <a:lnTo>
                        <a:pt x="3394" y="12701"/>
                      </a:lnTo>
                      <a:cubicBezTo>
                        <a:pt x="3360" y="12773"/>
                        <a:pt x="3317" y="12823"/>
                        <a:pt x="3259" y="12808"/>
                      </a:cubicBezTo>
                      <a:cubicBezTo>
                        <a:pt x="3260" y="12918"/>
                        <a:pt x="3245" y="13004"/>
                        <a:pt x="3229" y="13064"/>
                      </a:cubicBezTo>
                      <a:cubicBezTo>
                        <a:pt x="3230" y="13228"/>
                        <a:pt x="3194" y="13342"/>
                        <a:pt x="3157" y="13428"/>
                      </a:cubicBezTo>
                      <a:cubicBezTo>
                        <a:pt x="3157" y="13430"/>
                        <a:pt x="3157" y="13431"/>
                        <a:pt x="3157" y="13433"/>
                      </a:cubicBezTo>
                      <a:cubicBezTo>
                        <a:pt x="3157" y="13665"/>
                        <a:pt x="3105" y="13788"/>
                        <a:pt x="3074" y="13862"/>
                      </a:cubicBezTo>
                      <a:cubicBezTo>
                        <a:pt x="3022" y="14033"/>
                        <a:pt x="2962" y="14113"/>
                        <a:pt x="2891" y="14113"/>
                      </a:cubicBezTo>
                      <a:lnTo>
                        <a:pt x="2821" y="14113"/>
                      </a:lnTo>
                      <a:lnTo>
                        <a:pt x="2758" y="13999"/>
                      </a:lnTo>
                      <a:cubicBezTo>
                        <a:pt x="2758" y="13999"/>
                        <a:pt x="2758" y="13999"/>
                        <a:pt x="2758" y="13999"/>
                      </a:cubicBezTo>
                      <a:cubicBezTo>
                        <a:pt x="2761" y="14007"/>
                        <a:pt x="2759" y="14012"/>
                        <a:pt x="2752" y="14008"/>
                      </a:cubicBezTo>
                      <a:cubicBezTo>
                        <a:pt x="2736" y="14037"/>
                        <a:pt x="2715" y="14077"/>
                        <a:pt x="2704" y="14100"/>
                      </a:cubicBezTo>
                      <a:cubicBezTo>
                        <a:pt x="2669" y="14165"/>
                        <a:pt x="2637" y="14207"/>
                        <a:pt x="2608" y="14236"/>
                      </a:cubicBezTo>
                      <a:cubicBezTo>
                        <a:pt x="2598" y="14296"/>
                        <a:pt x="2583" y="14362"/>
                        <a:pt x="2559" y="14426"/>
                      </a:cubicBezTo>
                      <a:cubicBezTo>
                        <a:pt x="2522" y="14526"/>
                        <a:pt x="2477" y="14581"/>
                        <a:pt x="2435" y="14613"/>
                      </a:cubicBezTo>
                      <a:cubicBezTo>
                        <a:pt x="2424" y="14742"/>
                        <a:pt x="2390" y="14844"/>
                        <a:pt x="2333" y="14926"/>
                      </a:cubicBezTo>
                      <a:cubicBezTo>
                        <a:pt x="2328" y="14973"/>
                        <a:pt x="2310" y="15044"/>
                        <a:pt x="2283" y="15108"/>
                      </a:cubicBezTo>
                      <a:lnTo>
                        <a:pt x="2230" y="15230"/>
                      </a:lnTo>
                      <a:lnTo>
                        <a:pt x="2132" y="15253"/>
                      </a:lnTo>
                      <a:cubicBezTo>
                        <a:pt x="2132" y="15253"/>
                        <a:pt x="2132" y="15253"/>
                        <a:pt x="2131" y="15253"/>
                      </a:cubicBezTo>
                      <a:cubicBezTo>
                        <a:pt x="2107" y="15317"/>
                        <a:pt x="2078" y="15389"/>
                        <a:pt x="2042" y="15473"/>
                      </a:cubicBezTo>
                      <a:cubicBezTo>
                        <a:pt x="2004" y="15566"/>
                        <a:pt x="1955" y="15601"/>
                        <a:pt x="1929" y="15620"/>
                      </a:cubicBezTo>
                      <a:cubicBezTo>
                        <a:pt x="1930" y="15623"/>
                        <a:pt x="1908" y="15718"/>
                        <a:pt x="1891" y="15791"/>
                      </a:cubicBezTo>
                      <a:cubicBezTo>
                        <a:pt x="1858" y="15926"/>
                        <a:pt x="1839" y="16002"/>
                        <a:pt x="1793" y="16062"/>
                      </a:cubicBezTo>
                      <a:lnTo>
                        <a:pt x="1752" y="16116"/>
                      </a:lnTo>
                      <a:lnTo>
                        <a:pt x="1672" y="16125"/>
                      </a:lnTo>
                      <a:cubicBezTo>
                        <a:pt x="1663" y="16125"/>
                        <a:pt x="1651" y="16125"/>
                        <a:pt x="1636" y="16129"/>
                      </a:cubicBezTo>
                      <a:cubicBezTo>
                        <a:pt x="1598" y="16138"/>
                        <a:pt x="1562" y="16155"/>
                        <a:pt x="1545" y="16165"/>
                      </a:cubicBezTo>
                      <a:lnTo>
                        <a:pt x="1495" y="16179"/>
                      </a:lnTo>
                      <a:cubicBezTo>
                        <a:pt x="1469" y="16179"/>
                        <a:pt x="1446" y="16168"/>
                        <a:pt x="1425" y="16153"/>
                      </a:cubicBezTo>
                      <a:lnTo>
                        <a:pt x="1393" y="16199"/>
                      </a:lnTo>
                      <a:lnTo>
                        <a:pt x="1320" y="16215"/>
                      </a:lnTo>
                      <a:cubicBezTo>
                        <a:pt x="1305" y="16215"/>
                        <a:pt x="1289" y="16211"/>
                        <a:pt x="1271" y="16203"/>
                      </a:cubicBezTo>
                      <a:cubicBezTo>
                        <a:pt x="1180" y="16235"/>
                        <a:pt x="1152" y="16261"/>
                        <a:pt x="1106" y="16305"/>
                      </a:cubicBezTo>
                      <a:cubicBezTo>
                        <a:pt x="1098" y="16313"/>
                        <a:pt x="1084" y="16356"/>
                        <a:pt x="1075" y="16385"/>
                      </a:cubicBezTo>
                      <a:cubicBezTo>
                        <a:pt x="1051" y="16460"/>
                        <a:pt x="1024" y="16545"/>
                        <a:pt x="982" y="16610"/>
                      </a:cubicBezTo>
                      <a:cubicBezTo>
                        <a:pt x="933" y="16686"/>
                        <a:pt x="888" y="16715"/>
                        <a:pt x="855" y="16736"/>
                      </a:cubicBezTo>
                      <a:cubicBezTo>
                        <a:pt x="849" y="16771"/>
                        <a:pt x="843" y="16817"/>
                        <a:pt x="839" y="16855"/>
                      </a:cubicBezTo>
                      <a:cubicBezTo>
                        <a:pt x="818" y="17068"/>
                        <a:pt x="737" y="17148"/>
                        <a:pt x="684" y="17201"/>
                      </a:cubicBezTo>
                      <a:lnTo>
                        <a:pt x="638" y="17248"/>
                      </a:lnTo>
                      <a:cubicBezTo>
                        <a:pt x="655" y="17240"/>
                        <a:pt x="640" y="17267"/>
                        <a:pt x="625" y="17333"/>
                      </a:cubicBezTo>
                      <a:lnTo>
                        <a:pt x="630" y="17351"/>
                      </a:lnTo>
                      <a:cubicBezTo>
                        <a:pt x="654" y="17443"/>
                        <a:pt x="692" y="17656"/>
                        <a:pt x="614" y="17894"/>
                      </a:cubicBezTo>
                      <a:lnTo>
                        <a:pt x="624" y="17937"/>
                      </a:lnTo>
                      <a:cubicBezTo>
                        <a:pt x="646" y="18039"/>
                        <a:pt x="673" y="18237"/>
                        <a:pt x="603" y="18443"/>
                      </a:cubicBezTo>
                      <a:cubicBezTo>
                        <a:pt x="585" y="18552"/>
                        <a:pt x="535" y="18707"/>
                        <a:pt x="393" y="18856"/>
                      </a:cubicBezTo>
                      <a:cubicBezTo>
                        <a:pt x="349" y="18905"/>
                        <a:pt x="307" y="18953"/>
                        <a:pt x="241" y="18983"/>
                      </a:cubicBezTo>
                      <a:cubicBezTo>
                        <a:pt x="215" y="18995"/>
                        <a:pt x="195" y="19017"/>
                        <a:pt x="176" y="19033"/>
                      </a:cubicBezTo>
                      <a:lnTo>
                        <a:pt x="141" y="19064"/>
                      </a:lnTo>
                      <a:cubicBezTo>
                        <a:pt x="117" y="19084"/>
                        <a:pt x="93" y="19092"/>
                        <a:pt x="70" y="19092"/>
                      </a:cubicBezTo>
                      <a:cubicBezTo>
                        <a:pt x="46" y="19092"/>
                        <a:pt x="25" y="19083"/>
                        <a:pt x="5" y="19068"/>
                      </a:cubicBezTo>
                      <a:cubicBezTo>
                        <a:pt x="3" y="19073"/>
                        <a:pt x="2" y="19077"/>
                        <a:pt x="0" y="19080"/>
                      </a:cubicBezTo>
                      <a:lnTo>
                        <a:pt x="26" y="20187"/>
                      </a:lnTo>
                      <a:cubicBezTo>
                        <a:pt x="379" y="20051"/>
                        <a:pt x="727" y="19913"/>
                        <a:pt x="1073" y="19773"/>
                      </a:cubicBezTo>
                      <a:cubicBezTo>
                        <a:pt x="1209" y="19718"/>
                        <a:pt x="1349" y="19665"/>
                        <a:pt x="1484" y="19610"/>
                      </a:cubicBezTo>
                      <a:cubicBezTo>
                        <a:pt x="1888" y="19443"/>
                        <a:pt x="2281" y="19273"/>
                        <a:pt x="2673" y="19102"/>
                      </a:cubicBezTo>
                      <a:cubicBezTo>
                        <a:pt x="2778" y="19057"/>
                        <a:pt x="2888" y="19013"/>
                        <a:pt x="2992" y="18967"/>
                      </a:cubicBezTo>
                      <a:lnTo>
                        <a:pt x="3923" y="17859"/>
                      </a:lnTo>
                      <a:cubicBezTo>
                        <a:pt x="3928" y="17835"/>
                        <a:pt x="3934" y="17810"/>
                        <a:pt x="3942" y="17787"/>
                      </a:cubicBezTo>
                      <a:lnTo>
                        <a:pt x="3995" y="17630"/>
                      </a:lnTo>
                      <a:lnTo>
                        <a:pt x="4114" y="17623"/>
                      </a:lnTo>
                      <a:cubicBezTo>
                        <a:pt x="4146" y="17570"/>
                        <a:pt x="4185" y="17516"/>
                        <a:pt x="4230" y="17484"/>
                      </a:cubicBezTo>
                      <a:cubicBezTo>
                        <a:pt x="4242" y="17475"/>
                        <a:pt x="4253" y="17468"/>
                        <a:pt x="4262" y="17463"/>
                      </a:cubicBezTo>
                      <a:cubicBezTo>
                        <a:pt x="4288" y="17368"/>
                        <a:pt x="4332" y="17263"/>
                        <a:pt x="4422" y="17233"/>
                      </a:cubicBezTo>
                      <a:cubicBezTo>
                        <a:pt x="4448" y="17170"/>
                        <a:pt x="4495" y="17037"/>
                        <a:pt x="4580" y="17002"/>
                      </a:cubicBezTo>
                      <a:cubicBezTo>
                        <a:pt x="4589" y="16977"/>
                        <a:pt x="4599" y="16952"/>
                        <a:pt x="4610" y="16928"/>
                      </a:cubicBezTo>
                      <a:cubicBezTo>
                        <a:pt x="4674" y="16788"/>
                        <a:pt x="4729" y="16667"/>
                        <a:pt x="4815" y="16667"/>
                      </a:cubicBezTo>
                      <a:lnTo>
                        <a:pt x="4925" y="16667"/>
                      </a:lnTo>
                      <a:lnTo>
                        <a:pt x="4945" y="16747"/>
                      </a:lnTo>
                      <a:cubicBezTo>
                        <a:pt x="4945" y="16747"/>
                        <a:pt x="4945" y="16747"/>
                        <a:pt x="4945" y="16747"/>
                      </a:cubicBezTo>
                      <a:lnTo>
                        <a:pt x="4986" y="16747"/>
                      </a:lnTo>
                      <a:cubicBezTo>
                        <a:pt x="5002" y="16725"/>
                        <a:pt x="5014" y="16709"/>
                        <a:pt x="5021" y="16702"/>
                      </a:cubicBezTo>
                      <a:cubicBezTo>
                        <a:pt x="5041" y="16681"/>
                        <a:pt x="5065" y="16655"/>
                        <a:pt x="5218" y="16610"/>
                      </a:cubicBezTo>
                      <a:lnTo>
                        <a:pt x="8361" y="15607"/>
                      </a:lnTo>
                      <a:lnTo>
                        <a:pt x="8405" y="15645"/>
                      </a:lnTo>
                      <a:cubicBezTo>
                        <a:pt x="8482" y="15711"/>
                        <a:pt x="8527" y="15808"/>
                        <a:pt x="8550" y="15911"/>
                      </a:cubicBezTo>
                      <a:cubicBezTo>
                        <a:pt x="8557" y="15922"/>
                        <a:pt x="8563" y="15935"/>
                        <a:pt x="8569" y="15949"/>
                      </a:cubicBezTo>
                      <a:cubicBezTo>
                        <a:pt x="8591" y="15911"/>
                        <a:pt x="8616" y="15877"/>
                        <a:pt x="8642" y="15859"/>
                      </a:cubicBezTo>
                      <a:lnTo>
                        <a:pt x="8700" y="15840"/>
                      </a:lnTo>
                      <a:cubicBezTo>
                        <a:pt x="8716" y="15840"/>
                        <a:pt x="8763" y="15840"/>
                        <a:pt x="8844" y="15935"/>
                      </a:cubicBezTo>
                      <a:lnTo>
                        <a:pt x="8884" y="15999"/>
                      </a:lnTo>
                      <a:lnTo>
                        <a:pt x="9403" y="17115"/>
                      </a:lnTo>
                      <a:lnTo>
                        <a:pt x="9412" y="17604"/>
                      </a:lnTo>
                      <a:cubicBezTo>
                        <a:pt x="10340" y="17224"/>
                        <a:pt x="11263" y="16839"/>
                        <a:pt x="12175" y="16447"/>
                      </a:cubicBezTo>
                      <a:lnTo>
                        <a:pt x="12246" y="16417"/>
                      </a:lnTo>
                      <a:lnTo>
                        <a:pt x="15864" y="21600"/>
                      </a:lnTo>
                      <a:cubicBezTo>
                        <a:pt x="15982" y="21442"/>
                        <a:pt x="16101" y="21290"/>
                        <a:pt x="16195" y="21181"/>
                      </a:cubicBezTo>
                      <a:cubicBezTo>
                        <a:pt x="16436" y="20902"/>
                        <a:pt x="16812" y="20732"/>
                        <a:pt x="16980" y="20720"/>
                      </a:cubicBezTo>
                      <a:lnTo>
                        <a:pt x="17046" y="20715"/>
                      </a:lnTo>
                      <a:cubicBezTo>
                        <a:pt x="17114" y="20710"/>
                        <a:pt x="17156" y="20694"/>
                        <a:pt x="17239" y="20719"/>
                      </a:cubicBezTo>
                      <a:cubicBezTo>
                        <a:pt x="17240" y="20713"/>
                        <a:pt x="17242" y="20707"/>
                        <a:pt x="17244" y="20701"/>
                      </a:cubicBezTo>
                      <a:cubicBezTo>
                        <a:pt x="17242" y="20611"/>
                        <a:pt x="17254" y="20521"/>
                        <a:pt x="17278" y="20433"/>
                      </a:cubicBezTo>
                      <a:cubicBezTo>
                        <a:pt x="17266" y="20478"/>
                        <a:pt x="17275" y="20364"/>
                        <a:pt x="17275" y="20237"/>
                      </a:cubicBezTo>
                      <a:cubicBezTo>
                        <a:pt x="17275" y="20139"/>
                        <a:pt x="17284" y="20052"/>
                        <a:pt x="17291" y="19990"/>
                      </a:cubicBezTo>
                      <a:lnTo>
                        <a:pt x="17296" y="19845"/>
                      </a:lnTo>
                      <a:cubicBezTo>
                        <a:pt x="17293" y="19562"/>
                        <a:pt x="17293" y="19454"/>
                        <a:pt x="17312" y="19352"/>
                      </a:cubicBezTo>
                      <a:cubicBezTo>
                        <a:pt x="17316" y="19328"/>
                        <a:pt x="17321" y="19301"/>
                        <a:pt x="17321" y="19253"/>
                      </a:cubicBezTo>
                      <a:cubicBezTo>
                        <a:pt x="17321" y="19047"/>
                        <a:pt x="17382" y="18592"/>
                        <a:pt x="17426" y="18357"/>
                      </a:cubicBezTo>
                      <a:lnTo>
                        <a:pt x="17445" y="18247"/>
                      </a:lnTo>
                      <a:cubicBezTo>
                        <a:pt x="17492" y="17984"/>
                        <a:pt x="17570" y="17544"/>
                        <a:pt x="17788" y="16859"/>
                      </a:cubicBezTo>
                      <a:cubicBezTo>
                        <a:pt x="17983" y="16249"/>
                        <a:pt x="18197" y="15832"/>
                        <a:pt x="18312" y="15608"/>
                      </a:cubicBezTo>
                      <a:cubicBezTo>
                        <a:pt x="18343" y="15548"/>
                        <a:pt x="18367" y="15503"/>
                        <a:pt x="18382" y="15468"/>
                      </a:cubicBezTo>
                      <a:cubicBezTo>
                        <a:pt x="18396" y="15433"/>
                        <a:pt x="18415" y="15377"/>
                        <a:pt x="18439" y="15308"/>
                      </a:cubicBezTo>
                      <a:cubicBezTo>
                        <a:pt x="18521" y="15069"/>
                        <a:pt x="18658" y="14669"/>
                        <a:pt x="18863" y="14338"/>
                      </a:cubicBezTo>
                      <a:cubicBezTo>
                        <a:pt x="19133" y="13903"/>
                        <a:pt x="19679" y="13345"/>
                        <a:pt x="19889" y="13247"/>
                      </a:cubicBezTo>
                      <a:cubicBezTo>
                        <a:pt x="20019" y="13187"/>
                        <a:pt x="20153" y="13186"/>
                        <a:pt x="20247" y="13202"/>
                      </a:cubicBezTo>
                      <a:cubicBezTo>
                        <a:pt x="20266" y="13206"/>
                        <a:pt x="20283" y="13209"/>
                        <a:pt x="20300" y="13209"/>
                      </a:cubicBezTo>
                      <a:cubicBezTo>
                        <a:pt x="20334" y="13209"/>
                        <a:pt x="20405" y="13214"/>
                        <a:pt x="20477" y="13254"/>
                      </a:cubicBezTo>
                      <a:cubicBezTo>
                        <a:pt x="20519" y="13028"/>
                        <a:pt x="20559" y="12825"/>
                        <a:pt x="20597" y="12646"/>
                      </a:cubicBezTo>
                      <a:lnTo>
                        <a:pt x="20545" y="12604"/>
                      </a:lnTo>
                      <a:lnTo>
                        <a:pt x="20520" y="12283"/>
                      </a:lnTo>
                      <a:cubicBezTo>
                        <a:pt x="20512" y="12207"/>
                        <a:pt x="20492" y="11975"/>
                        <a:pt x="20567" y="11784"/>
                      </a:cubicBezTo>
                      <a:cubicBezTo>
                        <a:pt x="20600" y="11702"/>
                        <a:pt x="20624" y="11661"/>
                        <a:pt x="20661" y="11622"/>
                      </a:cubicBezTo>
                      <a:cubicBezTo>
                        <a:pt x="20667" y="11616"/>
                        <a:pt x="20672" y="11610"/>
                        <a:pt x="20676" y="11604"/>
                      </a:cubicBezTo>
                      <a:cubicBezTo>
                        <a:pt x="20605" y="11602"/>
                        <a:pt x="20558" y="11544"/>
                        <a:pt x="20530" y="11494"/>
                      </a:cubicBezTo>
                      <a:cubicBezTo>
                        <a:pt x="20504" y="11470"/>
                        <a:pt x="20472" y="11439"/>
                        <a:pt x="20441" y="11393"/>
                      </a:cubicBezTo>
                      <a:close/>
                      <a:moveTo>
                        <a:pt x="20441" y="11393"/>
                      </a:moveTo>
                    </a:path>
                  </a:pathLst>
                </a:custGeom>
                <a:solidFill>
                  <a:schemeClr val="tx1">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513F3A"/>
                    </a:solidFill>
                    <a:effectLst/>
                    <a:uLnTx/>
                    <a:uFillTx/>
                    <a:latin typeface="Arial"/>
                    <a:ea typeface="Arial"/>
                    <a:cs typeface="Arial"/>
                    <a:sym typeface="Arial"/>
                  </a:endParaRPr>
                </a:p>
              </p:txBody>
            </p:sp>
            <p:sp>
              <p:nvSpPr>
                <p:cNvPr id="53" name="Google Shape;434;p54">
                  <a:extLst>
                    <a:ext uri="{FF2B5EF4-FFF2-40B4-BE49-F238E27FC236}">
                      <a16:creationId xmlns:a16="http://schemas.microsoft.com/office/drawing/2014/main" id="{DE9FAE86-45CE-4F96-9FDD-C501F08DBC57}"/>
                    </a:ext>
                  </a:extLst>
                </p:cNvPr>
                <p:cNvSpPr/>
                <p:nvPr/>
              </p:nvSpPr>
              <p:spPr>
                <a:xfrm>
                  <a:off x="6728277" y="4188128"/>
                  <a:ext cx="742716" cy="556146"/>
                </a:xfrm>
                <a:custGeom>
                  <a:avLst/>
                  <a:gdLst/>
                  <a:ahLst/>
                  <a:cxnLst/>
                  <a:rect l="l" t="t" r="r" b="b"/>
                  <a:pathLst>
                    <a:path w="21600" h="21600" extrusionOk="0">
                      <a:moveTo>
                        <a:pt x="387" y="4310"/>
                      </a:moveTo>
                      <a:lnTo>
                        <a:pt x="234" y="4349"/>
                      </a:lnTo>
                      <a:cubicBezTo>
                        <a:pt x="227" y="4379"/>
                        <a:pt x="220" y="4407"/>
                        <a:pt x="212" y="4431"/>
                      </a:cubicBezTo>
                      <a:cubicBezTo>
                        <a:pt x="216" y="4522"/>
                        <a:pt x="206" y="4652"/>
                        <a:pt x="141" y="4764"/>
                      </a:cubicBezTo>
                      <a:lnTo>
                        <a:pt x="66" y="4894"/>
                      </a:lnTo>
                      <a:cubicBezTo>
                        <a:pt x="67" y="4924"/>
                        <a:pt x="67" y="4957"/>
                        <a:pt x="63" y="4992"/>
                      </a:cubicBezTo>
                      <a:cubicBezTo>
                        <a:pt x="53" y="5096"/>
                        <a:pt x="27" y="5178"/>
                        <a:pt x="0" y="5242"/>
                      </a:cubicBezTo>
                      <a:cubicBezTo>
                        <a:pt x="33" y="5253"/>
                        <a:pt x="80" y="5280"/>
                        <a:pt x="124" y="5329"/>
                      </a:cubicBezTo>
                      <a:lnTo>
                        <a:pt x="185" y="5409"/>
                      </a:lnTo>
                      <a:cubicBezTo>
                        <a:pt x="188" y="5412"/>
                        <a:pt x="190" y="5414"/>
                        <a:pt x="191" y="5416"/>
                      </a:cubicBezTo>
                      <a:cubicBezTo>
                        <a:pt x="253" y="5441"/>
                        <a:pt x="336" y="5480"/>
                        <a:pt x="388" y="5527"/>
                      </a:cubicBezTo>
                      <a:lnTo>
                        <a:pt x="394" y="5533"/>
                      </a:lnTo>
                      <a:lnTo>
                        <a:pt x="525" y="5520"/>
                      </a:lnTo>
                      <a:cubicBezTo>
                        <a:pt x="699" y="5520"/>
                        <a:pt x="797" y="5644"/>
                        <a:pt x="840" y="5718"/>
                      </a:cubicBezTo>
                      <a:cubicBezTo>
                        <a:pt x="881" y="5789"/>
                        <a:pt x="938" y="5888"/>
                        <a:pt x="965" y="5913"/>
                      </a:cubicBezTo>
                      <a:cubicBezTo>
                        <a:pt x="980" y="5927"/>
                        <a:pt x="1001" y="5939"/>
                        <a:pt x="1022" y="5953"/>
                      </a:cubicBezTo>
                      <a:cubicBezTo>
                        <a:pt x="1105" y="6009"/>
                        <a:pt x="1210" y="6078"/>
                        <a:pt x="1282" y="6220"/>
                      </a:cubicBezTo>
                      <a:cubicBezTo>
                        <a:pt x="1343" y="6247"/>
                        <a:pt x="1381" y="6281"/>
                        <a:pt x="1415" y="6315"/>
                      </a:cubicBezTo>
                      <a:cubicBezTo>
                        <a:pt x="1487" y="6260"/>
                        <a:pt x="1565" y="6239"/>
                        <a:pt x="1622" y="6239"/>
                      </a:cubicBezTo>
                      <a:lnTo>
                        <a:pt x="1678" y="6240"/>
                      </a:lnTo>
                      <a:cubicBezTo>
                        <a:pt x="1734" y="6212"/>
                        <a:pt x="1824" y="6181"/>
                        <a:pt x="1934" y="6181"/>
                      </a:cubicBezTo>
                      <a:cubicBezTo>
                        <a:pt x="2147" y="6186"/>
                        <a:pt x="2303" y="6359"/>
                        <a:pt x="2376" y="6505"/>
                      </a:cubicBezTo>
                      <a:cubicBezTo>
                        <a:pt x="2382" y="6519"/>
                        <a:pt x="2438" y="6666"/>
                        <a:pt x="2494" y="6827"/>
                      </a:cubicBezTo>
                      <a:cubicBezTo>
                        <a:pt x="2523" y="6912"/>
                        <a:pt x="2554" y="7001"/>
                        <a:pt x="2576" y="7063"/>
                      </a:cubicBezTo>
                      <a:lnTo>
                        <a:pt x="2584" y="7072"/>
                      </a:lnTo>
                      <a:cubicBezTo>
                        <a:pt x="2795" y="7175"/>
                        <a:pt x="2847" y="7354"/>
                        <a:pt x="2855" y="7488"/>
                      </a:cubicBezTo>
                      <a:cubicBezTo>
                        <a:pt x="2869" y="7496"/>
                        <a:pt x="2894" y="7520"/>
                        <a:pt x="2918" y="7544"/>
                      </a:cubicBezTo>
                      <a:cubicBezTo>
                        <a:pt x="3012" y="7641"/>
                        <a:pt x="3121" y="7752"/>
                        <a:pt x="3142" y="7947"/>
                      </a:cubicBezTo>
                      <a:cubicBezTo>
                        <a:pt x="3154" y="8057"/>
                        <a:pt x="3174" y="8241"/>
                        <a:pt x="3213" y="8337"/>
                      </a:cubicBezTo>
                      <a:cubicBezTo>
                        <a:pt x="3247" y="8419"/>
                        <a:pt x="3267" y="8473"/>
                        <a:pt x="3290" y="8508"/>
                      </a:cubicBezTo>
                      <a:cubicBezTo>
                        <a:pt x="3368" y="8515"/>
                        <a:pt x="3496" y="8560"/>
                        <a:pt x="3566" y="8733"/>
                      </a:cubicBezTo>
                      <a:cubicBezTo>
                        <a:pt x="3568" y="8737"/>
                        <a:pt x="3571" y="8745"/>
                        <a:pt x="3574" y="8754"/>
                      </a:cubicBezTo>
                      <a:lnTo>
                        <a:pt x="3634" y="8772"/>
                      </a:lnTo>
                      <a:lnTo>
                        <a:pt x="3720" y="8896"/>
                      </a:lnTo>
                      <a:cubicBezTo>
                        <a:pt x="3753" y="8953"/>
                        <a:pt x="3770" y="9012"/>
                        <a:pt x="3779" y="9065"/>
                      </a:cubicBezTo>
                      <a:cubicBezTo>
                        <a:pt x="3796" y="9086"/>
                        <a:pt x="3814" y="9110"/>
                        <a:pt x="3831" y="9139"/>
                      </a:cubicBezTo>
                      <a:cubicBezTo>
                        <a:pt x="3894" y="9234"/>
                        <a:pt x="3974" y="9358"/>
                        <a:pt x="4022" y="9457"/>
                      </a:cubicBezTo>
                      <a:cubicBezTo>
                        <a:pt x="4058" y="9529"/>
                        <a:pt x="4111" y="9640"/>
                        <a:pt x="4152" y="9730"/>
                      </a:cubicBezTo>
                      <a:cubicBezTo>
                        <a:pt x="4262" y="9746"/>
                        <a:pt x="4338" y="9789"/>
                        <a:pt x="4407" y="9856"/>
                      </a:cubicBezTo>
                      <a:cubicBezTo>
                        <a:pt x="4444" y="9893"/>
                        <a:pt x="4489" y="9942"/>
                        <a:pt x="4536" y="9992"/>
                      </a:cubicBezTo>
                      <a:cubicBezTo>
                        <a:pt x="4597" y="10058"/>
                        <a:pt x="4661" y="10129"/>
                        <a:pt x="4704" y="10163"/>
                      </a:cubicBezTo>
                      <a:cubicBezTo>
                        <a:pt x="4748" y="10175"/>
                        <a:pt x="4857" y="10179"/>
                        <a:pt x="4964" y="10235"/>
                      </a:cubicBezTo>
                      <a:cubicBezTo>
                        <a:pt x="5013" y="10259"/>
                        <a:pt x="5241" y="10392"/>
                        <a:pt x="5319" y="10458"/>
                      </a:cubicBezTo>
                      <a:cubicBezTo>
                        <a:pt x="5385" y="10514"/>
                        <a:pt x="5482" y="10630"/>
                        <a:pt x="5540" y="10714"/>
                      </a:cubicBezTo>
                      <a:cubicBezTo>
                        <a:pt x="5713" y="10768"/>
                        <a:pt x="5849" y="10904"/>
                        <a:pt x="5916" y="11105"/>
                      </a:cubicBezTo>
                      <a:cubicBezTo>
                        <a:pt x="5946" y="11196"/>
                        <a:pt x="5963" y="11277"/>
                        <a:pt x="5976" y="11345"/>
                      </a:cubicBezTo>
                      <a:cubicBezTo>
                        <a:pt x="6043" y="11411"/>
                        <a:pt x="6110" y="11486"/>
                        <a:pt x="6157" y="11589"/>
                      </a:cubicBezTo>
                      <a:cubicBezTo>
                        <a:pt x="6181" y="11644"/>
                        <a:pt x="6196" y="11696"/>
                        <a:pt x="6207" y="11738"/>
                      </a:cubicBezTo>
                      <a:cubicBezTo>
                        <a:pt x="6241" y="11756"/>
                        <a:pt x="6280" y="11782"/>
                        <a:pt x="6320" y="11818"/>
                      </a:cubicBezTo>
                      <a:cubicBezTo>
                        <a:pt x="6340" y="11813"/>
                        <a:pt x="6362" y="11810"/>
                        <a:pt x="6386" y="11810"/>
                      </a:cubicBezTo>
                      <a:cubicBezTo>
                        <a:pt x="6491" y="11827"/>
                        <a:pt x="6533" y="11853"/>
                        <a:pt x="6588" y="11886"/>
                      </a:cubicBezTo>
                      <a:cubicBezTo>
                        <a:pt x="6757" y="11926"/>
                        <a:pt x="6923" y="12032"/>
                        <a:pt x="7056" y="12201"/>
                      </a:cubicBezTo>
                      <a:cubicBezTo>
                        <a:pt x="7172" y="12346"/>
                        <a:pt x="7211" y="12404"/>
                        <a:pt x="7256" y="12500"/>
                      </a:cubicBezTo>
                      <a:cubicBezTo>
                        <a:pt x="7425" y="12539"/>
                        <a:pt x="7651" y="12663"/>
                        <a:pt x="7706" y="12974"/>
                      </a:cubicBezTo>
                      <a:cubicBezTo>
                        <a:pt x="7725" y="13077"/>
                        <a:pt x="7726" y="13160"/>
                        <a:pt x="7720" y="13226"/>
                      </a:cubicBezTo>
                      <a:cubicBezTo>
                        <a:pt x="7725" y="13279"/>
                        <a:pt x="7722" y="13337"/>
                        <a:pt x="7709" y="13395"/>
                      </a:cubicBezTo>
                      <a:cubicBezTo>
                        <a:pt x="7717" y="13438"/>
                        <a:pt x="7723" y="13484"/>
                        <a:pt x="7724" y="13532"/>
                      </a:cubicBezTo>
                      <a:cubicBezTo>
                        <a:pt x="7764" y="13567"/>
                        <a:pt x="7788" y="13575"/>
                        <a:pt x="7807" y="13581"/>
                      </a:cubicBezTo>
                      <a:cubicBezTo>
                        <a:pt x="7877" y="13604"/>
                        <a:pt x="7964" y="13632"/>
                        <a:pt x="8043" y="13731"/>
                      </a:cubicBezTo>
                      <a:cubicBezTo>
                        <a:pt x="8102" y="13808"/>
                        <a:pt x="8131" y="13890"/>
                        <a:pt x="8146" y="13950"/>
                      </a:cubicBezTo>
                      <a:cubicBezTo>
                        <a:pt x="8202" y="14023"/>
                        <a:pt x="8229" y="14098"/>
                        <a:pt x="8240" y="14169"/>
                      </a:cubicBezTo>
                      <a:cubicBezTo>
                        <a:pt x="8258" y="14166"/>
                        <a:pt x="8277" y="14163"/>
                        <a:pt x="8298" y="14163"/>
                      </a:cubicBezTo>
                      <a:lnTo>
                        <a:pt x="8419" y="14163"/>
                      </a:lnTo>
                      <a:lnTo>
                        <a:pt x="8544" y="14299"/>
                      </a:lnTo>
                      <a:cubicBezTo>
                        <a:pt x="8603" y="14375"/>
                        <a:pt x="8736" y="14549"/>
                        <a:pt x="8715" y="14778"/>
                      </a:cubicBezTo>
                      <a:cubicBezTo>
                        <a:pt x="8725" y="14789"/>
                        <a:pt x="8736" y="14798"/>
                        <a:pt x="8747" y="14807"/>
                      </a:cubicBezTo>
                      <a:cubicBezTo>
                        <a:pt x="8773" y="14826"/>
                        <a:pt x="8843" y="14835"/>
                        <a:pt x="8885" y="14841"/>
                      </a:cubicBezTo>
                      <a:cubicBezTo>
                        <a:pt x="8959" y="14851"/>
                        <a:pt x="9041" y="14862"/>
                        <a:pt x="9118" y="14929"/>
                      </a:cubicBezTo>
                      <a:lnTo>
                        <a:pt x="9152" y="14923"/>
                      </a:lnTo>
                      <a:cubicBezTo>
                        <a:pt x="9200" y="14923"/>
                        <a:pt x="9243" y="14934"/>
                        <a:pt x="9285" y="14955"/>
                      </a:cubicBezTo>
                      <a:cubicBezTo>
                        <a:pt x="9300" y="14963"/>
                        <a:pt x="9362" y="15009"/>
                        <a:pt x="9436" y="15070"/>
                      </a:cubicBezTo>
                      <a:cubicBezTo>
                        <a:pt x="9502" y="15125"/>
                        <a:pt x="9586" y="15197"/>
                        <a:pt x="9628" y="15223"/>
                      </a:cubicBezTo>
                      <a:cubicBezTo>
                        <a:pt x="9772" y="15265"/>
                        <a:pt x="9988" y="15332"/>
                        <a:pt x="10095" y="15612"/>
                      </a:cubicBezTo>
                      <a:cubicBezTo>
                        <a:pt x="10139" y="15728"/>
                        <a:pt x="10177" y="15899"/>
                        <a:pt x="10144" y="16105"/>
                      </a:cubicBezTo>
                      <a:cubicBezTo>
                        <a:pt x="10214" y="16183"/>
                        <a:pt x="10277" y="16262"/>
                        <a:pt x="10312" y="16374"/>
                      </a:cubicBezTo>
                      <a:cubicBezTo>
                        <a:pt x="10314" y="16379"/>
                        <a:pt x="10315" y="16383"/>
                        <a:pt x="10317" y="16388"/>
                      </a:cubicBezTo>
                      <a:cubicBezTo>
                        <a:pt x="10362" y="16426"/>
                        <a:pt x="10397" y="16478"/>
                        <a:pt x="10422" y="16530"/>
                      </a:cubicBezTo>
                      <a:cubicBezTo>
                        <a:pt x="10534" y="16597"/>
                        <a:pt x="10589" y="16715"/>
                        <a:pt x="10614" y="16794"/>
                      </a:cubicBezTo>
                      <a:cubicBezTo>
                        <a:pt x="10645" y="16895"/>
                        <a:pt x="10648" y="16998"/>
                        <a:pt x="10650" y="17107"/>
                      </a:cubicBezTo>
                      <a:cubicBezTo>
                        <a:pt x="10651" y="17139"/>
                        <a:pt x="10650" y="17173"/>
                        <a:pt x="10652" y="17204"/>
                      </a:cubicBezTo>
                      <a:cubicBezTo>
                        <a:pt x="10658" y="17212"/>
                        <a:pt x="10664" y="17221"/>
                        <a:pt x="10670" y="17229"/>
                      </a:cubicBezTo>
                      <a:cubicBezTo>
                        <a:pt x="10726" y="17312"/>
                        <a:pt x="10811" y="17437"/>
                        <a:pt x="10795" y="17633"/>
                      </a:cubicBezTo>
                      <a:lnTo>
                        <a:pt x="10789" y="17716"/>
                      </a:lnTo>
                      <a:cubicBezTo>
                        <a:pt x="10792" y="17721"/>
                        <a:pt x="10796" y="17725"/>
                        <a:pt x="10799" y="17731"/>
                      </a:cubicBezTo>
                      <a:cubicBezTo>
                        <a:pt x="10863" y="17832"/>
                        <a:pt x="10880" y="17939"/>
                        <a:pt x="10884" y="18024"/>
                      </a:cubicBezTo>
                      <a:cubicBezTo>
                        <a:pt x="10954" y="18152"/>
                        <a:pt x="10958" y="18276"/>
                        <a:pt x="10943" y="18369"/>
                      </a:cubicBezTo>
                      <a:cubicBezTo>
                        <a:pt x="10967" y="18389"/>
                        <a:pt x="10991" y="18409"/>
                        <a:pt x="11007" y="18417"/>
                      </a:cubicBezTo>
                      <a:cubicBezTo>
                        <a:pt x="11049" y="18409"/>
                        <a:pt x="11088" y="18405"/>
                        <a:pt x="11125" y="18402"/>
                      </a:cubicBezTo>
                      <a:cubicBezTo>
                        <a:pt x="11169" y="18398"/>
                        <a:pt x="11209" y="18395"/>
                        <a:pt x="11241" y="18395"/>
                      </a:cubicBezTo>
                      <a:lnTo>
                        <a:pt x="11377" y="18395"/>
                      </a:lnTo>
                      <a:lnTo>
                        <a:pt x="11522" y="18545"/>
                      </a:lnTo>
                      <a:cubicBezTo>
                        <a:pt x="11548" y="18585"/>
                        <a:pt x="11568" y="18628"/>
                        <a:pt x="11581" y="18670"/>
                      </a:cubicBezTo>
                      <a:cubicBezTo>
                        <a:pt x="11660" y="18706"/>
                        <a:pt x="11741" y="18763"/>
                        <a:pt x="11797" y="18873"/>
                      </a:cubicBezTo>
                      <a:cubicBezTo>
                        <a:pt x="11812" y="18906"/>
                        <a:pt x="11825" y="18936"/>
                        <a:pt x="11834" y="18962"/>
                      </a:cubicBezTo>
                      <a:cubicBezTo>
                        <a:pt x="11954" y="19047"/>
                        <a:pt x="12168" y="19241"/>
                        <a:pt x="12084" y="19549"/>
                      </a:cubicBezTo>
                      <a:cubicBezTo>
                        <a:pt x="12126" y="19610"/>
                        <a:pt x="12149" y="19645"/>
                        <a:pt x="12167" y="19681"/>
                      </a:cubicBezTo>
                      <a:cubicBezTo>
                        <a:pt x="12198" y="19739"/>
                        <a:pt x="12219" y="19773"/>
                        <a:pt x="12238" y="19793"/>
                      </a:cubicBezTo>
                      <a:cubicBezTo>
                        <a:pt x="12285" y="19803"/>
                        <a:pt x="12396" y="19852"/>
                        <a:pt x="12462" y="20013"/>
                      </a:cubicBezTo>
                      <a:cubicBezTo>
                        <a:pt x="12472" y="20038"/>
                        <a:pt x="12489" y="20096"/>
                        <a:pt x="12506" y="20166"/>
                      </a:cubicBezTo>
                      <a:cubicBezTo>
                        <a:pt x="12513" y="20196"/>
                        <a:pt x="12521" y="20232"/>
                        <a:pt x="12530" y="20258"/>
                      </a:cubicBezTo>
                      <a:cubicBezTo>
                        <a:pt x="12604" y="20327"/>
                        <a:pt x="12640" y="20484"/>
                        <a:pt x="12609" y="20680"/>
                      </a:cubicBezTo>
                      <a:cubicBezTo>
                        <a:pt x="12598" y="20755"/>
                        <a:pt x="12575" y="20816"/>
                        <a:pt x="12552" y="20867"/>
                      </a:cubicBezTo>
                      <a:cubicBezTo>
                        <a:pt x="12588" y="20915"/>
                        <a:pt x="12618" y="20959"/>
                        <a:pt x="12639" y="20996"/>
                      </a:cubicBezTo>
                      <a:cubicBezTo>
                        <a:pt x="12717" y="21125"/>
                        <a:pt x="12734" y="21209"/>
                        <a:pt x="12746" y="21347"/>
                      </a:cubicBezTo>
                      <a:cubicBezTo>
                        <a:pt x="12751" y="21402"/>
                        <a:pt x="12751" y="21447"/>
                        <a:pt x="12748" y="21486"/>
                      </a:cubicBezTo>
                      <a:cubicBezTo>
                        <a:pt x="12773" y="21499"/>
                        <a:pt x="12797" y="21516"/>
                        <a:pt x="12820" y="21534"/>
                      </a:cubicBezTo>
                      <a:cubicBezTo>
                        <a:pt x="12883" y="21466"/>
                        <a:pt x="12960" y="21412"/>
                        <a:pt x="13060" y="21412"/>
                      </a:cubicBezTo>
                      <a:lnTo>
                        <a:pt x="13134" y="21412"/>
                      </a:lnTo>
                      <a:lnTo>
                        <a:pt x="13222" y="21466"/>
                      </a:lnTo>
                      <a:cubicBezTo>
                        <a:pt x="13269" y="21501"/>
                        <a:pt x="13303" y="21537"/>
                        <a:pt x="13330" y="21573"/>
                      </a:cubicBezTo>
                      <a:cubicBezTo>
                        <a:pt x="13356" y="21580"/>
                        <a:pt x="13379" y="21588"/>
                        <a:pt x="13400" y="21600"/>
                      </a:cubicBezTo>
                      <a:cubicBezTo>
                        <a:pt x="13415" y="21573"/>
                        <a:pt x="13431" y="21547"/>
                        <a:pt x="13446" y="21522"/>
                      </a:cubicBezTo>
                      <a:cubicBezTo>
                        <a:pt x="13481" y="21380"/>
                        <a:pt x="13560" y="21226"/>
                        <a:pt x="13688" y="21163"/>
                      </a:cubicBezTo>
                      <a:lnTo>
                        <a:pt x="13788" y="21133"/>
                      </a:lnTo>
                      <a:cubicBezTo>
                        <a:pt x="13825" y="21065"/>
                        <a:pt x="13870" y="20998"/>
                        <a:pt x="13938" y="20953"/>
                      </a:cubicBezTo>
                      <a:lnTo>
                        <a:pt x="13941" y="20958"/>
                      </a:lnTo>
                      <a:cubicBezTo>
                        <a:pt x="13950" y="20942"/>
                        <a:pt x="13960" y="20924"/>
                        <a:pt x="13973" y="20903"/>
                      </a:cubicBezTo>
                      <a:cubicBezTo>
                        <a:pt x="14003" y="20850"/>
                        <a:pt x="14045" y="20781"/>
                        <a:pt x="14063" y="20738"/>
                      </a:cubicBezTo>
                      <a:lnTo>
                        <a:pt x="14069" y="20684"/>
                      </a:lnTo>
                      <a:cubicBezTo>
                        <a:pt x="14095" y="20546"/>
                        <a:pt x="14114" y="20447"/>
                        <a:pt x="14157" y="20367"/>
                      </a:cubicBezTo>
                      <a:cubicBezTo>
                        <a:pt x="14167" y="20247"/>
                        <a:pt x="14193" y="20122"/>
                        <a:pt x="14258" y="20019"/>
                      </a:cubicBezTo>
                      <a:cubicBezTo>
                        <a:pt x="14331" y="19902"/>
                        <a:pt x="14431" y="19853"/>
                        <a:pt x="14504" y="19817"/>
                      </a:cubicBezTo>
                      <a:cubicBezTo>
                        <a:pt x="14505" y="19816"/>
                        <a:pt x="14506" y="19816"/>
                        <a:pt x="14507" y="19816"/>
                      </a:cubicBezTo>
                      <a:cubicBezTo>
                        <a:pt x="14533" y="19778"/>
                        <a:pt x="14563" y="19741"/>
                        <a:pt x="14602" y="19706"/>
                      </a:cubicBezTo>
                      <a:cubicBezTo>
                        <a:pt x="14615" y="19695"/>
                        <a:pt x="14647" y="19670"/>
                        <a:pt x="14688" y="19642"/>
                      </a:cubicBezTo>
                      <a:cubicBezTo>
                        <a:pt x="14710" y="19627"/>
                        <a:pt x="14736" y="19609"/>
                        <a:pt x="14761" y="19592"/>
                      </a:cubicBezTo>
                      <a:cubicBezTo>
                        <a:pt x="14784" y="19523"/>
                        <a:pt x="14825" y="19436"/>
                        <a:pt x="14904" y="19373"/>
                      </a:cubicBezTo>
                      <a:lnTo>
                        <a:pt x="14968" y="19326"/>
                      </a:lnTo>
                      <a:cubicBezTo>
                        <a:pt x="14985" y="19316"/>
                        <a:pt x="15008" y="19280"/>
                        <a:pt x="15024" y="19249"/>
                      </a:cubicBezTo>
                      <a:cubicBezTo>
                        <a:pt x="15024" y="19231"/>
                        <a:pt x="15024" y="19212"/>
                        <a:pt x="15024" y="19193"/>
                      </a:cubicBezTo>
                      <a:lnTo>
                        <a:pt x="14865" y="19193"/>
                      </a:lnTo>
                      <a:lnTo>
                        <a:pt x="14850" y="19013"/>
                      </a:lnTo>
                      <a:lnTo>
                        <a:pt x="14756" y="18998"/>
                      </a:lnTo>
                      <a:lnTo>
                        <a:pt x="14734" y="18626"/>
                      </a:lnTo>
                      <a:cubicBezTo>
                        <a:pt x="14724" y="18364"/>
                        <a:pt x="14716" y="18145"/>
                        <a:pt x="14842" y="17993"/>
                      </a:cubicBezTo>
                      <a:lnTo>
                        <a:pt x="14906" y="17916"/>
                      </a:lnTo>
                      <a:lnTo>
                        <a:pt x="14995" y="17885"/>
                      </a:lnTo>
                      <a:cubicBezTo>
                        <a:pt x="15056" y="17842"/>
                        <a:pt x="15161" y="17785"/>
                        <a:pt x="15267" y="17785"/>
                      </a:cubicBezTo>
                      <a:lnTo>
                        <a:pt x="15403" y="17804"/>
                      </a:lnTo>
                      <a:cubicBezTo>
                        <a:pt x="15449" y="17765"/>
                        <a:pt x="15506" y="17738"/>
                        <a:pt x="15573" y="17738"/>
                      </a:cubicBezTo>
                      <a:lnTo>
                        <a:pt x="15630" y="17738"/>
                      </a:lnTo>
                      <a:cubicBezTo>
                        <a:pt x="15703" y="17614"/>
                        <a:pt x="15785" y="17483"/>
                        <a:pt x="15813" y="17448"/>
                      </a:cubicBezTo>
                      <a:cubicBezTo>
                        <a:pt x="15937" y="17293"/>
                        <a:pt x="16026" y="17187"/>
                        <a:pt x="16118" y="17139"/>
                      </a:cubicBezTo>
                      <a:cubicBezTo>
                        <a:pt x="16141" y="17086"/>
                        <a:pt x="16168" y="17047"/>
                        <a:pt x="16191" y="17018"/>
                      </a:cubicBezTo>
                      <a:cubicBezTo>
                        <a:pt x="16207" y="16998"/>
                        <a:pt x="16220" y="16969"/>
                        <a:pt x="16233" y="16946"/>
                      </a:cubicBezTo>
                      <a:cubicBezTo>
                        <a:pt x="16274" y="16871"/>
                        <a:pt x="16320" y="16786"/>
                        <a:pt x="16401" y="16732"/>
                      </a:cubicBezTo>
                      <a:cubicBezTo>
                        <a:pt x="16709" y="16504"/>
                        <a:pt x="16789" y="16456"/>
                        <a:pt x="16859" y="16440"/>
                      </a:cubicBezTo>
                      <a:cubicBezTo>
                        <a:pt x="16891" y="16368"/>
                        <a:pt x="16930" y="16306"/>
                        <a:pt x="16966" y="16265"/>
                      </a:cubicBezTo>
                      <a:lnTo>
                        <a:pt x="17015" y="16213"/>
                      </a:lnTo>
                      <a:cubicBezTo>
                        <a:pt x="17061" y="16164"/>
                        <a:pt x="17138" y="16085"/>
                        <a:pt x="17193" y="16019"/>
                      </a:cubicBezTo>
                      <a:cubicBezTo>
                        <a:pt x="17190" y="15950"/>
                        <a:pt x="17190" y="15877"/>
                        <a:pt x="17207" y="15803"/>
                      </a:cubicBezTo>
                      <a:cubicBezTo>
                        <a:pt x="17141" y="15575"/>
                        <a:pt x="17242" y="15397"/>
                        <a:pt x="17257" y="15373"/>
                      </a:cubicBezTo>
                      <a:cubicBezTo>
                        <a:pt x="17312" y="15277"/>
                        <a:pt x="17393" y="15226"/>
                        <a:pt x="17460" y="15194"/>
                      </a:cubicBezTo>
                      <a:cubicBezTo>
                        <a:pt x="17504" y="15108"/>
                        <a:pt x="17548" y="15037"/>
                        <a:pt x="17608" y="14987"/>
                      </a:cubicBezTo>
                      <a:lnTo>
                        <a:pt x="17672" y="14934"/>
                      </a:lnTo>
                      <a:cubicBezTo>
                        <a:pt x="17720" y="14895"/>
                        <a:pt x="17792" y="14839"/>
                        <a:pt x="17847" y="14791"/>
                      </a:cubicBezTo>
                      <a:cubicBezTo>
                        <a:pt x="17869" y="14626"/>
                        <a:pt x="17899" y="14480"/>
                        <a:pt x="17985" y="14370"/>
                      </a:cubicBezTo>
                      <a:lnTo>
                        <a:pt x="18077" y="14255"/>
                      </a:lnTo>
                      <a:cubicBezTo>
                        <a:pt x="18108" y="14215"/>
                        <a:pt x="18146" y="14169"/>
                        <a:pt x="18181" y="14124"/>
                      </a:cubicBezTo>
                      <a:cubicBezTo>
                        <a:pt x="18156" y="14078"/>
                        <a:pt x="18138" y="14037"/>
                        <a:pt x="18131" y="14012"/>
                      </a:cubicBezTo>
                      <a:cubicBezTo>
                        <a:pt x="18074" y="13809"/>
                        <a:pt x="18127" y="13564"/>
                        <a:pt x="18200" y="13421"/>
                      </a:cubicBezTo>
                      <a:lnTo>
                        <a:pt x="18254" y="13315"/>
                      </a:lnTo>
                      <a:cubicBezTo>
                        <a:pt x="18251" y="13285"/>
                        <a:pt x="18269" y="13149"/>
                        <a:pt x="18349" y="13034"/>
                      </a:cubicBezTo>
                      <a:cubicBezTo>
                        <a:pt x="18597" y="12681"/>
                        <a:pt x="18726" y="12681"/>
                        <a:pt x="18788" y="12681"/>
                      </a:cubicBezTo>
                      <a:cubicBezTo>
                        <a:pt x="18871" y="12691"/>
                        <a:pt x="18957" y="12711"/>
                        <a:pt x="19033" y="12755"/>
                      </a:cubicBezTo>
                      <a:cubicBezTo>
                        <a:pt x="19086" y="12711"/>
                        <a:pt x="19153" y="12675"/>
                        <a:pt x="19232" y="12675"/>
                      </a:cubicBezTo>
                      <a:cubicBezTo>
                        <a:pt x="19207" y="12574"/>
                        <a:pt x="19190" y="12427"/>
                        <a:pt x="19254" y="12281"/>
                      </a:cubicBezTo>
                      <a:cubicBezTo>
                        <a:pt x="19297" y="12182"/>
                        <a:pt x="19397" y="12041"/>
                        <a:pt x="19432" y="11998"/>
                      </a:cubicBezTo>
                      <a:cubicBezTo>
                        <a:pt x="19483" y="11938"/>
                        <a:pt x="19533" y="11906"/>
                        <a:pt x="19618" y="11852"/>
                      </a:cubicBezTo>
                      <a:cubicBezTo>
                        <a:pt x="19630" y="11843"/>
                        <a:pt x="19643" y="11835"/>
                        <a:pt x="19654" y="11828"/>
                      </a:cubicBezTo>
                      <a:cubicBezTo>
                        <a:pt x="19659" y="11817"/>
                        <a:pt x="19663" y="11805"/>
                        <a:pt x="19667" y="11793"/>
                      </a:cubicBezTo>
                      <a:cubicBezTo>
                        <a:pt x="19698" y="11714"/>
                        <a:pt x="19729" y="11631"/>
                        <a:pt x="19781" y="11562"/>
                      </a:cubicBezTo>
                      <a:lnTo>
                        <a:pt x="19804" y="11531"/>
                      </a:lnTo>
                      <a:cubicBezTo>
                        <a:pt x="19809" y="11487"/>
                        <a:pt x="19814" y="11454"/>
                        <a:pt x="19817" y="11429"/>
                      </a:cubicBezTo>
                      <a:cubicBezTo>
                        <a:pt x="19776" y="11350"/>
                        <a:pt x="19740" y="11242"/>
                        <a:pt x="19740" y="11117"/>
                      </a:cubicBezTo>
                      <a:cubicBezTo>
                        <a:pt x="19725" y="10625"/>
                        <a:pt x="19716" y="10100"/>
                        <a:pt x="19767" y="9760"/>
                      </a:cubicBezTo>
                      <a:cubicBezTo>
                        <a:pt x="19811" y="9462"/>
                        <a:pt x="19935" y="9131"/>
                        <a:pt x="20025" y="8889"/>
                      </a:cubicBezTo>
                      <a:cubicBezTo>
                        <a:pt x="20059" y="8797"/>
                        <a:pt x="20089" y="8722"/>
                        <a:pt x="20101" y="8675"/>
                      </a:cubicBezTo>
                      <a:cubicBezTo>
                        <a:pt x="20107" y="8483"/>
                        <a:pt x="20369" y="7743"/>
                        <a:pt x="20663" y="7116"/>
                      </a:cubicBezTo>
                      <a:cubicBezTo>
                        <a:pt x="20999" y="6401"/>
                        <a:pt x="21180" y="6168"/>
                        <a:pt x="21483" y="5886"/>
                      </a:cubicBezTo>
                      <a:cubicBezTo>
                        <a:pt x="21517" y="5854"/>
                        <a:pt x="21557" y="5818"/>
                        <a:pt x="21600" y="5780"/>
                      </a:cubicBezTo>
                      <a:lnTo>
                        <a:pt x="15908" y="826"/>
                      </a:lnTo>
                      <a:cubicBezTo>
                        <a:pt x="14289" y="1248"/>
                        <a:pt x="12652" y="1662"/>
                        <a:pt x="11005" y="2071"/>
                      </a:cubicBezTo>
                      <a:lnTo>
                        <a:pt x="10664" y="2155"/>
                      </a:lnTo>
                      <a:lnTo>
                        <a:pt x="10631" y="1047"/>
                      </a:lnTo>
                      <a:lnTo>
                        <a:pt x="10066" y="310"/>
                      </a:lnTo>
                      <a:cubicBezTo>
                        <a:pt x="9973" y="441"/>
                        <a:pt x="9861" y="577"/>
                        <a:pt x="9785" y="639"/>
                      </a:cubicBezTo>
                      <a:lnTo>
                        <a:pt x="9713" y="700"/>
                      </a:lnTo>
                      <a:lnTo>
                        <a:pt x="9600" y="712"/>
                      </a:lnTo>
                      <a:cubicBezTo>
                        <a:pt x="9451" y="712"/>
                        <a:pt x="9266" y="605"/>
                        <a:pt x="9234" y="95"/>
                      </a:cubicBezTo>
                      <a:cubicBezTo>
                        <a:pt x="9228" y="64"/>
                        <a:pt x="9225" y="33"/>
                        <a:pt x="9225" y="0"/>
                      </a:cubicBezTo>
                      <a:lnTo>
                        <a:pt x="4217" y="971"/>
                      </a:lnTo>
                      <a:cubicBezTo>
                        <a:pt x="4211" y="972"/>
                        <a:pt x="4075" y="994"/>
                        <a:pt x="4024" y="1012"/>
                      </a:cubicBezTo>
                      <a:cubicBezTo>
                        <a:pt x="4052" y="997"/>
                        <a:pt x="3992" y="1055"/>
                        <a:pt x="3954" y="1089"/>
                      </a:cubicBezTo>
                      <a:cubicBezTo>
                        <a:pt x="3837" y="1192"/>
                        <a:pt x="3771" y="1205"/>
                        <a:pt x="3727" y="1205"/>
                      </a:cubicBezTo>
                      <a:lnTo>
                        <a:pt x="3676" y="1205"/>
                      </a:lnTo>
                      <a:cubicBezTo>
                        <a:pt x="3643" y="1220"/>
                        <a:pt x="3608" y="1231"/>
                        <a:pt x="3567" y="1233"/>
                      </a:cubicBezTo>
                      <a:cubicBezTo>
                        <a:pt x="3561" y="1233"/>
                        <a:pt x="3533" y="1233"/>
                        <a:pt x="3512" y="1230"/>
                      </a:cubicBezTo>
                      <a:lnTo>
                        <a:pt x="3428" y="1402"/>
                      </a:lnTo>
                      <a:lnTo>
                        <a:pt x="3242" y="1421"/>
                      </a:lnTo>
                      <a:cubicBezTo>
                        <a:pt x="3224" y="1421"/>
                        <a:pt x="3207" y="1419"/>
                        <a:pt x="3191" y="1415"/>
                      </a:cubicBezTo>
                      <a:cubicBezTo>
                        <a:pt x="3181" y="1426"/>
                        <a:pt x="3172" y="1436"/>
                        <a:pt x="3160" y="1447"/>
                      </a:cubicBezTo>
                      <a:cubicBezTo>
                        <a:pt x="3120" y="1485"/>
                        <a:pt x="3062" y="1540"/>
                        <a:pt x="2977" y="1577"/>
                      </a:cubicBezTo>
                      <a:cubicBezTo>
                        <a:pt x="2968" y="1592"/>
                        <a:pt x="2959" y="1608"/>
                        <a:pt x="2949" y="1624"/>
                      </a:cubicBezTo>
                      <a:cubicBezTo>
                        <a:pt x="2844" y="1778"/>
                        <a:pt x="2751" y="1815"/>
                        <a:pt x="2665" y="1832"/>
                      </a:cubicBezTo>
                      <a:cubicBezTo>
                        <a:pt x="2640" y="1842"/>
                        <a:pt x="2605" y="1879"/>
                        <a:pt x="2589" y="1904"/>
                      </a:cubicBezTo>
                      <a:lnTo>
                        <a:pt x="2465" y="2042"/>
                      </a:lnTo>
                      <a:cubicBezTo>
                        <a:pt x="2414" y="2138"/>
                        <a:pt x="2345" y="2184"/>
                        <a:pt x="2307" y="2210"/>
                      </a:cubicBezTo>
                      <a:cubicBezTo>
                        <a:pt x="2269" y="2240"/>
                        <a:pt x="2246" y="2282"/>
                        <a:pt x="2232" y="2310"/>
                      </a:cubicBezTo>
                      <a:cubicBezTo>
                        <a:pt x="2212" y="2346"/>
                        <a:pt x="2194" y="2379"/>
                        <a:pt x="2175" y="2410"/>
                      </a:cubicBezTo>
                      <a:lnTo>
                        <a:pt x="2085" y="2555"/>
                      </a:lnTo>
                      <a:lnTo>
                        <a:pt x="1920" y="2573"/>
                      </a:lnTo>
                      <a:cubicBezTo>
                        <a:pt x="1875" y="2573"/>
                        <a:pt x="1813" y="2561"/>
                        <a:pt x="1750" y="2510"/>
                      </a:cubicBezTo>
                      <a:lnTo>
                        <a:pt x="758" y="3264"/>
                      </a:lnTo>
                      <a:cubicBezTo>
                        <a:pt x="776" y="3378"/>
                        <a:pt x="788" y="3531"/>
                        <a:pt x="728" y="3675"/>
                      </a:cubicBezTo>
                      <a:cubicBezTo>
                        <a:pt x="666" y="3820"/>
                        <a:pt x="574" y="3882"/>
                        <a:pt x="525" y="3914"/>
                      </a:cubicBezTo>
                      <a:cubicBezTo>
                        <a:pt x="507" y="3936"/>
                        <a:pt x="474" y="4006"/>
                        <a:pt x="451" y="4048"/>
                      </a:cubicBezTo>
                      <a:cubicBezTo>
                        <a:pt x="450" y="4053"/>
                        <a:pt x="448" y="4054"/>
                        <a:pt x="448" y="4054"/>
                      </a:cubicBezTo>
                      <a:cubicBezTo>
                        <a:pt x="447" y="4054"/>
                        <a:pt x="448" y="4047"/>
                        <a:pt x="449" y="4041"/>
                      </a:cubicBezTo>
                      <a:cubicBezTo>
                        <a:pt x="449" y="4041"/>
                        <a:pt x="387" y="4310"/>
                        <a:pt x="387" y="4310"/>
                      </a:cubicBezTo>
                      <a:close/>
                      <a:moveTo>
                        <a:pt x="387" y="4310"/>
                      </a:moveTo>
                    </a:path>
                  </a:pathLst>
                </a:custGeom>
                <a:solidFill>
                  <a:schemeClr val="accent6">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2400"/>
                    <a:buFontTx/>
                    <a:buNone/>
                    <a:tabLst/>
                    <a:defRPr/>
                  </a:pPr>
                  <a:endParaRPr kumimoji="0" sz="18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54" name="Google Shape;435;p54">
                  <a:extLst>
                    <a:ext uri="{FF2B5EF4-FFF2-40B4-BE49-F238E27FC236}">
                      <a16:creationId xmlns:a16="http://schemas.microsoft.com/office/drawing/2014/main" id="{8BDACC0A-BF9A-4BDE-9FD0-A31B4C12DB40}"/>
                    </a:ext>
                  </a:extLst>
                </p:cNvPr>
                <p:cNvSpPr/>
                <p:nvPr/>
              </p:nvSpPr>
              <p:spPr>
                <a:xfrm>
                  <a:off x="4959266" y="4144508"/>
                  <a:ext cx="733644" cy="694872"/>
                </a:xfrm>
                <a:custGeom>
                  <a:avLst/>
                  <a:gdLst/>
                  <a:ahLst/>
                  <a:cxnLst/>
                  <a:rect l="l" t="t" r="r" b="b"/>
                  <a:pathLst>
                    <a:path w="21600" h="21600" extrusionOk="0">
                      <a:moveTo>
                        <a:pt x="20084" y="5740"/>
                      </a:moveTo>
                      <a:cubicBezTo>
                        <a:pt x="20105" y="5669"/>
                        <a:pt x="20237" y="5475"/>
                        <a:pt x="20407" y="5383"/>
                      </a:cubicBezTo>
                      <a:cubicBezTo>
                        <a:pt x="20406" y="5357"/>
                        <a:pt x="20408" y="5331"/>
                        <a:pt x="20413" y="5306"/>
                      </a:cubicBezTo>
                      <a:cubicBezTo>
                        <a:pt x="20437" y="5166"/>
                        <a:pt x="20584" y="4923"/>
                        <a:pt x="20803" y="4856"/>
                      </a:cubicBezTo>
                      <a:cubicBezTo>
                        <a:pt x="20821" y="4793"/>
                        <a:pt x="20848" y="4739"/>
                        <a:pt x="20882" y="4692"/>
                      </a:cubicBezTo>
                      <a:cubicBezTo>
                        <a:pt x="20797" y="4609"/>
                        <a:pt x="20733" y="4499"/>
                        <a:pt x="20714" y="4371"/>
                      </a:cubicBezTo>
                      <a:cubicBezTo>
                        <a:pt x="20676" y="4115"/>
                        <a:pt x="20761" y="3872"/>
                        <a:pt x="20929" y="3751"/>
                      </a:cubicBezTo>
                      <a:cubicBezTo>
                        <a:pt x="21015" y="3688"/>
                        <a:pt x="21110" y="3618"/>
                        <a:pt x="21240" y="3618"/>
                      </a:cubicBezTo>
                      <a:lnTo>
                        <a:pt x="21395" y="3615"/>
                      </a:lnTo>
                      <a:cubicBezTo>
                        <a:pt x="21397" y="3615"/>
                        <a:pt x="21398" y="3615"/>
                        <a:pt x="21399" y="3614"/>
                      </a:cubicBezTo>
                      <a:cubicBezTo>
                        <a:pt x="21420" y="3542"/>
                        <a:pt x="21446" y="3474"/>
                        <a:pt x="21483" y="3415"/>
                      </a:cubicBezTo>
                      <a:cubicBezTo>
                        <a:pt x="21445" y="3360"/>
                        <a:pt x="21419" y="3289"/>
                        <a:pt x="21414" y="3197"/>
                      </a:cubicBezTo>
                      <a:cubicBezTo>
                        <a:pt x="21405" y="3063"/>
                        <a:pt x="21454" y="2926"/>
                        <a:pt x="21554" y="2813"/>
                      </a:cubicBezTo>
                      <a:cubicBezTo>
                        <a:pt x="21569" y="2797"/>
                        <a:pt x="21584" y="2781"/>
                        <a:pt x="21600" y="2766"/>
                      </a:cubicBezTo>
                      <a:lnTo>
                        <a:pt x="18444" y="3111"/>
                      </a:lnTo>
                      <a:lnTo>
                        <a:pt x="18685" y="2593"/>
                      </a:lnTo>
                      <a:cubicBezTo>
                        <a:pt x="18685" y="2593"/>
                        <a:pt x="18768" y="2414"/>
                        <a:pt x="18817" y="2326"/>
                      </a:cubicBezTo>
                      <a:cubicBezTo>
                        <a:pt x="18833" y="2292"/>
                        <a:pt x="18853" y="2214"/>
                        <a:pt x="18875" y="2141"/>
                      </a:cubicBezTo>
                      <a:cubicBezTo>
                        <a:pt x="18918" y="1994"/>
                        <a:pt x="18943" y="1914"/>
                        <a:pt x="18979" y="1851"/>
                      </a:cubicBezTo>
                      <a:cubicBezTo>
                        <a:pt x="19029" y="1767"/>
                        <a:pt x="19104" y="1707"/>
                        <a:pt x="19198" y="1646"/>
                      </a:cubicBezTo>
                      <a:cubicBezTo>
                        <a:pt x="19199" y="1638"/>
                        <a:pt x="19200" y="1629"/>
                        <a:pt x="19200" y="1621"/>
                      </a:cubicBezTo>
                      <a:cubicBezTo>
                        <a:pt x="19204" y="1564"/>
                        <a:pt x="19229" y="1403"/>
                        <a:pt x="19367" y="1296"/>
                      </a:cubicBezTo>
                      <a:cubicBezTo>
                        <a:pt x="19415" y="1200"/>
                        <a:pt x="19497" y="1131"/>
                        <a:pt x="19655" y="1020"/>
                      </a:cubicBezTo>
                      <a:cubicBezTo>
                        <a:pt x="19659" y="995"/>
                        <a:pt x="19664" y="972"/>
                        <a:pt x="19671" y="950"/>
                      </a:cubicBezTo>
                      <a:cubicBezTo>
                        <a:pt x="19697" y="860"/>
                        <a:pt x="19758" y="802"/>
                        <a:pt x="19835" y="733"/>
                      </a:cubicBezTo>
                      <a:cubicBezTo>
                        <a:pt x="19811" y="682"/>
                        <a:pt x="19789" y="626"/>
                        <a:pt x="19781" y="562"/>
                      </a:cubicBezTo>
                      <a:cubicBezTo>
                        <a:pt x="19775" y="526"/>
                        <a:pt x="19774" y="493"/>
                        <a:pt x="19777" y="463"/>
                      </a:cubicBezTo>
                      <a:cubicBezTo>
                        <a:pt x="19660" y="403"/>
                        <a:pt x="19566" y="322"/>
                        <a:pt x="19560" y="316"/>
                      </a:cubicBezTo>
                      <a:cubicBezTo>
                        <a:pt x="19513" y="276"/>
                        <a:pt x="19420" y="172"/>
                        <a:pt x="19433" y="0"/>
                      </a:cubicBezTo>
                      <a:cubicBezTo>
                        <a:pt x="18502" y="99"/>
                        <a:pt x="17591" y="193"/>
                        <a:pt x="16696" y="283"/>
                      </a:cubicBezTo>
                      <a:cubicBezTo>
                        <a:pt x="16380" y="315"/>
                        <a:pt x="16078" y="344"/>
                        <a:pt x="15767" y="374"/>
                      </a:cubicBezTo>
                      <a:cubicBezTo>
                        <a:pt x="15192" y="431"/>
                        <a:pt x="14615" y="489"/>
                        <a:pt x="14054" y="543"/>
                      </a:cubicBezTo>
                      <a:cubicBezTo>
                        <a:pt x="13717" y="574"/>
                        <a:pt x="13392" y="603"/>
                        <a:pt x="13060" y="634"/>
                      </a:cubicBezTo>
                      <a:cubicBezTo>
                        <a:pt x="12541" y="682"/>
                        <a:pt x="12018" y="731"/>
                        <a:pt x="11509" y="776"/>
                      </a:cubicBezTo>
                      <a:cubicBezTo>
                        <a:pt x="11176" y="806"/>
                        <a:pt x="10854" y="833"/>
                        <a:pt x="10525" y="861"/>
                      </a:cubicBezTo>
                      <a:cubicBezTo>
                        <a:pt x="10027" y="904"/>
                        <a:pt x="9527" y="948"/>
                        <a:pt x="9039" y="988"/>
                      </a:cubicBezTo>
                      <a:cubicBezTo>
                        <a:pt x="8724" y="1014"/>
                        <a:pt x="8417" y="1037"/>
                        <a:pt x="8105" y="1062"/>
                      </a:cubicBezTo>
                      <a:cubicBezTo>
                        <a:pt x="7617" y="1101"/>
                        <a:pt x="7127" y="1140"/>
                        <a:pt x="6647" y="1177"/>
                      </a:cubicBezTo>
                      <a:cubicBezTo>
                        <a:pt x="6335" y="1200"/>
                        <a:pt x="6031" y="1220"/>
                        <a:pt x="5721" y="1243"/>
                      </a:cubicBezTo>
                      <a:cubicBezTo>
                        <a:pt x="5251" y="1277"/>
                        <a:pt x="4779" y="1312"/>
                        <a:pt x="4316" y="1343"/>
                      </a:cubicBezTo>
                      <a:cubicBezTo>
                        <a:pt x="4008" y="1363"/>
                        <a:pt x="3705" y="1382"/>
                        <a:pt x="3400" y="1402"/>
                      </a:cubicBezTo>
                      <a:cubicBezTo>
                        <a:pt x="2946" y="1431"/>
                        <a:pt x="2489" y="1461"/>
                        <a:pt x="2041" y="1488"/>
                      </a:cubicBezTo>
                      <a:cubicBezTo>
                        <a:pt x="1723" y="1507"/>
                        <a:pt x="1410" y="1524"/>
                        <a:pt x="1095" y="1542"/>
                      </a:cubicBezTo>
                      <a:cubicBezTo>
                        <a:pt x="731" y="1562"/>
                        <a:pt x="363" y="1584"/>
                        <a:pt x="0" y="1604"/>
                      </a:cubicBezTo>
                      <a:lnTo>
                        <a:pt x="1144" y="7823"/>
                      </a:lnTo>
                      <a:lnTo>
                        <a:pt x="1458" y="18071"/>
                      </a:lnTo>
                      <a:lnTo>
                        <a:pt x="1672" y="18316"/>
                      </a:lnTo>
                      <a:lnTo>
                        <a:pt x="1655" y="18415"/>
                      </a:lnTo>
                      <a:cubicBezTo>
                        <a:pt x="1672" y="18427"/>
                        <a:pt x="1688" y="18441"/>
                        <a:pt x="1703" y="18458"/>
                      </a:cubicBezTo>
                      <a:lnTo>
                        <a:pt x="1788" y="18458"/>
                      </a:lnTo>
                      <a:lnTo>
                        <a:pt x="1825" y="18499"/>
                      </a:lnTo>
                      <a:cubicBezTo>
                        <a:pt x="1841" y="18497"/>
                        <a:pt x="1857" y="18495"/>
                        <a:pt x="1874" y="18495"/>
                      </a:cubicBezTo>
                      <a:lnTo>
                        <a:pt x="1952" y="18495"/>
                      </a:lnTo>
                      <a:cubicBezTo>
                        <a:pt x="2010" y="18460"/>
                        <a:pt x="2079" y="18435"/>
                        <a:pt x="2151" y="18435"/>
                      </a:cubicBezTo>
                      <a:lnTo>
                        <a:pt x="2164" y="18435"/>
                      </a:lnTo>
                      <a:cubicBezTo>
                        <a:pt x="2166" y="18432"/>
                        <a:pt x="2190" y="18424"/>
                        <a:pt x="2215" y="18416"/>
                      </a:cubicBezTo>
                      <a:cubicBezTo>
                        <a:pt x="2270" y="18399"/>
                        <a:pt x="2318" y="18385"/>
                        <a:pt x="2362" y="18374"/>
                      </a:cubicBezTo>
                      <a:cubicBezTo>
                        <a:pt x="2453" y="18272"/>
                        <a:pt x="2563" y="18257"/>
                        <a:pt x="2620" y="18257"/>
                      </a:cubicBezTo>
                      <a:cubicBezTo>
                        <a:pt x="2699" y="18257"/>
                        <a:pt x="2778" y="18284"/>
                        <a:pt x="2853" y="18337"/>
                      </a:cubicBezTo>
                      <a:cubicBezTo>
                        <a:pt x="2872" y="18351"/>
                        <a:pt x="2891" y="18365"/>
                        <a:pt x="2908" y="18379"/>
                      </a:cubicBezTo>
                      <a:cubicBezTo>
                        <a:pt x="2946" y="18368"/>
                        <a:pt x="2978" y="18366"/>
                        <a:pt x="2996" y="18366"/>
                      </a:cubicBezTo>
                      <a:cubicBezTo>
                        <a:pt x="3099" y="18366"/>
                        <a:pt x="3179" y="18414"/>
                        <a:pt x="3230" y="18450"/>
                      </a:cubicBezTo>
                      <a:cubicBezTo>
                        <a:pt x="3255" y="18467"/>
                        <a:pt x="3274" y="18475"/>
                        <a:pt x="3289" y="18482"/>
                      </a:cubicBezTo>
                      <a:cubicBezTo>
                        <a:pt x="3345" y="18508"/>
                        <a:pt x="3517" y="18585"/>
                        <a:pt x="3539" y="18816"/>
                      </a:cubicBezTo>
                      <a:cubicBezTo>
                        <a:pt x="3541" y="18828"/>
                        <a:pt x="3544" y="18870"/>
                        <a:pt x="3587" y="19569"/>
                      </a:cubicBezTo>
                      <a:cubicBezTo>
                        <a:pt x="3617" y="20067"/>
                        <a:pt x="3661" y="20768"/>
                        <a:pt x="3711" y="21583"/>
                      </a:cubicBezTo>
                      <a:lnTo>
                        <a:pt x="3712" y="21600"/>
                      </a:lnTo>
                      <a:cubicBezTo>
                        <a:pt x="3973" y="21584"/>
                        <a:pt x="4236" y="21568"/>
                        <a:pt x="4498" y="21551"/>
                      </a:cubicBezTo>
                      <a:cubicBezTo>
                        <a:pt x="4695" y="21539"/>
                        <a:pt x="4889" y="21527"/>
                        <a:pt x="5087" y="21514"/>
                      </a:cubicBezTo>
                      <a:cubicBezTo>
                        <a:pt x="5429" y="21492"/>
                        <a:pt x="5777" y="21469"/>
                        <a:pt x="6125" y="21446"/>
                      </a:cubicBezTo>
                      <a:cubicBezTo>
                        <a:pt x="6299" y="21434"/>
                        <a:pt x="6471" y="21424"/>
                        <a:pt x="6645" y="21412"/>
                      </a:cubicBezTo>
                      <a:cubicBezTo>
                        <a:pt x="7068" y="21383"/>
                        <a:pt x="7495" y="21353"/>
                        <a:pt x="7923" y="21323"/>
                      </a:cubicBezTo>
                      <a:cubicBezTo>
                        <a:pt x="8028" y="21316"/>
                        <a:pt x="8131" y="21309"/>
                        <a:pt x="8236" y="21301"/>
                      </a:cubicBezTo>
                      <a:cubicBezTo>
                        <a:pt x="9861" y="21186"/>
                        <a:pt x="11538" y="21059"/>
                        <a:pt x="13278" y="20919"/>
                      </a:cubicBezTo>
                      <a:cubicBezTo>
                        <a:pt x="13523" y="20899"/>
                        <a:pt x="13773" y="20879"/>
                        <a:pt x="14020" y="20858"/>
                      </a:cubicBezTo>
                      <a:cubicBezTo>
                        <a:pt x="14337" y="20833"/>
                        <a:pt x="14653" y="20807"/>
                        <a:pt x="14974" y="20780"/>
                      </a:cubicBezTo>
                      <a:cubicBezTo>
                        <a:pt x="15531" y="20734"/>
                        <a:pt x="16094" y="20687"/>
                        <a:pt x="16665" y="20638"/>
                      </a:cubicBezTo>
                      <a:cubicBezTo>
                        <a:pt x="16637" y="20620"/>
                        <a:pt x="16616" y="20597"/>
                        <a:pt x="16592" y="20576"/>
                      </a:cubicBezTo>
                      <a:cubicBezTo>
                        <a:pt x="16572" y="20560"/>
                        <a:pt x="16550" y="20545"/>
                        <a:pt x="16533" y="20527"/>
                      </a:cubicBezTo>
                      <a:cubicBezTo>
                        <a:pt x="16488" y="20477"/>
                        <a:pt x="16452" y="20420"/>
                        <a:pt x="16435" y="20348"/>
                      </a:cubicBezTo>
                      <a:cubicBezTo>
                        <a:pt x="16405" y="20233"/>
                        <a:pt x="16427" y="20114"/>
                        <a:pt x="16496" y="20013"/>
                      </a:cubicBezTo>
                      <a:cubicBezTo>
                        <a:pt x="16548" y="19936"/>
                        <a:pt x="16659" y="19773"/>
                        <a:pt x="16866" y="19773"/>
                      </a:cubicBezTo>
                      <a:cubicBezTo>
                        <a:pt x="16889" y="19773"/>
                        <a:pt x="16911" y="19775"/>
                        <a:pt x="16932" y="19778"/>
                      </a:cubicBezTo>
                      <a:cubicBezTo>
                        <a:pt x="16927" y="19754"/>
                        <a:pt x="16923" y="19727"/>
                        <a:pt x="16920" y="19699"/>
                      </a:cubicBezTo>
                      <a:cubicBezTo>
                        <a:pt x="16792" y="19563"/>
                        <a:pt x="16612" y="19235"/>
                        <a:pt x="16610" y="19033"/>
                      </a:cubicBezTo>
                      <a:cubicBezTo>
                        <a:pt x="16610" y="19022"/>
                        <a:pt x="16610" y="19010"/>
                        <a:pt x="16610" y="18999"/>
                      </a:cubicBezTo>
                      <a:lnTo>
                        <a:pt x="16545" y="18967"/>
                      </a:lnTo>
                      <a:cubicBezTo>
                        <a:pt x="16499" y="18937"/>
                        <a:pt x="16362" y="18841"/>
                        <a:pt x="16306" y="18682"/>
                      </a:cubicBezTo>
                      <a:lnTo>
                        <a:pt x="16208" y="18597"/>
                      </a:lnTo>
                      <a:cubicBezTo>
                        <a:pt x="16143" y="18522"/>
                        <a:pt x="16112" y="18424"/>
                        <a:pt x="16120" y="18320"/>
                      </a:cubicBezTo>
                      <a:cubicBezTo>
                        <a:pt x="16123" y="18257"/>
                        <a:pt x="16141" y="18171"/>
                        <a:pt x="16233" y="18032"/>
                      </a:cubicBezTo>
                      <a:lnTo>
                        <a:pt x="16184" y="17988"/>
                      </a:lnTo>
                      <a:cubicBezTo>
                        <a:pt x="16004" y="17788"/>
                        <a:pt x="16041" y="17568"/>
                        <a:pt x="16124" y="17437"/>
                      </a:cubicBezTo>
                      <a:cubicBezTo>
                        <a:pt x="16152" y="17394"/>
                        <a:pt x="16191" y="17354"/>
                        <a:pt x="16235" y="17319"/>
                      </a:cubicBezTo>
                      <a:cubicBezTo>
                        <a:pt x="16133" y="17262"/>
                        <a:pt x="16032" y="17164"/>
                        <a:pt x="16021" y="16986"/>
                      </a:cubicBezTo>
                      <a:cubicBezTo>
                        <a:pt x="16015" y="16860"/>
                        <a:pt x="16059" y="16739"/>
                        <a:pt x="16146" y="16643"/>
                      </a:cubicBezTo>
                      <a:cubicBezTo>
                        <a:pt x="16206" y="16576"/>
                        <a:pt x="16284" y="16524"/>
                        <a:pt x="16368" y="16492"/>
                      </a:cubicBezTo>
                      <a:lnTo>
                        <a:pt x="16369" y="16461"/>
                      </a:lnTo>
                      <a:cubicBezTo>
                        <a:pt x="16348" y="16245"/>
                        <a:pt x="16426" y="16004"/>
                        <a:pt x="16645" y="15959"/>
                      </a:cubicBezTo>
                      <a:lnTo>
                        <a:pt x="16661" y="15955"/>
                      </a:lnTo>
                      <a:cubicBezTo>
                        <a:pt x="16609" y="15836"/>
                        <a:pt x="16600" y="15690"/>
                        <a:pt x="16725" y="15526"/>
                      </a:cubicBezTo>
                      <a:cubicBezTo>
                        <a:pt x="16665" y="15503"/>
                        <a:pt x="16604" y="15463"/>
                        <a:pt x="16556" y="15390"/>
                      </a:cubicBezTo>
                      <a:cubicBezTo>
                        <a:pt x="16519" y="15334"/>
                        <a:pt x="16462" y="15215"/>
                        <a:pt x="16510" y="15046"/>
                      </a:cubicBezTo>
                      <a:cubicBezTo>
                        <a:pt x="16537" y="14953"/>
                        <a:pt x="16613" y="14794"/>
                        <a:pt x="16828" y="14753"/>
                      </a:cubicBezTo>
                      <a:cubicBezTo>
                        <a:pt x="16874" y="14692"/>
                        <a:pt x="16937" y="14633"/>
                        <a:pt x="17025" y="14610"/>
                      </a:cubicBezTo>
                      <a:lnTo>
                        <a:pt x="17095" y="14483"/>
                      </a:lnTo>
                      <a:lnTo>
                        <a:pt x="17219" y="14474"/>
                      </a:lnTo>
                      <a:cubicBezTo>
                        <a:pt x="17010" y="14297"/>
                        <a:pt x="17016" y="14121"/>
                        <a:pt x="17065" y="13996"/>
                      </a:cubicBezTo>
                      <a:cubicBezTo>
                        <a:pt x="17085" y="13945"/>
                        <a:pt x="17125" y="13880"/>
                        <a:pt x="17179" y="13817"/>
                      </a:cubicBezTo>
                      <a:cubicBezTo>
                        <a:pt x="17087" y="13698"/>
                        <a:pt x="17039" y="13549"/>
                        <a:pt x="17098" y="13393"/>
                      </a:cubicBezTo>
                      <a:cubicBezTo>
                        <a:pt x="17118" y="13339"/>
                        <a:pt x="17147" y="13292"/>
                        <a:pt x="17181" y="13253"/>
                      </a:cubicBezTo>
                      <a:cubicBezTo>
                        <a:pt x="17249" y="13171"/>
                        <a:pt x="17334" y="13135"/>
                        <a:pt x="17420" y="13128"/>
                      </a:cubicBezTo>
                      <a:cubicBezTo>
                        <a:pt x="17426" y="13128"/>
                        <a:pt x="17431" y="13126"/>
                        <a:pt x="17437" y="13125"/>
                      </a:cubicBezTo>
                      <a:cubicBezTo>
                        <a:pt x="17487" y="13124"/>
                        <a:pt x="17536" y="13130"/>
                        <a:pt x="17580" y="13146"/>
                      </a:cubicBezTo>
                      <a:cubicBezTo>
                        <a:pt x="17619" y="13030"/>
                        <a:pt x="17681" y="12922"/>
                        <a:pt x="17796" y="12864"/>
                      </a:cubicBezTo>
                      <a:cubicBezTo>
                        <a:pt x="17802" y="12860"/>
                        <a:pt x="17810" y="12857"/>
                        <a:pt x="17818" y="12854"/>
                      </a:cubicBezTo>
                      <a:cubicBezTo>
                        <a:pt x="17798" y="12808"/>
                        <a:pt x="17785" y="12754"/>
                        <a:pt x="17786" y="12692"/>
                      </a:cubicBezTo>
                      <a:lnTo>
                        <a:pt x="17790" y="12538"/>
                      </a:lnTo>
                      <a:lnTo>
                        <a:pt x="17930" y="12403"/>
                      </a:lnTo>
                      <a:cubicBezTo>
                        <a:pt x="18000" y="12348"/>
                        <a:pt x="18085" y="12320"/>
                        <a:pt x="18183" y="12320"/>
                      </a:cubicBezTo>
                      <a:lnTo>
                        <a:pt x="18245" y="12323"/>
                      </a:lnTo>
                      <a:cubicBezTo>
                        <a:pt x="18287" y="12306"/>
                        <a:pt x="18330" y="12296"/>
                        <a:pt x="18372" y="12293"/>
                      </a:cubicBezTo>
                      <a:cubicBezTo>
                        <a:pt x="18423" y="12241"/>
                        <a:pt x="18489" y="12203"/>
                        <a:pt x="18576" y="12153"/>
                      </a:cubicBezTo>
                      <a:cubicBezTo>
                        <a:pt x="18593" y="12144"/>
                        <a:pt x="18610" y="12134"/>
                        <a:pt x="18626" y="12125"/>
                      </a:cubicBezTo>
                      <a:cubicBezTo>
                        <a:pt x="18457" y="11804"/>
                        <a:pt x="18554" y="11578"/>
                        <a:pt x="18636" y="11466"/>
                      </a:cubicBezTo>
                      <a:cubicBezTo>
                        <a:pt x="18641" y="11457"/>
                        <a:pt x="18647" y="11450"/>
                        <a:pt x="18653" y="11443"/>
                      </a:cubicBezTo>
                      <a:cubicBezTo>
                        <a:pt x="18575" y="11346"/>
                        <a:pt x="18496" y="11237"/>
                        <a:pt x="18476" y="11097"/>
                      </a:cubicBezTo>
                      <a:cubicBezTo>
                        <a:pt x="18467" y="11032"/>
                        <a:pt x="18434" y="10746"/>
                        <a:pt x="18512" y="10536"/>
                      </a:cubicBezTo>
                      <a:cubicBezTo>
                        <a:pt x="18496" y="10497"/>
                        <a:pt x="18485" y="10455"/>
                        <a:pt x="18480" y="10411"/>
                      </a:cubicBezTo>
                      <a:lnTo>
                        <a:pt x="18466" y="10265"/>
                      </a:lnTo>
                      <a:lnTo>
                        <a:pt x="18573" y="10110"/>
                      </a:lnTo>
                      <a:cubicBezTo>
                        <a:pt x="18576" y="10106"/>
                        <a:pt x="18580" y="10102"/>
                        <a:pt x="18583" y="10098"/>
                      </a:cubicBezTo>
                      <a:cubicBezTo>
                        <a:pt x="18573" y="9966"/>
                        <a:pt x="18583" y="9846"/>
                        <a:pt x="18664" y="9745"/>
                      </a:cubicBezTo>
                      <a:lnTo>
                        <a:pt x="18755" y="9633"/>
                      </a:lnTo>
                      <a:lnTo>
                        <a:pt x="18810" y="9628"/>
                      </a:lnTo>
                      <a:cubicBezTo>
                        <a:pt x="18798" y="9587"/>
                        <a:pt x="18791" y="9546"/>
                        <a:pt x="18791" y="9503"/>
                      </a:cubicBezTo>
                      <a:cubicBezTo>
                        <a:pt x="18791" y="9287"/>
                        <a:pt x="18987" y="9025"/>
                        <a:pt x="19232" y="9025"/>
                      </a:cubicBezTo>
                      <a:cubicBezTo>
                        <a:pt x="19361" y="9025"/>
                        <a:pt x="19477" y="9095"/>
                        <a:pt x="19550" y="9217"/>
                      </a:cubicBezTo>
                      <a:cubicBezTo>
                        <a:pt x="19554" y="9223"/>
                        <a:pt x="19557" y="9229"/>
                        <a:pt x="19560" y="9234"/>
                      </a:cubicBezTo>
                      <a:cubicBezTo>
                        <a:pt x="19591" y="9216"/>
                        <a:pt x="19625" y="9200"/>
                        <a:pt x="19663" y="9189"/>
                      </a:cubicBezTo>
                      <a:cubicBezTo>
                        <a:pt x="19673" y="9177"/>
                        <a:pt x="19683" y="9167"/>
                        <a:pt x="19693" y="9158"/>
                      </a:cubicBezTo>
                      <a:lnTo>
                        <a:pt x="19782" y="9091"/>
                      </a:lnTo>
                      <a:cubicBezTo>
                        <a:pt x="19787" y="9088"/>
                        <a:pt x="19793" y="9084"/>
                        <a:pt x="19800" y="9079"/>
                      </a:cubicBezTo>
                      <a:lnTo>
                        <a:pt x="19762" y="9060"/>
                      </a:lnTo>
                      <a:cubicBezTo>
                        <a:pt x="19729" y="9042"/>
                        <a:pt x="19704" y="9013"/>
                        <a:pt x="19677" y="8987"/>
                      </a:cubicBezTo>
                      <a:lnTo>
                        <a:pt x="19587" y="8996"/>
                      </a:lnTo>
                      <a:lnTo>
                        <a:pt x="19525" y="8728"/>
                      </a:lnTo>
                      <a:lnTo>
                        <a:pt x="19429" y="8369"/>
                      </a:lnTo>
                      <a:lnTo>
                        <a:pt x="19572" y="8355"/>
                      </a:lnTo>
                      <a:cubicBezTo>
                        <a:pt x="19634" y="8238"/>
                        <a:pt x="19742" y="8138"/>
                        <a:pt x="19865" y="8091"/>
                      </a:cubicBezTo>
                      <a:cubicBezTo>
                        <a:pt x="19914" y="8072"/>
                        <a:pt x="19963" y="8061"/>
                        <a:pt x="20012" y="8061"/>
                      </a:cubicBezTo>
                      <a:lnTo>
                        <a:pt x="20052" y="8061"/>
                      </a:lnTo>
                      <a:cubicBezTo>
                        <a:pt x="20054" y="8044"/>
                        <a:pt x="20057" y="8028"/>
                        <a:pt x="20058" y="8015"/>
                      </a:cubicBezTo>
                      <a:cubicBezTo>
                        <a:pt x="20073" y="7906"/>
                        <a:pt x="20081" y="7846"/>
                        <a:pt x="20102" y="7790"/>
                      </a:cubicBezTo>
                      <a:cubicBezTo>
                        <a:pt x="20129" y="7720"/>
                        <a:pt x="20194" y="7611"/>
                        <a:pt x="20294" y="7535"/>
                      </a:cubicBezTo>
                      <a:cubicBezTo>
                        <a:pt x="20272" y="7470"/>
                        <a:pt x="20266" y="7407"/>
                        <a:pt x="20275" y="7348"/>
                      </a:cubicBezTo>
                      <a:cubicBezTo>
                        <a:pt x="20248" y="7336"/>
                        <a:pt x="20229" y="7323"/>
                        <a:pt x="20219" y="7317"/>
                      </a:cubicBezTo>
                      <a:cubicBezTo>
                        <a:pt x="20030" y="7189"/>
                        <a:pt x="19983" y="6876"/>
                        <a:pt x="20030" y="6706"/>
                      </a:cubicBezTo>
                      <a:lnTo>
                        <a:pt x="20044" y="6657"/>
                      </a:lnTo>
                      <a:lnTo>
                        <a:pt x="20011" y="6657"/>
                      </a:lnTo>
                      <a:lnTo>
                        <a:pt x="19909" y="6384"/>
                      </a:lnTo>
                      <a:cubicBezTo>
                        <a:pt x="19900" y="6348"/>
                        <a:pt x="19832" y="6031"/>
                        <a:pt x="20000" y="5826"/>
                      </a:cubicBezTo>
                      <a:cubicBezTo>
                        <a:pt x="20028" y="5791"/>
                        <a:pt x="20057" y="5765"/>
                        <a:pt x="20084" y="5740"/>
                      </a:cubicBezTo>
                      <a:close/>
                      <a:moveTo>
                        <a:pt x="20084" y="5740"/>
                      </a:moveTo>
                    </a:path>
                  </a:pathLst>
                </a:custGeom>
                <a:solidFill>
                  <a:schemeClr val="bg1">
                    <a:lumMod val="75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2400"/>
                    <a:buFontTx/>
                    <a:buNone/>
                    <a:tabLst/>
                    <a:defRPr/>
                  </a:pPr>
                  <a:endParaRPr kumimoji="0" sz="18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55" name="Google Shape;436;p54">
                  <a:extLst>
                    <a:ext uri="{FF2B5EF4-FFF2-40B4-BE49-F238E27FC236}">
                      <a16:creationId xmlns:a16="http://schemas.microsoft.com/office/drawing/2014/main" id="{2E3E3C0D-ED78-47C1-BF59-27377707878B}"/>
                    </a:ext>
                  </a:extLst>
                </p:cNvPr>
                <p:cNvSpPr/>
                <p:nvPr/>
              </p:nvSpPr>
              <p:spPr>
                <a:xfrm>
                  <a:off x="6374473" y="4280214"/>
                  <a:ext cx="811782" cy="834840"/>
                </a:xfrm>
                <a:custGeom>
                  <a:avLst/>
                  <a:gdLst/>
                  <a:ahLst/>
                  <a:cxnLst/>
                  <a:rect l="l" t="t" r="r" b="b"/>
                  <a:pathLst>
                    <a:path w="21600" h="21600" extrusionOk="0">
                      <a:moveTo>
                        <a:pt x="7261" y="403"/>
                      </a:moveTo>
                      <a:cubicBezTo>
                        <a:pt x="7191" y="416"/>
                        <a:pt x="7122" y="428"/>
                        <a:pt x="7052" y="441"/>
                      </a:cubicBezTo>
                      <a:cubicBezTo>
                        <a:pt x="6440" y="551"/>
                        <a:pt x="5819" y="659"/>
                        <a:pt x="5192" y="766"/>
                      </a:cubicBezTo>
                      <a:lnTo>
                        <a:pt x="4953" y="807"/>
                      </a:lnTo>
                      <a:lnTo>
                        <a:pt x="4648" y="858"/>
                      </a:lnTo>
                      <a:lnTo>
                        <a:pt x="4648" y="857"/>
                      </a:lnTo>
                      <a:cubicBezTo>
                        <a:pt x="4018" y="962"/>
                        <a:pt x="3376" y="1065"/>
                        <a:pt x="2726" y="1167"/>
                      </a:cubicBezTo>
                      <a:cubicBezTo>
                        <a:pt x="2499" y="1203"/>
                        <a:pt x="2269" y="1239"/>
                        <a:pt x="2040" y="1274"/>
                      </a:cubicBezTo>
                      <a:cubicBezTo>
                        <a:pt x="1546" y="1350"/>
                        <a:pt x="1048" y="1425"/>
                        <a:pt x="544" y="1499"/>
                      </a:cubicBezTo>
                      <a:cubicBezTo>
                        <a:pt x="361" y="1526"/>
                        <a:pt x="184" y="1555"/>
                        <a:pt x="0" y="1582"/>
                      </a:cubicBezTo>
                      <a:lnTo>
                        <a:pt x="3300" y="11376"/>
                      </a:lnTo>
                      <a:cubicBezTo>
                        <a:pt x="3385" y="11432"/>
                        <a:pt x="3437" y="11512"/>
                        <a:pt x="3445" y="11606"/>
                      </a:cubicBezTo>
                      <a:lnTo>
                        <a:pt x="3448" y="11640"/>
                      </a:lnTo>
                      <a:cubicBezTo>
                        <a:pt x="3506" y="11686"/>
                        <a:pt x="3572" y="11754"/>
                        <a:pt x="3599" y="11857"/>
                      </a:cubicBezTo>
                      <a:cubicBezTo>
                        <a:pt x="3602" y="11867"/>
                        <a:pt x="3604" y="11878"/>
                        <a:pt x="3606" y="11888"/>
                      </a:cubicBezTo>
                      <a:cubicBezTo>
                        <a:pt x="3718" y="11962"/>
                        <a:pt x="3729" y="12081"/>
                        <a:pt x="3729" y="12122"/>
                      </a:cubicBezTo>
                      <a:cubicBezTo>
                        <a:pt x="3731" y="12126"/>
                        <a:pt x="3738" y="12150"/>
                        <a:pt x="3746" y="12177"/>
                      </a:cubicBezTo>
                      <a:lnTo>
                        <a:pt x="3803" y="12186"/>
                      </a:lnTo>
                      <a:lnTo>
                        <a:pt x="3878" y="12366"/>
                      </a:lnTo>
                      <a:cubicBezTo>
                        <a:pt x="3890" y="12417"/>
                        <a:pt x="3890" y="12453"/>
                        <a:pt x="3890" y="12494"/>
                      </a:cubicBezTo>
                      <a:lnTo>
                        <a:pt x="3884" y="12496"/>
                      </a:lnTo>
                      <a:cubicBezTo>
                        <a:pt x="3900" y="12520"/>
                        <a:pt x="3915" y="12545"/>
                        <a:pt x="3930" y="12570"/>
                      </a:cubicBezTo>
                      <a:cubicBezTo>
                        <a:pt x="3957" y="12615"/>
                        <a:pt x="3969" y="12642"/>
                        <a:pt x="3982" y="12670"/>
                      </a:cubicBezTo>
                      <a:cubicBezTo>
                        <a:pt x="3982" y="12670"/>
                        <a:pt x="3982" y="12671"/>
                        <a:pt x="3983" y="12672"/>
                      </a:cubicBezTo>
                      <a:cubicBezTo>
                        <a:pt x="4158" y="12799"/>
                        <a:pt x="4326" y="12939"/>
                        <a:pt x="4393" y="13092"/>
                      </a:cubicBezTo>
                      <a:cubicBezTo>
                        <a:pt x="4420" y="13154"/>
                        <a:pt x="4434" y="13213"/>
                        <a:pt x="4442" y="13263"/>
                      </a:cubicBezTo>
                      <a:cubicBezTo>
                        <a:pt x="4513" y="13301"/>
                        <a:pt x="4566" y="13351"/>
                        <a:pt x="4597" y="13414"/>
                      </a:cubicBezTo>
                      <a:lnTo>
                        <a:pt x="4656" y="13533"/>
                      </a:lnTo>
                      <a:lnTo>
                        <a:pt x="4581" y="13702"/>
                      </a:lnTo>
                      <a:cubicBezTo>
                        <a:pt x="4587" y="13763"/>
                        <a:pt x="4586" y="13825"/>
                        <a:pt x="4581" y="13876"/>
                      </a:cubicBezTo>
                      <a:cubicBezTo>
                        <a:pt x="4624" y="13891"/>
                        <a:pt x="4665" y="13909"/>
                        <a:pt x="4702" y="13930"/>
                      </a:cubicBezTo>
                      <a:cubicBezTo>
                        <a:pt x="4848" y="14011"/>
                        <a:pt x="4993" y="14091"/>
                        <a:pt x="5035" y="14247"/>
                      </a:cubicBezTo>
                      <a:lnTo>
                        <a:pt x="5063" y="14357"/>
                      </a:lnTo>
                      <a:lnTo>
                        <a:pt x="4995" y="14491"/>
                      </a:lnTo>
                      <a:cubicBezTo>
                        <a:pt x="4954" y="14581"/>
                        <a:pt x="4908" y="14686"/>
                        <a:pt x="4785" y="14758"/>
                      </a:cubicBezTo>
                      <a:cubicBezTo>
                        <a:pt x="4759" y="14849"/>
                        <a:pt x="4694" y="14906"/>
                        <a:pt x="4646" y="14935"/>
                      </a:cubicBezTo>
                      <a:cubicBezTo>
                        <a:pt x="4596" y="14965"/>
                        <a:pt x="4550" y="14977"/>
                        <a:pt x="4514" y="14984"/>
                      </a:cubicBezTo>
                      <a:cubicBezTo>
                        <a:pt x="4506" y="15001"/>
                        <a:pt x="4497" y="15020"/>
                        <a:pt x="4489" y="15036"/>
                      </a:cubicBezTo>
                      <a:cubicBezTo>
                        <a:pt x="4483" y="15049"/>
                        <a:pt x="4478" y="15062"/>
                        <a:pt x="4472" y="15074"/>
                      </a:cubicBezTo>
                      <a:cubicBezTo>
                        <a:pt x="4498" y="15127"/>
                        <a:pt x="4518" y="15190"/>
                        <a:pt x="4514" y="15261"/>
                      </a:cubicBezTo>
                      <a:cubicBezTo>
                        <a:pt x="4513" y="15289"/>
                        <a:pt x="4509" y="15319"/>
                        <a:pt x="4505" y="15350"/>
                      </a:cubicBezTo>
                      <a:cubicBezTo>
                        <a:pt x="4503" y="15363"/>
                        <a:pt x="4502" y="15370"/>
                        <a:pt x="4501" y="15373"/>
                      </a:cubicBezTo>
                      <a:cubicBezTo>
                        <a:pt x="4544" y="15471"/>
                        <a:pt x="4590" y="15605"/>
                        <a:pt x="4513" y="15736"/>
                      </a:cubicBezTo>
                      <a:lnTo>
                        <a:pt x="4510" y="15736"/>
                      </a:lnTo>
                      <a:cubicBezTo>
                        <a:pt x="4520" y="15859"/>
                        <a:pt x="4518" y="15888"/>
                        <a:pt x="4513" y="15919"/>
                      </a:cubicBezTo>
                      <a:lnTo>
                        <a:pt x="4495" y="16011"/>
                      </a:lnTo>
                      <a:cubicBezTo>
                        <a:pt x="4498" y="16075"/>
                        <a:pt x="4484" y="16128"/>
                        <a:pt x="4454" y="16175"/>
                      </a:cubicBezTo>
                      <a:lnTo>
                        <a:pt x="4429" y="16213"/>
                      </a:lnTo>
                      <a:lnTo>
                        <a:pt x="4442" y="16279"/>
                      </a:lnTo>
                      <a:lnTo>
                        <a:pt x="4367" y="16397"/>
                      </a:lnTo>
                      <a:cubicBezTo>
                        <a:pt x="4358" y="16410"/>
                        <a:pt x="4349" y="16421"/>
                        <a:pt x="4340" y="16431"/>
                      </a:cubicBezTo>
                      <a:cubicBezTo>
                        <a:pt x="4340" y="16434"/>
                        <a:pt x="4339" y="16437"/>
                        <a:pt x="4339" y="16440"/>
                      </a:cubicBezTo>
                      <a:lnTo>
                        <a:pt x="4337" y="16447"/>
                      </a:lnTo>
                      <a:cubicBezTo>
                        <a:pt x="4375" y="16508"/>
                        <a:pt x="4411" y="16594"/>
                        <a:pt x="4406" y="16702"/>
                      </a:cubicBezTo>
                      <a:cubicBezTo>
                        <a:pt x="4405" y="16723"/>
                        <a:pt x="4403" y="16742"/>
                        <a:pt x="4400" y="16760"/>
                      </a:cubicBezTo>
                      <a:cubicBezTo>
                        <a:pt x="4425" y="16793"/>
                        <a:pt x="4447" y="16830"/>
                        <a:pt x="4468" y="16878"/>
                      </a:cubicBezTo>
                      <a:cubicBezTo>
                        <a:pt x="4506" y="16965"/>
                        <a:pt x="4500" y="17046"/>
                        <a:pt x="4490" y="17105"/>
                      </a:cubicBezTo>
                      <a:cubicBezTo>
                        <a:pt x="4508" y="17125"/>
                        <a:pt x="4526" y="17145"/>
                        <a:pt x="4540" y="17160"/>
                      </a:cubicBezTo>
                      <a:cubicBezTo>
                        <a:pt x="4583" y="17182"/>
                        <a:pt x="4641" y="17218"/>
                        <a:pt x="4687" y="17284"/>
                      </a:cubicBezTo>
                      <a:lnTo>
                        <a:pt x="4718" y="17333"/>
                      </a:lnTo>
                      <a:cubicBezTo>
                        <a:pt x="4756" y="17369"/>
                        <a:pt x="4860" y="17442"/>
                        <a:pt x="4884" y="17600"/>
                      </a:cubicBezTo>
                      <a:cubicBezTo>
                        <a:pt x="4889" y="17634"/>
                        <a:pt x="4890" y="17664"/>
                        <a:pt x="4891" y="17693"/>
                      </a:cubicBezTo>
                      <a:cubicBezTo>
                        <a:pt x="4891" y="17694"/>
                        <a:pt x="4891" y="17694"/>
                        <a:pt x="4891" y="17694"/>
                      </a:cubicBezTo>
                      <a:cubicBezTo>
                        <a:pt x="4956" y="17765"/>
                        <a:pt x="5033" y="17864"/>
                        <a:pt x="5009" y="18007"/>
                      </a:cubicBezTo>
                      <a:cubicBezTo>
                        <a:pt x="4997" y="18086"/>
                        <a:pt x="4984" y="18164"/>
                        <a:pt x="4959" y="18232"/>
                      </a:cubicBezTo>
                      <a:cubicBezTo>
                        <a:pt x="4954" y="18246"/>
                        <a:pt x="4945" y="18267"/>
                        <a:pt x="4935" y="18290"/>
                      </a:cubicBezTo>
                      <a:cubicBezTo>
                        <a:pt x="4966" y="18358"/>
                        <a:pt x="4985" y="18418"/>
                        <a:pt x="4976" y="18490"/>
                      </a:cubicBezTo>
                      <a:lnTo>
                        <a:pt x="4939" y="18595"/>
                      </a:lnTo>
                      <a:cubicBezTo>
                        <a:pt x="4957" y="18650"/>
                        <a:pt x="4964" y="18693"/>
                        <a:pt x="4960" y="18740"/>
                      </a:cubicBezTo>
                      <a:lnTo>
                        <a:pt x="4947" y="18844"/>
                      </a:lnTo>
                      <a:cubicBezTo>
                        <a:pt x="4949" y="18849"/>
                        <a:pt x="4951" y="18854"/>
                        <a:pt x="4954" y="18859"/>
                      </a:cubicBezTo>
                      <a:cubicBezTo>
                        <a:pt x="5017" y="18981"/>
                        <a:pt x="4998" y="19117"/>
                        <a:pt x="4972" y="19234"/>
                      </a:cubicBezTo>
                      <a:cubicBezTo>
                        <a:pt x="4964" y="19267"/>
                        <a:pt x="4953" y="19299"/>
                        <a:pt x="4938" y="19327"/>
                      </a:cubicBezTo>
                      <a:cubicBezTo>
                        <a:pt x="4991" y="19422"/>
                        <a:pt x="5008" y="19524"/>
                        <a:pt x="5009" y="19590"/>
                      </a:cubicBezTo>
                      <a:lnTo>
                        <a:pt x="5014" y="19597"/>
                      </a:lnTo>
                      <a:cubicBezTo>
                        <a:pt x="5053" y="19616"/>
                        <a:pt x="5093" y="19647"/>
                        <a:pt x="5124" y="19693"/>
                      </a:cubicBezTo>
                      <a:lnTo>
                        <a:pt x="5159" y="19752"/>
                      </a:lnTo>
                      <a:cubicBezTo>
                        <a:pt x="5163" y="19758"/>
                        <a:pt x="5166" y="19765"/>
                        <a:pt x="5170" y="19773"/>
                      </a:cubicBezTo>
                      <a:lnTo>
                        <a:pt x="5215" y="19774"/>
                      </a:lnTo>
                      <a:lnTo>
                        <a:pt x="5335" y="19916"/>
                      </a:lnTo>
                      <a:cubicBezTo>
                        <a:pt x="5353" y="19945"/>
                        <a:pt x="5374" y="19991"/>
                        <a:pt x="5394" y="20043"/>
                      </a:cubicBezTo>
                      <a:cubicBezTo>
                        <a:pt x="5403" y="20067"/>
                        <a:pt x="5412" y="20094"/>
                        <a:pt x="5424" y="20114"/>
                      </a:cubicBezTo>
                      <a:lnTo>
                        <a:pt x="5474" y="20149"/>
                      </a:lnTo>
                      <a:lnTo>
                        <a:pt x="5512" y="20210"/>
                      </a:lnTo>
                      <a:cubicBezTo>
                        <a:pt x="5517" y="20220"/>
                        <a:pt x="5521" y="20232"/>
                        <a:pt x="5525" y="20243"/>
                      </a:cubicBezTo>
                      <a:lnTo>
                        <a:pt x="5858" y="20184"/>
                      </a:lnTo>
                      <a:lnTo>
                        <a:pt x="5634" y="20566"/>
                      </a:lnTo>
                      <a:cubicBezTo>
                        <a:pt x="5658" y="20593"/>
                        <a:pt x="5680" y="20627"/>
                        <a:pt x="5698" y="20670"/>
                      </a:cubicBezTo>
                      <a:lnTo>
                        <a:pt x="5718" y="20734"/>
                      </a:lnTo>
                      <a:cubicBezTo>
                        <a:pt x="5728" y="20743"/>
                        <a:pt x="5742" y="20755"/>
                        <a:pt x="5756" y="20768"/>
                      </a:cubicBezTo>
                      <a:cubicBezTo>
                        <a:pt x="5842" y="20846"/>
                        <a:pt x="5901" y="20902"/>
                        <a:pt x="5941" y="20963"/>
                      </a:cubicBezTo>
                      <a:cubicBezTo>
                        <a:pt x="6005" y="21060"/>
                        <a:pt x="6015" y="21155"/>
                        <a:pt x="6020" y="21206"/>
                      </a:cubicBezTo>
                      <a:cubicBezTo>
                        <a:pt x="6035" y="21261"/>
                        <a:pt x="6038" y="21309"/>
                        <a:pt x="6042" y="21355"/>
                      </a:cubicBezTo>
                      <a:cubicBezTo>
                        <a:pt x="6043" y="21376"/>
                        <a:pt x="6043" y="21400"/>
                        <a:pt x="6049" y="21419"/>
                      </a:cubicBezTo>
                      <a:cubicBezTo>
                        <a:pt x="6057" y="21426"/>
                        <a:pt x="6066" y="21437"/>
                        <a:pt x="6074" y="21451"/>
                      </a:cubicBezTo>
                      <a:lnTo>
                        <a:pt x="6109" y="21451"/>
                      </a:lnTo>
                      <a:lnTo>
                        <a:pt x="6237" y="21600"/>
                      </a:lnTo>
                      <a:cubicBezTo>
                        <a:pt x="6237" y="21599"/>
                        <a:pt x="6237" y="21599"/>
                        <a:pt x="6237" y="21599"/>
                      </a:cubicBezTo>
                      <a:cubicBezTo>
                        <a:pt x="6237" y="21599"/>
                        <a:pt x="6238" y="21599"/>
                        <a:pt x="6239" y="21599"/>
                      </a:cubicBezTo>
                      <a:cubicBezTo>
                        <a:pt x="10054" y="21200"/>
                        <a:pt x="13862" y="20793"/>
                        <a:pt x="17678" y="20378"/>
                      </a:cubicBezTo>
                      <a:lnTo>
                        <a:pt x="17815" y="20888"/>
                      </a:lnTo>
                      <a:cubicBezTo>
                        <a:pt x="17870" y="20866"/>
                        <a:pt x="17894" y="20821"/>
                        <a:pt x="17905" y="20788"/>
                      </a:cubicBezTo>
                      <a:cubicBezTo>
                        <a:pt x="17923" y="20728"/>
                        <a:pt x="17905" y="20679"/>
                        <a:pt x="17893" y="20661"/>
                      </a:cubicBezTo>
                      <a:cubicBezTo>
                        <a:pt x="17918" y="20697"/>
                        <a:pt x="17953" y="20731"/>
                        <a:pt x="17986" y="20763"/>
                      </a:cubicBezTo>
                      <a:cubicBezTo>
                        <a:pt x="18049" y="20823"/>
                        <a:pt x="18120" y="20892"/>
                        <a:pt x="18135" y="21005"/>
                      </a:cubicBezTo>
                      <a:lnTo>
                        <a:pt x="18139" y="21073"/>
                      </a:lnTo>
                      <a:cubicBezTo>
                        <a:pt x="18144" y="21174"/>
                        <a:pt x="18151" y="21240"/>
                        <a:pt x="18157" y="21284"/>
                      </a:cubicBezTo>
                      <a:cubicBezTo>
                        <a:pt x="18208" y="21261"/>
                        <a:pt x="18265" y="21243"/>
                        <a:pt x="18329" y="21243"/>
                      </a:cubicBezTo>
                      <a:lnTo>
                        <a:pt x="18339" y="21243"/>
                      </a:lnTo>
                      <a:cubicBezTo>
                        <a:pt x="18333" y="21197"/>
                        <a:pt x="18330" y="21145"/>
                        <a:pt x="18335" y="21093"/>
                      </a:cubicBezTo>
                      <a:cubicBezTo>
                        <a:pt x="18341" y="21028"/>
                        <a:pt x="18355" y="20967"/>
                        <a:pt x="18368" y="20915"/>
                      </a:cubicBezTo>
                      <a:cubicBezTo>
                        <a:pt x="18357" y="20832"/>
                        <a:pt x="18320" y="20644"/>
                        <a:pt x="18325" y="20574"/>
                      </a:cubicBezTo>
                      <a:lnTo>
                        <a:pt x="18334" y="20517"/>
                      </a:lnTo>
                      <a:cubicBezTo>
                        <a:pt x="18312" y="20473"/>
                        <a:pt x="18273" y="20407"/>
                        <a:pt x="18249" y="20381"/>
                      </a:cubicBezTo>
                      <a:cubicBezTo>
                        <a:pt x="17984" y="20093"/>
                        <a:pt x="18014" y="19955"/>
                        <a:pt x="18027" y="19895"/>
                      </a:cubicBezTo>
                      <a:cubicBezTo>
                        <a:pt x="18033" y="19867"/>
                        <a:pt x="18043" y="19842"/>
                        <a:pt x="18053" y="19819"/>
                      </a:cubicBezTo>
                      <a:cubicBezTo>
                        <a:pt x="18022" y="19760"/>
                        <a:pt x="17996" y="19671"/>
                        <a:pt x="18031" y="19571"/>
                      </a:cubicBezTo>
                      <a:cubicBezTo>
                        <a:pt x="18034" y="19563"/>
                        <a:pt x="18037" y="19556"/>
                        <a:pt x="18041" y="19549"/>
                      </a:cubicBezTo>
                      <a:lnTo>
                        <a:pt x="17992" y="19505"/>
                      </a:lnTo>
                      <a:lnTo>
                        <a:pt x="18111" y="19255"/>
                      </a:lnTo>
                      <a:cubicBezTo>
                        <a:pt x="18168" y="19179"/>
                        <a:pt x="18236" y="19141"/>
                        <a:pt x="18297" y="19125"/>
                      </a:cubicBezTo>
                      <a:cubicBezTo>
                        <a:pt x="18311" y="19073"/>
                        <a:pt x="18340" y="19020"/>
                        <a:pt x="18393" y="18977"/>
                      </a:cubicBezTo>
                      <a:cubicBezTo>
                        <a:pt x="18481" y="18902"/>
                        <a:pt x="18571" y="18886"/>
                        <a:pt x="18630" y="18886"/>
                      </a:cubicBezTo>
                      <a:lnTo>
                        <a:pt x="18762" y="18897"/>
                      </a:lnTo>
                      <a:cubicBezTo>
                        <a:pt x="18785" y="18892"/>
                        <a:pt x="18809" y="18889"/>
                        <a:pt x="18836" y="18889"/>
                      </a:cubicBezTo>
                      <a:lnTo>
                        <a:pt x="18960" y="18889"/>
                      </a:lnTo>
                      <a:lnTo>
                        <a:pt x="19059" y="18988"/>
                      </a:lnTo>
                      <a:cubicBezTo>
                        <a:pt x="19060" y="18988"/>
                        <a:pt x="19063" y="18990"/>
                        <a:pt x="19066" y="18992"/>
                      </a:cubicBezTo>
                      <a:cubicBezTo>
                        <a:pt x="19167" y="18970"/>
                        <a:pt x="19288" y="18970"/>
                        <a:pt x="19381" y="19014"/>
                      </a:cubicBezTo>
                      <a:cubicBezTo>
                        <a:pt x="19390" y="19018"/>
                        <a:pt x="19397" y="19022"/>
                        <a:pt x="19405" y="19026"/>
                      </a:cubicBezTo>
                      <a:cubicBezTo>
                        <a:pt x="19419" y="19023"/>
                        <a:pt x="19436" y="19022"/>
                        <a:pt x="19454" y="19022"/>
                      </a:cubicBezTo>
                      <a:lnTo>
                        <a:pt x="19525" y="19022"/>
                      </a:lnTo>
                      <a:lnTo>
                        <a:pt x="19618" y="19065"/>
                      </a:lnTo>
                      <a:cubicBezTo>
                        <a:pt x="19642" y="19077"/>
                        <a:pt x="19667" y="19094"/>
                        <a:pt x="19693" y="19113"/>
                      </a:cubicBezTo>
                      <a:cubicBezTo>
                        <a:pt x="19703" y="19120"/>
                        <a:pt x="19716" y="19124"/>
                        <a:pt x="19731" y="19126"/>
                      </a:cubicBezTo>
                      <a:cubicBezTo>
                        <a:pt x="19763" y="19099"/>
                        <a:pt x="19828" y="19063"/>
                        <a:pt x="19915" y="19063"/>
                      </a:cubicBezTo>
                      <a:lnTo>
                        <a:pt x="20021" y="19063"/>
                      </a:lnTo>
                      <a:lnTo>
                        <a:pt x="20075" y="19106"/>
                      </a:lnTo>
                      <a:lnTo>
                        <a:pt x="20180" y="19108"/>
                      </a:lnTo>
                      <a:cubicBezTo>
                        <a:pt x="20228" y="19108"/>
                        <a:pt x="20278" y="19108"/>
                        <a:pt x="20317" y="19107"/>
                      </a:cubicBezTo>
                      <a:cubicBezTo>
                        <a:pt x="20353" y="19082"/>
                        <a:pt x="20401" y="19057"/>
                        <a:pt x="20462" y="19047"/>
                      </a:cubicBezTo>
                      <a:cubicBezTo>
                        <a:pt x="20465" y="19046"/>
                        <a:pt x="20468" y="19045"/>
                        <a:pt x="20470" y="19044"/>
                      </a:cubicBezTo>
                      <a:cubicBezTo>
                        <a:pt x="20464" y="18981"/>
                        <a:pt x="20469" y="18910"/>
                        <a:pt x="20496" y="18829"/>
                      </a:cubicBezTo>
                      <a:cubicBezTo>
                        <a:pt x="20514" y="18774"/>
                        <a:pt x="20531" y="18729"/>
                        <a:pt x="20546" y="18691"/>
                      </a:cubicBezTo>
                      <a:cubicBezTo>
                        <a:pt x="20556" y="18665"/>
                        <a:pt x="20565" y="18643"/>
                        <a:pt x="20570" y="18624"/>
                      </a:cubicBezTo>
                      <a:cubicBezTo>
                        <a:pt x="20574" y="18594"/>
                        <a:pt x="20577" y="18485"/>
                        <a:pt x="20577" y="18382"/>
                      </a:cubicBezTo>
                      <a:cubicBezTo>
                        <a:pt x="20577" y="18382"/>
                        <a:pt x="20576" y="18382"/>
                        <a:pt x="20575" y="18381"/>
                      </a:cubicBezTo>
                      <a:lnTo>
                        <a:pt x="20361" y="18398"/>
                      </a:lnTo>
                      <a:lnTo>
                        <a:pt x="20309" y="18349"/>
                      </a:lnTo>
                      <a:cubicBezTo>
                        <a:pt x="20212" y="18310"/>
                        <a:pt x="20151" y="18249"/>
                        <a:pt x="20124" y="18166"/>
                      </a:cubicBezTo>
                      <a:lnTo>
                        <a:pt x="20081" y="18038"/>
                      </a:lnTo>
                      <a:lnTo>
                        <a:pt x="20169" y="17904"/>
                      </a:lnTo>
                      <a:cubicBezTo>
                        <a:pt x="20268" y="17763"/>
                        <a:pt x="20340" y="17660"/>
                        <a:pt x="20423" y="17601"/>
                      </a:cubicBezTo>
                      <a:cubicBezTo>
                        <a:pt x="20422" y="17567"/>
                        <a:pt x="20421" y="17534"/>
                        <a:pt x="20420" y="17507"/>
                      </a:cubicBezTo>
                      <a:cubicBezTo>
                        <a:pt x="20381" y="17448"/>
                        <a:pt x="20340" y="17363"/>
                        <a:pt x="20360" y="17258"/>
                      </a:cubicBezTo>
                      <a:cubicBezTo>
                        <a:pt x="20377" y="17170"/>
                        <a:pt x="20431" y="17081"/>
                        <a:pt x="20504" y="17019"/>
                      </a:cubicBezTo>
                      <a:cubicBezTo>
                        <a:pt x="20518" y="16888"/>
                        <a:pt x="20608" y="16814"/>
                        <a:pt x="20644" y="16790"/>
                      </a:cubicBezTo>
                      <a:cubicBezTo>
                        <a:pt x="20654" y="16749"/>
                        <a:pt x="20699" y="16666"/>
                        <a:pt x="20790" y="16604"/>
                      </a:cubicBezTo>
                      <a:cubicBezTo>
                        <a:pt x="20785" y="16530"/>
                        <a:pt x="20781" y="16473"/>
                        <a:pt x="20780" y="16427"/>
                      </a:cubicBezTo>
                      <a:lnTo>
                        <a:pt x="20697" y="16401"/>
                      </a:lnTo>
                      <a:lnTo>
                        <a:pt x="20675" y="16182"/>
                      </a:lnTo>
                      <a:cubicBezTo>
                        <a:pt x="20654" y="15947"/>
                        <a:pt x="20648" y="15813"/>
                        <a:pt x="20721" y="15706"/>
                      </a:cubicBezTo>
                      <a:cubicBezTo>
                        <a:pt x="20734" y="15688"/>
                        <a:pt x="20752" y="15649"/>
                        <a:pt x="20757" y="15633"/>
                      </a:cubicBezTo>
                      <a:cubicBezTo>
                        <a:pt x="20758" y="15607"/>
                        <a:pt x="20771" y="15573"/>
                        <a:pt x="20822" y="15455"/>
                      </a:cubicBezTo>
                      <a:cubicBezTo>
                        <a:pt x="20763" y="15444"/>
                        <a:pt x="20696" y="15418"/>
                        <a:pt x="20641" y="15361"/>
                      </a:cubicBezTo>
                      <a:lnTo>
                        <a:pt x="20559" y="15276"/>
                      </a:lnTo>
                      <a:lnTo>
                        <a:pt x="20562" y="15147"/>
                      </a:lnTo>
                      <a:cubicBezTo>
                        <a:pt x="20566" y="15076"/>
                        <a:pt x="20574" y="14929"/>
                        <a:pt x="20720" y="14841"/>
                      </a:cubicBezTo>
                      <a:cubicBezTo>
                        <a:pt x="20761" y="14817"/>
                        <a:pt x="20804" y="14804"/>
                        <a:pt x="20845" y="14791"/>
                      </a:cubicBezTo>
                      <a:cubicBezTo>
                        <a:pt x="20825" y="14818"/>
                        <a:pt x="20913" y="14738"/>
                        <a:pt x="21022" y="14701"/>
                      </a:cubicBezTo>
                      <a:cubicBezTo>
                        <a:pt x="21024" y="14680"/>
                        <a:pt x="21026" y="14662"/>
                        <a:pt x="21029" y="14645"/>
                      </a:cubicBezTo>
                      <a:cubicBezTo>
                        <a:pt x="21018" y="14617"/>
                        <a:pt x="21011" y="14590"/>
                        <a:pt x="21005" y="14568"/>
                      </a:cubicBezTo>
                      <a:cubicBezTo>
                        <a:pt x="20795" y="14491"/>
                        <a:pt x="20608" y="14418"/>
                        <a:pt x="20628" y="14203"/>
                      </a:cubicBezTo>
                      <a:cubicBezTo>
                        <a:pt x="20634" y="14139"/>
                        <a:pt x="20684" y="13957"/>
                        <a:pt x="20842" y="13882"/>
                      </a:cubicBezTo>
                      <a:cubicBezTo>
                        <a:pt x="20905" y="13853"/>
                        <a:pt x="20969" y="13841"/>
                        <a:pt x="21073" y="13845"/>
                      </a:cubicBezTo>
                      <a:cubicBezTo>
                        <a:pt x="21079" y="13839"/>
                        <a:pt x="21084" y="13832"/>
                        <a:pt x="21090" y="13826"/>
                      </a:cubicBezTo>
                      <a:cubicBezTo>
                        <a:pt x="21108" y="13808"/>
                        <a:pt x="21126" y="13791"/>
                        <a:pt x="21145" y="13775"/>
                      </a:cubicBezTo>
                      <a:lnTo>
                        <a:pt x="21115" y="13735"/>
                      </a:lnTo>
                      <a:cubicBezTo>
                        <a:pt x="21055" y="13647"/>
                        <a:pt x="21046" y="13547"/>
                        <a:pt x="21064" y="13462"/>
                      </a:cubicBezTo>
                      <a:cubicBezTo>
                        <a:pt x="21054" y="13435"/>
                        <a:pt x="21047" y="13405"/>
                        <a:pt x="21046" y="13371"/>
                      </a:cubicBezTo>
                      <a:lnTo>
                        <a:pt x="21041" y="13253"/>
                      </a:lnTo>
                      <a:lnTo>
                        <a:pt x="21136" y="13157"/>
                      </a:lnTo>
                      <a:cubicBezTo>
                        <a:pt x="21195" y="13105"/>
                        <a:pt x="21284" y="13067"/>
                        <a:pt x="21366" y="13047"/>
                      </a:cubicBezTo>
                      <a:cubicBezTo>
                        <a:pt x="21332" y="12907"/>
                        <a:pt x="21404" y="12808"/>
                        <a:pt x="21434" y="12774"/>
                      </a:cubicBezTo>
                      <a:cubicBezTo>
                        <a:pt x="21474" y="12729"/>
                        <a:pt x="21516" y="12702"/>
                        <a:pt x="21553" y="12685"/>
                      </a:cubicBezTo>
                      <a:cubicBezTo>
                        <a:pt x="21567" y="12670"/>
                        <a:pt x="21582" y="12655"/>
                        <a:pt x="21600" y="12641"/>
                      </a:cubicBezTo>
                      <a:cubicBezTo>
                        <a:pt x="21597" y="12640"/>
                        <a:pt x="21595" y="12637"/>
                        <a:pt x="21591" y="12635"/>
                      </a:cubicBezTo>
                      <a:cubicBezTo>
                        <a:pt x="21544" y="12611"/>
                        <a:pt x="21504" y="12580"/>
                        <a:pt x="21470" y="12552"/>
                      </a:cubicBezTo>
                      <a:cubicBezTo>
                        <a:pt x="21439" y="12548"/>
                        <a:pt x="21411" y="12540"/>
                        <a:pt x="21385" y="12529"/>
                      </a:cubicBezTo>
                      <a:cubicBezTo>
                        <a:pt x="21357" y="12550"/>
                        <a:pt x="21328" y="12567"/>
                        <a:pt x="21293" y="12579"/>
                      </a:cubicBezTo>
                      <a:lnTo>
                        <a:pt x="21179" y="12597"/>
                      </a:lnTo>
                      <a:cubicBezTo>
                        <a:pt x="21056" y="12597"/>
                        <a:pt x="20953" y="12535"/>
                        <a:pt x="20878" y="12476"/>
                      </a:cubicBezTo>
                      <a:cubicBezTo>
                        <a:pt x="20798" y="12467"/>
                        <a:pt x="20751" y="12441"/>
                        <a:pt x="20720" y="12418"/>
                      </a:cubicBezTo>
                      <a:cubicBezTo>
                        <a:pt x="20616" y="12343"/>
                        <a:pt x="20582" y="12224"/>
                        <a:pt x="20557" y="12137"/>
                      </a:cubicBezTo>
                      <a:cubicBezTo>
                        <a:pt x="20531" y="12051"/>
                        <a:pt x="20528" y="11995"/>
                        <a:pt x="20534" y="11953"/>
                      </a:cubicBezTo>
                      <a:cubicBezTo>
                        <a:pt x="20450" y="11872"/>
                        <a:pt x="20363" y="11786"/>
                        <a:pt x="20330" y="11667"/>
                      </a:cubicBezTo>
                      <a:cubicBezTo>
                        <a:pt x="20294" y="11540"/>
                        <a:pt x="20338" y="11436"/>
                        <a:pt x="20381" y="11364"/>
                      </a:cubicBezTo>
                      <a:cubicBezTo>
                        <a:pt x="20375" y="11348"/>
                        <a:pt x="20367" y="11331"/>
                        <a:pt x="20361" y="11313"/>
                      </a:cubicBezTo>
                      <a:cubicBezTo>
                        <a:pt x="20335" y="11301"/>
                        <a:pt x="20307" y="11285"/>
                        <a:pt x="20280" y="11265"/>
                      </a:cubicBezTo>
                      <a:cubicBezTo>
                        <a:pt x="20202" y="11205"/>
                        <a:pt x="20148" y="11135"/>
                        <a:pt x="20104" y="11076"/>
                      </a:cubicBezTo>
                      <a:cubicBezTo>
                        <a:pt x="20044" y="11014"/>
                        <a:pt x="19990" y="10959"/>
                        <a:pt x="19950" y="10879"/>
                      </a:cubicBezTo>
                      <a:cubicBezTo>
                        <a:pt x="19924" y="10825"/>
                        <a:pt x="19910" y="10770"/>
                        <a:pt x="19909" y="10713"/>
                      </a:cubicBezTo>
                      <a:lnTo>
                        <a:pt x="19866" y="10686"/>
                      </a:lnTo>
                      <a:cubicBezTo>
                        <a:pt x="19825" y="10652"/>
                        <a:pt x="19800" y="10617"/>
                        <a:pt x="19784" y="10586"/>
                      </a:cubicBezTo>
                      <a:cubicBezTo>
                        <a:pt x="19727" y="10571"/>
                        <a:pt x="19683" y="10555"/>
                        <a:pt x="19642" y="10523"/>
                      </a:cubicBezTo>
                      <a:cubicBezTo>
                        <a:pt x="19614" y="10503"/>
                        <a:pt x="19592" y="10479"/>
                        <a:pt x="19576" y="10454"/>
                      </a:cubicBezTo>
                      <a:cubicBezTo>
                        <a:pt x="19459" y="10461"/>
                        <a:pt x="19360" y="10453"/>
                        <a:pt x="19286" y="10423"/>
                      </a:cubicBezTo>
                      <a:cubicBezTo>
                        <a:pt x="19168" y="10377"/>
                        <a:pt x="18955" y="10233"/>
                        <a:pt x="18890" y="10116"/>
                      </a:cubicBezTo>
                      <a:cubicBezTo>
                        <a:pt x="18846" y="10039"/>
                        <a:pt x="18842" y="9957"/>
                        <a:pt x="18858" y="9880"/>
                      </a:cubicBezTo>
                      <a:cubicBezTo>
                        <a:pt x="18851" y="9864"/>
                        <a:pt x="18845" y="9849"/>
                        <a:pt x="18842" y="9834"/>
                      </a:cubicBezTo>
                      <a:cubicBezTo>
                        <a:pt x="18751" y="9765"/>
                        <a:pt x="18732" y="9664"/>
                        <a:pt x="18725" y="9627"/>
                      </a:cubicBezTo>
                      <a:cubicBezTo>
                        <a:pt x="18708" y="9553"/>
                        <a:pt x="18706" y="9485"/>
                        <a:pt x="18716" y="9425"/>
                      </a:cubicBezTo>
                      <a:cubicBezTo>
                        <a:pt x="18710" y="9418"/>
                        <a:pt x="18706" y="9412"/>
                        <a:pt x="18701" y="9405"/>
                      </a:cubicBezTo>
                      <a:cubicBezTo>
                        <a:pt x="18639" y="9319"/>
                        <a:pt x="18625" y="9219"/>
                        <a:pt x="18621" y="9129"/>
                      </a:cubicBezTo>
                      <a:cubicBezTo>
                        <a:pt x="18586" y="9110"/>
                        <a:pt x="18553" y="9081"/>
                        <a:pt x="18525" y="9040"/>
                      </a:cubicBezTo>
                      <a:cubicBezTo>
                        <a:pt x="18466" y="9019"/>
                        <a:pt x="18364" y="8956"/>
                        <a:pt x="18344" y="8792"/>
                      </a:cubicBezTo>
                      <a:cubicBezTo>
                        <a:pt x="18338" y="8787"/>
                        <a:pt x="18332" y="8782"/>
                        <a:pt x="18326" y="8777"/>
                      </a:cubicBezTo>
                      <a:cubicBezTo>
                        <a:pt x="18283" y="8743"/>
                        <a:pt x="18239" y="8707"/>
                        <a:pt x="18209" y="8675"/>
                      </a:cubicBezTo>
                      <a:cubicBezTo>
                        <a:pt x="18108" y="8571"/>
                        <a:pt x="18083" y="8441"/>
                        <a:pt x="18135" y="8325"/>
                      </a:cubicBezTo>
                      <a:cubicBezTo>
                        <a:pt x="18135" y="8325"/>
                        <a:pt x="18135" y="8325"/>
                        <a:pt x="18134" y="8325"/>
                      </a:cubicBezTo>
                      <a:cubicBezTo>
                        <a:pt x="18091" y="8316"/>
                        <a:pt x="18053" y="8306"/>
                        <a:pt x="18024" y="8295"/>
                      </a:cubicBezTo>
                      <a:cubicBezTo>
                        <a:pt x="17973" y="8274"/>
                        <a:pt x="17856" y="8206"/>
                        <a:pt x="17766" y="8152"/>
                      </a:cubicBezTo>
                      <a:lnTo>
                        <a:pt x="17745" y="8140"/>
                      </a:lnTo>
                      <a:lnTo>
                        <a:pt x="17693" y="8144"/>
                      </a:lnTo>
                      <a:lnTo>
                        <a:pt x="17588" y="8134"/>
                      </a:lnTo>
                      <a:lnTo>
                        <a:pt x="17505" y="8078"/>
                      </a:lnTo>
                      <a:cubicBezTo>
                        <a:pt x="17390" y="8066"/>
                        <a:pt x="17272" y="8050"/>
                        <a:pt x="17159" y="7989"/>
                      </a:cubicBezTo>
                      <a:cubicBezTo>
                        <a:pt x="17067" y="7939"/>
                        <a:pt x="16885" y="7802"/>
                        <a:pt x="16825" y="7654"/>
                      </a:cubicBezTo>
                      <a:cubicBezTo>
                        <a:pt x="16681" y="7614"/>
                        <a:pt x="16505" y="7510"/>
                        <a:pt x="16443" y="7437"/>
                      </a:cubicBezTo>
                      <a:cubicBezTo>
                        <a:pt x="16423" y="7414"/>
                        <a:pt x="16357" y="7326"/>
                        <a:pt x="16370" y="7209"/>
                      </a:cubicBezTo>
                      <a:cubicBezTo>
                        <a:pt x="16346" y="7202"/>
                        <a:pt x="16323" y="7196"/>
                        <a:pt x="16297" y="7187"/>
                      </a:cubicBezTo>
                      <a:cubicBezTo>
                        <a:pt x="16087" y="7120"/>
                        <a:pt x="16007" y="6977"/>
                        <a:pt x="15973" y="6916"/>
                      </a:cubicBezTo>
                      <a:cubicBezTo>
                        <a:pt x="15947" y="6872"/>
                        <a:pt x="15931" y="6829"/>
                        <a:pt x="15923" y="6786"/>
                      </a:cubicBezTo>
                      <a:cubicBezTo>
                        <a:pt x="15915" y="6744"/>
                        <a:pt x="15916" y="6703"/>
                        <a:pt x="15925" y="6664"/>
                      </a:cubicBezTo>
                      <a:cubicBezTo>
                        <a:pt x="15910" y="6617"/>
                        <a:pt x="15903" y="6564"/>
                        <a:pt x="15914" y="6508"/>
                      </a:cubicBezTo>
                      <a:cubicBezTo>
                        <a:pt x="15734" y="6493"/>
                        <a:pt x="15651" y="6358"/>
                        <a:pt x="15622" y="6311"/>
                      </a:cubicBezTo>
                      <a:cubicBezTo>
                        <a:pt x="15590" y="6257"/>
                        <a:pt x="15589" y="6254"/>
                        <a:pt x="15501" y="6175"/>
                      </a:cubicBezTo>
                      <a:cubicBezTo>
                        <a:pt x="15474" y="6149"/>
                        <a:pt x="15429" y="6119"/>
                        <a:pt x="15365" y="6110"/>
                      </a:cubicBezTo>
                      <a:cubicBezTo>
                        <a:pt x="15325" y="6104"/>
                        <a:pt x="15294" y="6093"/>
                        <a:pt x="15262" y="6080"/>
                      </a:cubicBezTo>
                      <a:lnTo>
                        <a:pt x="15164" y="6095"/>
                      </a:lnTo>
                      <a:cubicBezTo>
                        <a:pt x="15032" y="6095"/>
                        <a:pt x="14941" y="6015"/>
                        <a:pt x="14881" y="5962"/>
                      </a:cubicBezTo>
                      <a:cubicBezTo>
                        <a:pt x="14840" y="5952"/>
                        <a:pt x="14790" y="5933"/>
                        <a:pt x="14741" y="5898"/>
                      </a:cubicBezTo>
                      <a:cubicBezTo>
                        <a:pt x="14637" y="5829"/>
                        <a:pt x="14605" y="5724"/>
                        <a:pt x="14588" y="5667"/>
                      </a:cubicBezTo>
                      <a:cubicBezTo>
                        <a:pt x="14585" y="5657"/>
                        <a:pt x="14566" y="5645"/>
                        <a:pt x="14549" y="5633"/>
                      </a:cubicBezTo>
                      <a:cubicBezTo>
                        <a:pt x="14515" y="5608"/>
                        <a:pt x="14479" y="5581"/>
                        <a:pt x="14448" y="5546"/>
                      </a:cubicBezTo>
                      <a:cubicBezTo>
                        <a:pt x="14392" y="5483"/>
                        <a:pt x="14374" y="5410"/>
                        <a:pt x="14361" y="5357"/>
                      </a:cubicBezTo>
                      <a:cubicBezTo>
                        <a:pt x="14358" y="5344"/>
                        <a:pt x="14355" y="5329"/>
                        <a:pt x="14349" y="5312"/>
                      </a:cubicBezTo>
                      <a:lnTo>
                        <a:pt x="14277" y="5290"/>
                      </a:lnTo>
                      <a:cubicBezTo>
                        <a:pt x="14226" y="5270"/>
                        <a:pt x="14143" y="5229"/>
                        <a:pt x="14083" y="5151"/>
                      </a:cubicBezTo>
                      <a:cubicBezTo>
                        <a:pt x="14073" y="5140"/>
                        <a:pt x="14015" y="5089"/>
                        <a:pt x="13995" y="5076"/>
                      </a:cubicBezTo>
                      <a:cubicBezTo>
                        <a:pt x="13955" y="5053"/>
                        <a:pt x="13808" y="4990"/>
                        <a:pt x="13771" y="4976"/>
                      </a:cubicBezTo>
                      <a:cubicBezTo>
                        <a:pt x="13703" y="4971"/>
                        <a:pt x="13591" y="4971"/>
                        <a:pt x="13448" y="4889"/>
                      </a:cubicBezTo>
                      <a:cubicBezTo>
                        <a:pt x="13392" y="4857"/>
                        <a:pt x="13308" y="4792"/>
                        <a:pt x="13229" y="4731"/>
                      </a:cubicBezTo>
                      <a:lnTo>
                        <a:pt x="13128" y="4653"/>
                      </a:lnTo>
                      <a:lnTo>
                        <a:pt x="12979" y="4646"/>
                      </a:lnTo>
                      <a:cubicBezTo>
                        <a:pt x="12876" y="4605"/>
                        <a:pt x="12825" y="4557"/>
                        <a:pt x="12779" y="4460"/>
                      </a:cubicBezTo>
                      <a:cubicBezTo>
                        <a:pt x="12761" y="4425"/>
                        <a:pt x="12688" y="4315"/>
                        <a:pt x="12645" y="4252"/>
                      </a:cubicBezTo>
                      <a:cubicBezTo>
                        <a:pt x="12619" y="4214"/>
                        <a:pt x="12581" y="4171"/>
                        <a:pt x="12552" y="4138"/>
                      </a:cubicBezTo>
                      <a:lnTo>
                        <a:pt x="12458" y="4081"/>
                      </a:lnTo>
                      <a:cubicBezTo>
                        <a:pt x="12403" y="4035"/>
                        <a:pt x="12375" y="3979"/>
                        <a:pt x="12360" y="3927"/>
                      </a:cubicBezTo>
                      <a:cubicBezTo>
                        <a:pt x="12332" y="3906"/>
                        <a:pt x="12297" y="3873"/>
                        <a:pt x="12259" y="3820"/>
                      </a:cubicBezTo>
                      <a:cubicBezTo>
                        <a:pt x="12220" y="3808"/>
                        <a:pt x="12186" y="3797"/>
                        <a:pt x="12152" y="3780"/>
                      </a:cubicBezTo>
                      <a:cubicBezTo>
                        <a:pt x="12022" y="3713"/>
                        <a:pt x="11961" y="3606"/>
                        <a:pt x="11884" y="3471"/>
                      </a:cubicBezTo>
                      <a:cubicBezTo>
                        <a:pt x="11816" y="3351"/>
                        <a:pt x="11785" y="3208"/>
                        <a:pt x="11769" y="3115"/>
                      </a:cubicBezTo>
                      <a:cubicBezTo>
                        <a:pt x="11765" y="3112"/>
                        <a:pt x="11762" y="3110"/>
                        <a:pt x="11758" y="3107"/>
                      </a:cubicBezTo>
                      <a:cubicBezTo>
                        <a:pt x="11706" y="3068"/>
                        <a:pt x="11651" y="3028"/>
                        <a:pt x="11610" y="2976"/>
                      </a:cubicBezTo>
                      <a:cubicBezTo>
                        <a:pt x="11570" y="2928"/>
                        <a:pt x="11544" y="2882"/>
                        <a:pt x="11526" y="2841"/>
                      </a:cubicBezTo>
                      <a:cubicBezTo>
                        <a:pt x="11507" y="2831"/>
                        <a:pt x="11488" y="2819"/>
                        <a:pt x="11471" y="2804"/>
                      </a:cubicBezTo>
                      <a:cubicBezTo>
                        <a:pt x="11434" y="2784"/>
                        <a:pt x="11379" y="2751"/>
                        <a:pt x="11337" y="2687"/>
                      </a:cubicBezTo>
                      <a:cubicBezTo>
                        <a:pt x="11326" y="2672"/>
                        <a:pt x="11264" y="2548"/>
                        <a:pt x="11208" y="2432"/>
                      </a:cubicBezTo>
                      <a:cubicBezTo>
                        <a:pt x="11187" y="2387"/>
                        <a:pt x="11167" y="2345"/>
                        <a:pt x="11152" y="2314"/>
                      </a:cubicBezTo>
                      <a:cubicBezTo>
                        <a:pt x="11130" y="2318"/>
                        <a:pt x="11107" y="2324"/>
                        <a:pt x="11083" y="2331"/>
                      </a:cubicBezTo>
                      <a:cubicBezTo>
                        <a:pt x="11020" y="2348"/>
                        <a:pt x="10984" y="2354"/>
                        <a:pt x="10953" y="2355"/>
                      </a:cubicBezTo>
                      <a:cubicBezTo>
                        <a:pt x="10874" y="2395"/>
                        <a:pt x="10776" y="2403"/>
                        <a:pt x="10680" y="2403"/>
                      </a:cubicBezTo>
                      <a:cubicBezTo>
                        <a:pt x="10528" y="2398"/>
                        <a:pt x="10444" y="2334"/>
                        <a:pt x="10389" y="2292"/>
                      </a:cubicBezTo>
                      <a:lnTo>
                        <a:pt x="10492" y="2038"/>
                      </a:lnTo>
                      <a:lnTo>
                        <a:pt x="10337" y="2260"/>
                      </a:lnTo>
                      <a:cubicBezTo>
                        <a:pt x="10275" y="2230"/>
                        <a:pt x="10208" y="2194"/>
                        <a:pt x="10144" y="2104"/>
                      </a:cubicBezTo>
                      <a:cubicBezTo>
                        <a:pt x="10154" y="2121"/>
                        <a:pt x="10132" y="2111"/>
                        <a:pt x="10114" y="2102"/>
                      </a:cubicBezTo>
                      <a:cubicBezTo>
                        <a:pt x="10077" y="2084"/>
                        <a:pt x="10041" y="2066"/>
                        <a:pt x="10009" y="2046"/>
                      </a:cubicBezTo>
                      <a:cubicBezTo>
                        <a:pt x="9944" y="2005"/>
                        <a:pt x="9888" y="1950"/>
                        <a:pt x="9842" y="1897"/>
                      </a:cubicBezTo>
                      <a:cubicBezTo>
                        <a:pt x="9806" y="1909"/>
                        <a:pt x="9769" y="1916"/>
                        <a:pt x="9727" y="1917"/>
                      </a:cubicBezTo>
                      <a:cubicBezTo>
                        <a:pt x="9713" y="1917"/>
                        <a:pt x="9698" y="1915"/>
                        <a:pt x="9683" y="1913"/>
                      </a:cubicBezTo>
                      <a:cubicBezTo>
                        <a:pt x="9679" y="1913"/>
                        <a:pt x="9677" y="1913"/>
                        <a:pt x="9672" y="1913"/>
                      </a:cubicBezTo>
                      <a:cubicBezTo>
                        <a:pt x="9600" y="1903"/>
                        <a:pt x="9512" y="1871"/>
                        <a:pt x="9440" y="1777"/>
                      </a:cubicBezTo>
                      <a:cubicBezTo>
                        <a:pt x="9434" y="1776"/>
                        <a:pt x="9426" y="1774"/>
                        <a:pt x="9420" y="1772"/>
                      </a:cubicBezTo>
                      <a:cubicBezTo>
                        <a:pt x="9324" y="1748"/>
                        <a:pt x="9257" y="1690"/>
                        <a:pt x="9215" y="1649"/>
                      </a:cubicBezTo>
                      <a:cubicBezTo>
                        <a:pt x="9193" y="1644"/>
                        <a:pt x="9174" y="1638"/>
                        <a:pt x="9156" y="1631"/>
                      </a:cubicBezTo>
                      <a:cubicBezTo>
                        <a:pt x="9062" y="1594"/>
                        <a:pt x="8931" y="1484"/>
                        <a:pt x="8871" y="1392"/>
                      </a:cubicBezTo>
                      <a:cubicBezTo>
                        <a:pt x="8749" y="1206"/>
                        <a:pt x="8855" y="1029"/>
                        <a:pt x="8889" y="971"/>
                      </a:cubicBezTo>
                      <a:cubicBezTo>
                        <a:pt x="8895" y="962"/>
                        <a:pt x="8900" y="954"/>
                        <a:pt x="8905" y="946"/>
                      </a:cubicBezTo>
                      <a:lnTo>
                        <a:pt x="8890" y="821"/>
                      </a:lnTo>
                      <a:cubicBezTo>
                        <a:pt x="8891" y="775"/>
                        <a:pt x="8908" y="688"/>
                        <a:pt x="8988" y="612"/>
                      </a:cubicBezTo>
                      <a:cubicBezTo>
                        <a:pt x="8993" y="600"/>
                        <a:pt x="8999" y="588"/>
                        <a:pt x="9005" y="576"/>
                      </a:cubicBezTo>
                      <a:cubicBezTo>
                        <a:pt x="9024" y="541"/>
                        <a:pt x="9048" y="510"/>
                        <a:pt x="9078" y="485"/>
                      </a:cubicBezTo>
                      <a:cubicBezTo>
                        <a:pt x="9087" y="450"/>
                        <a:pt x="9103" y="416"/>
                        <a:pt x="9123" y="384"/>
                      </a:cubicBezTo>
                      <a:cubicBezTo>
                        <a:pt x="9125" y="378"/>
                        <a:pt x="9134" y="351"/>
                        <a:pt x="9143" y="326"/>
                      </a:cubicBezTo>
                      <a:cubicBezTo>
                        <a:pt x="9163" y="268"/>
                        <a:pt x="9176" y="228"/>
                        <a:pt x="9203" y="190"/>
                      </a:cubicBezTo>
                      <a:cubicBezTo>
                        <a:pt x="9247" y="126"/>
                        <a:pt x="9312" y="89"/>
                        <a:pt x="9374" y="68"/>
                      </a:cubicBezTo>
                      <a:cubicBezTo>
                        <a:pt x="9392" y="44"/>
                        <a:pt x="9408" y="21"/>
                        <a:pt x="9424" y="0"/>
                      </a:cubicBezTo>
                      <a:cubicBezTo>
                        <a:pt x="9371" y="10"/>
                        <a:pt x="9316" y="20"/>
                        <a:pt x="9264" y="30"/>
                      </a:cubicBezTo>
                      <a:cubicBezTo>
                        <a:pt x="8608" y="156"/>
                        <a:pt x="7941" y="281"/>
                        <a:pt x="7261" y="403"/>
                      </a:cubicBezTo>
                      <a:close/>
                      <a:moveTo>
                        <a:pt x="7261" y="403"/>
                      </a:moveTo>
                    </a:path>
                  </a:pathLst>
                </a:custGeom>
                <a:solidFill>
                  <a:schemeClr val="accent6">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2400"/>
                    <a:buFontTx/>
                    <a:buNone/>
                    <a:tabLst/>
                    <a:defRPr/>
                  </a:pPr>
                  <a:endParaRPr kumimoji="0" sz="18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56" name="Google Shape;437;p54">
                  <a:extLst>
                    <a:ext uri="{FF2B5EF4-FFF2-40B4-BE49-F238E27FC236}">
                      <a16:creationId xmlns:a16="http://schemas.microsoft.com/office/drawing/2014/main" id="{EA42085D-C690-41A7-8B5A-BB772BD85EC9}"/>
                    </a:ext>
                  </a:extLst>
                </p:cNvPr>
                <p:cNvSpPr/>
                <p:nvPr/>
              </p:nvSpPr>
              <p:spPr>
                <a:xfrm>
                  <a:off x="6713736" y="3209115"/>
                  <a:ext cx="554310" cy="597348"/>
                </a:xfrm>
                <a:custGeom>
                  <a:avLst/>
                  <a:gdLst/>
                  <a:ahLst/>
                  <a:cxnLst/>
                  <a:rect l="l" t="t" r="r" b="b"/>
                  <a:pathLst>
                    <a:path w="21600" h="21600" extrusionOk="0">
                      <a:moveTo>
                        <a:pt x="907" y="14295"/>
                      </a:moveTo>
                      <a:lnTo>
                        <a:pt x="793" y="14335"/>
                      </a:lnTo>
                      <a:cubicBezTo>
                        <a:pt x="642" y="14387"/>
                        <a:pt x="434" y="14457"/>
                        <a:pt x="225" y="14575"/>
                      </a:cubicBezTo>
                      <a:cubicBezTo>
                        <a:pt x="148" y="14617"/>
                        <a:pt x="74" y="14652"/>
                        <a:pt x="0" y="14679"/>
                      </a:cubicBezTo>
                      <a:cubicBezTo>
                        <a:pt x="22" y="14700"/>
                        <a:pt x="37" y="14724"/>
                        <a:pt x="56" y="14747"/>
                      </a:cubicBezTo>
                      <a:cubicBezTo>
                        <a:pt x="71" y="14765"/>
                        <a:pt x="87" y="14781"/>
                        <a:pt x="100" y="14801"/>
                      </a:cubicBezTo>
                      <a:cubicBezTo>
                        <a:pt x="134" y="14856"/>
                        <a:pt x="160" y="14916"/>
                        <a:pt x="165" y="14986"/>
                      </a:cubicBezTo>
                      <a:lnTo>
                        <a:pt x="169" y="15060"/>
                      </a:lnTo>
                      <a:lnTo>
                        <a:pt x="151" y="15122"/>
                      </a:lnTo>
                      <a:cubicBezTo>
                        <a:pt x="219" y="15276"/>
                        <a:pt x="278" y="15479"/>
                        <a:pt x="136" y="15656"/>
                      </a:cubicBezTo>
                      <a:cubicBezTo>
                        <a:pt x="144" y="15682"/>
                        <a:pt x="150" y="15709"/>
                        <a:pt x="154" y="15737"/>
                      </a:cubicBezTo>
                      <a:cubicBezTo>
                        <a:pt x="162" y="15794"/>
                        <a:pt x="163" y="15858"/>
                        <a:pt x="156" y="15923"/>
                      </a:cubicBezTo>
                      <a:cubicBezTo>
                        <a:pt x="148" y="15988"/>
                        <a:pt x="133" y="16053"/>
                        <a:pt x="110" y="16116"/>
                      </a:cubicBezTo>
                      <a:cubicBezTo>
                        <a:pt x="211" y="16156"/>
                        <a:pt x="305" y="16215"/>
                        <a:pt x="361" y="16322"/>
                      </a:cubicBezTo>
                      <a:cubicBezTo>
                        <a:pt x="504" y="16421"/>
                        <a:pt x="645" y="16582"/>
                        <a:pt x="724" y="16713"/>
                      </a:cubicBezTo>
                      <a:cubicBezTo>
                        <a:pt x="740" y="16739"/>
                        <a:pt x="751" y="16759"/>
                        <a:pt x="761" y="16775"/>
                      </a:cubicBezTo>
                      <a:cubicBezTo>
                        <a:pt x="1168" y="16907"/>
                        <a:pt x="1210" y="17152"/>
                        <a:pt x="1197" y="17291"/>
                      </a:cubicBezTo>
                      <a:cubicBezTo>
                        <a:pt x="1195" y="17316"/>
                        <a:pt x="1190" y="17342"/>
                        <a:pt x="1185" y="17369"/>
                      </a:cubicBezTo>
                      <a:lnTo>
                        <a:pt x="1306" y="17438"/>
                      </a:lnTo>
                      <a:cubicBezTo>
                        <a:pt x="1425" y="17524"/>
                        <a:pt x="1592" y="17735"/>
                        <a:pt x="1665" y="17850"/>
                      </a:cubicBezTo>
                      <a:cubicBezTo>
                        <a:pt x="1702" y="17910"/>
                        <a:pt x="1727" y="17952"/>
                        <a:pt x="1746" y="17982"/>
                      </a:cubicBezTo>
                      <a:lnTo>
                        <a:pt x="1765" y="17988"/>
                      </a:lnTo>
                      <a:cubicBezTo>
                        <a:pt x="1991" y="18085"/>
                        <a:pt x="2089" y="18131"/>
                        <a:pt x="2162" y="18193"/>
                      </a:cubicBezTo>
                      <a:cubicBezTo>
                        <a:pt x="2353" y="18348"/>
                        <a:pt x="2402" y="18493"/>
                        <a:pt x="2397" y="18606"/>
                      </a:cubicBezTo>
                      <a:cubicBezTo>
                        <a:pt x="2461" y="18679"/>
                        <a:pt x="2507" y="18742"/>
                        <a:pt x="2538" y="18813"/>
                      </a:cubicBezTo>
                      <a:lnTo>
                        <a:pt x="2539" y="18815"/>
                      </a:lnTo>
                      <a:cubicBezTo>
                        <a:pt x="2619" y="18815"/>
                        <a:pt x="2730" y="18828"/>
                        <a:pt x="2800" y="18858"/>
                      </a:cubicBezTo>
                      <a:cubicBezTo>
                        <a:pt x="2832" y="18851"/>
                        <a:pt x="2865" y="18847"/>
                        <a:pt x="2903" y="18847"/>
                      </a:cubicBezTo>
                      <a:lnTo>
                        <a:pt x="3056" y="18847"/>
                      </a:lnTo>
                      <a:lnTo>
                        <a:pt x="3191" y="18951"/>
                      </a:lnTo>
                      <a:cubicBezTo>
                        <a:pt x="3270" y="19015"/>
                        <a:pt x="3321" y="19101"/>
                        <a:pt x="3369" y="19183"/>
                      </a:cubicBezTo>
                      <a:cubicBezTo>
                        <a:pt x="3539" y="19213"/>
                        <a:pt x="3634" y="19286"/>
                        <a:pt x="3687" y="19359"/>
                      </a:cubicBezTo>
                      <a:cubicBezTo>
                        <a:pt x="3805" y="19374"/>
                        <a:pt x="3880" y="19405"/>
                        <a:pt x="3930" y="19436"/>
                      </a:cubicBezTo>
                      <a:cubicBezTo>
                        <a:pt x="3932" y="19435"/>
                        <a:pt x="3934" y="19435"/>
                        <a:pt x="3937" y="19434"/>
                      </a:cubicBezTo>
                      <a:cubicBezTo>
                        <a:pt x="3968" y="19429"/>
                        <a:pt x="4005" y="19423"/>
                        <a:pt x="4041" y="19417"/>
                      </a:cubicBezTo>
                      <a:lnTo>
                        <a:pt x="4049" y="19406"/>
                      </a:lnTo>
                      <a:lnTo>
                        <a:pt x="4194" y="19396"/>
                      </a:lnTo>
                      <a:cubicBezTo>
                        <a:pt x="4205" y="19394"/>
                        <a:pt x="4217" y="19391"/>
                        <a:pt x="4227" y="19391"/>
                      </a:cubicBezTo>
                      <a:lnTo>
                        <a:pt x="5127" y="19312"/>
                      </a:lnTo>
                      <a:lnTo>
                        <a:pt x="4833" y="19672"/>
                      </a:lnTo>
                      <a:cubicBezTo>
                        <a:pt x="4868" y="19725"/>
                        <a:pt x="4897" y="19784"/>
                        <a:pt x="4908" y="19851"/>
                      </a:cubicBezTo>
                      <a:cubicBezTo>
                        <a:pt x="4922" y="19930"/>
                        <a:pt x="4915" y="20008"/>
                        <a:pt x="4887" y="20080"/>
                      </a:cubicBezTo>
                      <a:cubicBezTo>
                        <a:pt x="4990" y="20156"/>
                        <a:pt x="5051" y="20264"/>
                        <a:pt x="5051" y="20387"/>
                      </a:cubicBezTo>
                      <a:lnTo>
                        <a:pt x="5039" y="20390"/>
                      </a:lnTo>
                      <a:cubicBezTo>
                        <a:pt x="5093" y="20477"/>
                        <a:pt x="5122" y="20584"/>
                        <a:pt x="5122" y="20701"/>
                      </a:cubicBezTo>
                      <a:cubicBezTo>
                        <a:pt x="5275" y="20744"/>
                        <a:pt x="5437" y="20800"/>
                        <a:pt x="5543" y="20916"/>
                      </a:cubicBezTo>
                      <a:cubicBezTo>
                        <a:pt x="5586" y="20909"/>
                        <a:pt x="5635" y="20904"/>
                        <a:pt x="5686" y="20904"/>
                      </a:cubicBezTo>
                      <a:lnTo>
                        <a:pt x="5803" y="20913"/>
                      </a:lnTo>
                      <a:cubicBezTo>
                        <a:pt x="6023" y="20950"/>
                        <a:pt x="6240" y="21107"/>
                        <a:pt x="6444" y="21266"/>
                      </a:cubicBezTo>
                      <a:lnTo>
                        <a:pt x="6250" y="21600"/>
                      </a:lnTo>
                      <a:lnTo>
                        <a:pt x="6452" y="21374"/>
                      </a:lnTo>
                      <a:lnTo>
                        <a:pt x="6450" y="21342"/>
                      </a:lnTo>
                      <a:cubicBezTo>
                        <a:pt x="6459" y="21341"/>
                        <a:pt x="6472" y="21339"/>
                        <a:pt x="6488" y="21335"/>
                      </a:cubicBezTo>
                      <a:lnTo>
                        <a:pt x="6507" y="21314"/>
                      </a:lnTo>
                      <a:cubicBezTo>
                        <a:pt x="6513" y="21318"/>
                        <a:pt x="6519" y="21324"/>
                        <a:pt x="6524" y="21328"/>
                      </a:cubicBezTo>
                      <a:cubicBezTo>
                        <a:pt x="6624" y="21306"/>
                        <a:pt x="6785" y="21266"/>
                        <a:pt x="6887" y="21237"/>
                      </a:cubicBezTo>
                      <a:cubicBezTo>
                        <a:pt x="6920" y="21227"/>
                        <a:pt x="6948" y="21218"/>
                        <a:pt x="6964" y="21211"/>
                      </a:cubicBezTo>
                      <a:cubicBezTo>
                        <a:pt x="6964" y="21208"/>
                        <a:pt x="6981" y="21195"/>
                        <a:pt x="7001" y="21179"/>
                      </a:cubicBezTo>
                      <a:cubicBezTo>
                        <a:pt x="7018" y="21075"/>
                        <a:pt x="7068" y="20951"/>
                        <a:pt x="7209" y="20869"/>
                      </a:cubicBezTo>
                      <a:cubicBezTo>
                        <a:pt x="7261" y="20837"/>
                        <a:pt x="7317" y="20819"/>
                        <a:pt x="7369" y="20804"/>
                      </a:cubicBezTo>
                      <a:cubicBezTo>
                        <a:pt x="7399" y="20771"/>
                        <a:pt x="7443" y="20728"/>
                        <a:pt x="7503" y="20693"/>
                      </a:cubicBezTo>
                      <a:cubicBezTo>
                        <a:pt x="7525" y="20588"/>
                        <a:pt x="7573" y="20477"/>
                        <a:pt x="7687" y="20382"/>
                      </a:cubicBezTo>
                      <a:cubicBezTo>
                        <a:pt x="7812" y="20161"/>
                        <a:pt x="7980" y="20117"/>
                        <a:pt x="8102" y="20117"/>
                      </a:cubicBezTo>
                      <a:lnTo>
                        <a:pt x="8254" y="20117"/>
                      </a:lnTo>
                      <a:lnTo>
                        <a:pt x="8413" y="20232"/>
                      </a:lnTo>
                      <a:cubicBezTo>
                        <a:pt x="8470" y="20274"/>
                        <a:pt x="8771" y="20445"/>
                        <a:pt x="8976" y="20557"/>
                      </a:cubicBezTo>
                      <a:cubicBezTo>
                        <a:pt x="9117" y="20465"/>
                        <a:pt x="9305" y="20346"/>
                        <a:pt x="9494" y="20252"/>
                      </a:cubicBezTo>
                      <a:lnTo>
                        <a:pt x="9677" y="20161"/>
                      </a:lnTo>
                      <a:cubicBezTo>
                        <a:pt x="10006" y="19997"/>
                        <a:pt x="10143" y="19929"/>
                        <a:pt x="10299" y="19929"/>
                      </a:cubicBezTo>
                      <a:lnTo>
                        <a:pt x="10379" y="19929"/>
                      </a:lnTo>
                      <a:cubicBezTo>
                        <a:pt x="10382" y="19928"/>
                        <a:pt x="10384" y="19925"/>
                        <a:pt x="10387" y="19923"/>
                      </a:cubicBezTo>
                      <a:cubicBezTo>
                        <a:pt x="10411" y="19907"/>
                        <a:pt x="10436" y="19888"/>
                        <a:pt x="10461" y="19870"/>
                      </a:cubicBezTo>
                      <a:cubicBezTo>
                        <a:pt x="10381" y="19759"/>
                        <a:pt x="10364" y="19642"/>
                        <a:pt x="10406" y="19517"/>
                      </a:cubicBezTo>
                      <a:cubicBezTo>
                        <a:pt x="10423" y="19468"/>
                        <a:pt x="10443" y="19429"/>
                        <a:pt x="10462" y="19397"/>
                      </a:cubicBezTo>
                      <a:cubicBezTo>
                        <a:pt x="10453" y="19325"/>
                        <a:pt x="10459" y="19206"/>
                        <a:pt x="10557" y="19096"/>
                      </a:cubicBezTo>
                      <a:lnTo>
                        <a:pt x="10677" y="18959"/>
                      </a:lnTo>
                      <a:lnTo>
                        <a:pt x="10894" y="18949"/>
                      </a:lnTo>
                      <a:cubicBezTo>
                        <a:pt x="11057" y="18964"/>
                        <a:pt x="11157" y="19006"/>
                        <a:pt x="11254" y="19047"/>
                      </a:cubicBezTo>
                      <a:lnTo>
                        <a:pt x="11253" y="19055"/>
                      </a:lnTo>
                      <a:cubicBezTo>
                        <a:pt x="11255" y="19055"/>
                        <a:pt x="11258" y="19055"/>
                        <a:pt x="11260" y="19055"/>
                      </a:cubicBezTo>
                      <a:cubicBezTo>
                        <a:pt x="11361" y="19055"/>
                        <a:pt x="11442" y="19074"/>
                        <a:pt x="11507" y="19101"/>
                      </a:cubicBezTo>
                      <a:cubicBezTo>
                        <a:pt x="11615" y="19030"/>
                        <a:pt x="11737" y="18941"/>
                        <a:pt x="11782" y="18886"/>
                      </a:cubicBezTo>
                      <a:cubicBezTo>
                        <a:pt x="11788" y="18878"/>
                        <a:pt x="12365" y="18209"/>
                        <a:pt x="12777" y="18209"/>
                      </a:cubicBezTo>
                      <a:lnTo>
                        <a:pt x="12922" y="18209"/>
                      </a:lnTo>
                      <a:lnTo>
                        <a:pt x="13057" y="18302"/>
                      </a:lnTo>
                      <a:cubicBezTo>
                        <a:pt x="13075" y="18315"/>
                        <a:pt x="13091" y="18329"/>
                        <a:pt x="13105" y="18343"/>
                      </a:cubicBezTo>
                      <a:cubicBezTo>
                        <a:pt x="13181" y="18271"/>
                        <a:pt x="13292" y="18173"/>
                        <a:pt x="13389" y="18087"/>
                      </a:cubicBezTo>
                      <a:cubicBezTo>
                        <a:pt x="13344" y="18031"/>
                        <a:pt x="13310" y="17962"/>
                        <a:pt x="13301" y="17878"/>
                      </a:cubicBezTo>
                      <a:lnTo>
                        <a:pt x="13282" y="17673"/>
                      </a:lnTo>
                      <a:lnTo>
                        <a:pt x="13468" y="17530"/>
                      </a:lnTo>
                      <a:cubicBezTo>
                        <a:pt x="13489" y="17513"/>
                        <a:pt x="13533" y="17474"/>
                        <a:pt x="13582" y="17426"/>
                      </a:cubicBezTo>
                      <a:cubicBezTo>
                        <a:pt x="13561" y="17408"/>
                        <a:pt x="13542" y="17387"/>
                        <a:pt x="13524" y="17364"/>
                      </a:cubicBezTo>
                      <a:cubicBezTo>
                        <a:pt x="13375" y="17193"/>
                        <a:pt x="13183" y="16974"/>
                        <a:pt x="13318" y="16717"/>
                      </a:cubicBezTo>
                      <a:cubicBezTo>
                        <a:pt x="13345" y="16668"/>
                        <a:pt x="13377" y="16629"/>
                        <a:pt x="13413" y="16589"/>
                      </a:cubicBezTo>
                      <a:cubicBezTo>
                        <a:pt x="13332" y="16392"/>
                        <a:pt x="13435" y="16223"/>
                        <a:pt x="13494" y="16149"/>
                      </a:cubicBezTo>
                      <a:cubicBezTo>
                        <a:pt x="13498" y="16145"/>
                        <a:pt x="13502" y="16141"/>
                        <a:pt x="13505" y="16137"/>
                      </a:cubicBezTo>
                      <a:cubicBezTo>
                        <a:pt x="13493" y="16025"/>
                        <a:pt x="13536" y="15913"/>
                        <a:pt x="13610" y="15829"/>
                      </a:cubicBezTo>
                      <a:cubicBezTo>
                        <a:pt x="13695" y="15732"/>
                        <a:pt x="13717" y="15693"/>
                        <a:pt x="13723" y="15681"/>
                      </a:cubicBezTo>
                      <a:cubicBezTo>
                        <a:pt x="13731" y="15525"/>
                        <a:pt x="13749" y="15320"/>
                        <a:pt x="13886" y="15174"/>
                      </a:cubicBezTo>
                      <a:cubicBezTo>
                        <a:pt x="13911" y="15146"/>
                        <a:pt x="13963" y="15098"/>
                        <a:pt x="14018" y="15048"/>
                      </a:cubicBezTo>
                      <a:cubicBezTo>
                        <a:pt x="14054" y="15015"/>
                        <a:pt x="14094" y="14981"/>
                        <a:pt x="14118" y="14955"/>
                      </a:cubicBezTo>
                      <a:cubicBezTo>
                        <a:pt x="14118" y="14951"/>
                        <a:pt x="14159" y="14887"/>
                        <a:pt x="14214" y="14804"/>
                      </a:cubicBezTo>
                      <a:cubicBezTo>
                        <a:pt x="14292" y="14686"/>
                        <a:pt x="14520" y="14342"/>
                        <a:pt x="14584" y="14219"/>
                      </a:cubicBezTo>
                      <a:cubicBezTo>
                        <a:pt x="14596" y="14086"/>
                        <a:pt x="14630" y="13840"/>
                        <a:pt x="14670" y="13710"/>
                      </a:cubicBezTo>
                      <a:cubicBezTo>
                        <a:pt x="14579" y="13564"/>
                        <a:pt x="14598" y="13434"/>
                        <a:pt x="14640" y="13337"/>
                      </a:cubicBezTo>
                      <a:cubicBezTo>
                        <a:pt x="14656" y="13304"/>
                        <a:pt x="14677" y="13265"/>
                        <a:pt x="14699" y="13224"/>
                      </a:cubicBezTo>
                      <a:cubicBezTo>
                        <a:pt x="14703" y="13219"/>
                        <a:pt x="14706" y="13214"/>
                        <a:pt x="14708" y="13208"/>
                      </a:cubicBezTo>
                      <a:cubicBezTo>
                        <a:pt x="14686" y="13129"/>
                        <a:pt x="14699" y="13026"/>
                        <a:pt x="14754" y="12931"/>
                      </a:cubicBezTo>
                      <a:cubicBezTo>
                        <a:pt x="14796" y="12864"/>
                        <a:pt x="15038" y="12488"/>
                        <a:pt x="15120" y="12397"/>
                      </a:cubicBezTo>
                      <a:cubicBezTo>
                        <a:pt x="15129" y="12386"/>
                        <a:pt x="15138" y="12376"/>
                        <a:pt x="15149" y="12365"/>
                      </a:cubicBezTo>
                      <a:cubicBezTo>
                        <a:pt x="15113" y="12293"/>
                        <a:pt x="15105" y="12222"/>
                        <a:pt x="15109" y="12162"/>
                      </a:cubicBezTo>
                      <a:cubicBezTo>
                        <a:pt x="15117" y="12030"/>
                        <a:pt x="15162" y="11872"/>
                        <a:pt x="15260" y="11754"/>
                      </a:cubicBezTo>
                      <a:cubicBezTo>
                        <a:pt x="15260" y="11685"/>
                        <a:pt x="15280" y="11593"/>
                        <a:pt x="15355" y="11508"/>
                      </a:cubicBezTo>
                      <a:lnTo>
                        <a:pt x="15468" y="11378"/>
                      </a:lnTo>
                      <a:cubicBezTo>
                        <a:pt x="15478" y="11319"/>
                        <a:pt x="15496" y="11256"/>
                        <a:pt x="15529" y="11195"/>
                      </a:cubicBezTo>
                      <a:cubicBezTo>
                        <a:pt x="15550" y="11157"/>
                        <a:pt x="15564" y="11132"/>
                        <a:pt x="15574" y="11113"/>
                      </a:cubicBezTo>
                      <a:cubicBezTo>
                        <a:pt x="15491" y="10949"/>
                        <a:pt x="15418" y="10779"/>
                        <a:pt x="15503" y="10597"/>
                      </a:cubicBezTo>
                      <a:cubicBezTo>
                        <a:pt x="15514" y="10569"/>
                        <a:pt x="15530" y="10542"/>
                        <a:pt x="15547" y="10518"/>
                      </a:cubicBezTo>
                      <a:cubicBezTo>
                        <a:pt x="15546" y="10510"/>
                        <a:pt x="15544" y="10502"/>
                        <a:pt x="15543" y="10495"/>
                      </a:cubicBezTo>
                      <a:cubicBezTo>
                        <a:pt x="15522" y="10403"/>
                        <a:pt x="15488" y="10254"/>
                        <a:pt x="15550" y="10115"/>
                      </a:cubicBezTo>
                      <a:cubicBezTo>
                        <a:pt x="15565" y="9969"/>
                        <a:pt x="15598" y="9767"/>
                        <a:pt x="15814" y="9670"/>
                      </a:cubicBezTo>
                      <a:lnTo>
                        <a:pt x="15897" y="9633"/>
                      </a:lnTo>
                      <a:lnTo>
                        <a:pt x="16004" y="9630"/>
                      </a:lnTo>
                      <a:cubicBezTo>
                        <a:pt x="16116" y="9630"/>
                        <a:pt x="16231" y="9664"/>
                        <a:pt x="16449" y="9735"/>
                      </a:cubicBezTo>
                      <a:lnTo>
                        <a:pt x="16547" y="9766"/>
                      </a:lnTo>
                      <a:cubicBezTo>
                        <a:pt x="16619" y="9768"/>
                        <a:pt x="16755" y="9777"/>
                        <a:pt x="16915" y="9876"/>
                      </a:cubicBezTo>
                      <a:cubicBezTo>
                        <a:pt x="17077" y="9975"/>
                        <a:pt x="17219" y="10150"/>
                        <a:pt x="17348" y="10324"/>
                      </a:cubicBezTo>
                      <a:cubicBezTo>
                        <a:pt x="17378" y="10362"/>
                        <a:pt x="17400" y="10390"/>
                        <a:pt x="17416" y="10410"/>
                      </a:cubicBezTo>
                      <a:cubicBezTo>
                        <a:pt x="17605" y="10422"/>
                        <a:pt x="17867" y="10441"/>
                        <a:pt x="17961" y="10459"/>
                      </a:cubicBezTo>
                      <a:cubicBezTo>
                        <a:pt x="17976" y="10462"/>
                        <a:pt x="17990" y="10465"/>
                        <a:pt x="18003" y="10468"/>
                      </a:cubicBezTo>
                      <a:cubicBezTo>
                        <a:pt x="18007" y="10460"/>
                        <a:pt x="18011" y="10454"/>
                        <a:pt x="18014" y="10449"/>
                      </a:cubicBezTo>
                      <a:cubicBezTo>
                        <a:pt x="18089" y="10257"/>
                        <a:pt x="18125" y="10177"/>
                        <a:pt x="18177" y="10112"/>
                      </a:cubicBezTo>
                      <a:cubicBezTo>
                        <a:pt x="18163" y="9973"/>
                        <a:pt x="18162" y="9812"/>
                        <a:pt x="18242" y="9674"/>
                      </a:cubicBezTo>
                      <a:cubicBezTo>
                        <a:pt x="18280" y="9605"/>
                        <a:pt x="18319" y="9527"/>
                        <a:pt x="18336" y="9485"/>
                      </a:cubicBezTo>
                      <a:cubicBezTo>
                        <a:pt x="18321" y="9523"/>
                        <a:pt x="18319" y="9466"/>
                        <a:pt x="18318" y="9401"/>
                      </a:cubicBezTo>
                      <a:cubicBezTo>
                        <a:pt x="18315" y="9130"/>
                        <a:pt x="18315" y="8994"/>
                        <a:pt x="18379" y="8877"/>
                      </a:cubicBezTo>
                      <a:cubicBezTo>
                        <a:pt x="18417" y="8808"/>
                        <a:pt x="18469" y="8756"/>
                        <a:pt x="18522" y="8715"/>
                      </a:cubicBezTo>
                      <a:cubicBezTo>
                        <a:pt x="18478" y="8613"/>
                        <a:pt x="18467" y="8493"/>
                        <a:pt x="18550" y="8367"/>
                      </a:cubicBezTo>
                      <a:cubicBezTo>
                        <a:pt x="18546" y="8366"/>
                        <a:pt x="18584" y="8251"/>
                        <a:pt x="18598" y="8193"/>
                      </a:cubicBezTo>
                      <a:cubicBezTo>
                        <a:pt x="18585" y="8037"/>
                        <a:pt x="18571" y="7791"/>
                        <a:pt x="18789" y="7654"/>
                      </a:cubicBezTo>
                      <a:cubicBezTo>
                        <a:pt x="18798" y="7624"/>
                        <a:pt x="18810" y="7592"/>
                        <a:pt x="18825" y="7562"/>
                      </a:cubicBezTo>
                      <a:cubicBezTo>
                        <a:pt x="18833" y="7520"/>
                        <a:pt x="18854" y="7446"/>
                        <a:pt x="18912" y="7331"/>
                      </a:cubicBezTo>
                      <a:lnTo>
                        <a:pt x="19100" y="6959"/>
                      </a:lnTo>
                      <a:lnTo>
                        <a:pt x="19826" y="7359"/>
                      </a:lnTo>
                      <a:cubicBezTo>
                        <a:pt x="19845" y="7280"/>
                        <a:pt x="19881" y="7137"/>
                        <a:pt x="19889" y="7107"/>
                      </a:cubicBezTo>
                      <a:cubicBezTo>
                        <a:pt x="19909" y="6996"/>
                        <a:pt x="19935" y="6847"/>
                        <a:pt x="20054" y="6729"/>
                      </a:cubicBezTo>
                      <a:lnTo>
                        <a:pt x="20107" y="6681"/>
                      </a:lnTo>
                      <a:cubicBezTo>
                        <a:pt x="20131" y="6569"/>
                        <a:pt x="20190" y="6414"/>
                        <a:pt x="20370" y="6333"/>
                      </a:cubicBezTo>
                      <a:cubicBezTo>
                        <a:pt x="20371" y="6324"/>
                        <a:pt x="20458" y="6255"/>
                        <a:pt x="20597" y="6245"/>
                      </a:cubicBezTo>
                      <a:cubicBezTo>
                        <a:pt x="20645" y="6105"/>
                        <a:pt x="20737" y="5943"/>
                        <a:pt x="20912" y="5872"/>
                      </a:cubicBezTo>
                      <a:lnTo>
                        <a:pt x="20856" y="5736"/>
                      </a:lnTo>
                      <a:lnTo>
                        <a:pt x="20964" y="5543"/>
                      </a:lnTo>
                      <a:cubicBezTo>
                        <a:pt x="20995" y="5496"/>
                        <a:pt x="21063" y="5407"/>
                        <a:pt x="21124" y="5328"/>
                      </a:cubicBezTo>
                      <a:cubicBezTo>
                        <a:pt x="21159" y="5283"/>
                        <a:pt x="21192" y="5243"/>
                        <a:pt x="21206" y="5221"/>
                      </a:cubicBezTo>
                      <a:cubicBezTo>
                        <a:pt x="21230" y="5134"/>
                        <a:pt x="21264" y="5038"/>
                        <a:pt x="21325" y="4956"/>
                      </a:cubicBezTo>
                      <a:cubicBezTo>
                        <a:pt x="21369" y="4896"/>
                        <a:pt x="21425" y="4849"/>
                        <a:pt x="21480" y="4805"/>
                      </a:cubicBezTo>
                      <a:cubicBezTo>
                        <a:pt x="21481" y="4793"/>
                        <a:pt x="21482" y="4780"/>
                        <a:pt x="21485" y="4767"/>
                      </a:cubicBezTo>
                      <a:cubicBezTo>
                        <a:pt x="21482" y="4765"/>
                        <a:pt x="21481" y="4762"/>
                        <a:pt x="21479" y="4760"/>
                      </a:cubicBezTo>
                      <a:cubicBezTo>
                        <a:pt x="21348" y="4592"/>
                        <a:pt x="21323" y="4391"/>
                        <a:pt x="21401" y="4227"/>
                      </a:cubicBezTo>
                      <a:lnTo>
                        <a:pt x="21301" y="4015"/>
                      </a:lnTo>
                      <a:lnTo>
                        <a:pt x="21436" y="3830"/>
                      </a:lnTo>
                      <a:cubicBezTo>
                        <a:pt x="21454" y="3801"/>
                        <a:pt x="21533" y="3655"/>
                        <a:pt x="21600" y="3526"/>
                      </a:cubicBezTo>
                      <a:cubicBezTo>
                        <a:pt x="21499" y="3411"/>
                        <a:pt x="21496" y="3296"/>
                        <a:pt x="21517" y="3206"/>
                      </a:cubicBezTo>
                      <a:lnTo>
                        <a:pt x="21521" y="3189"/>
                      </a:lnTo>
                      <a:lnTo>
                        <a:pt x="21362" y="3068"/>
                      </a:lnTo>
                      <a:lnTo>
                        <a:pt x="21465" y="2838"/>
                      </a:lnTo>
                      <a:cubicBezTo>
                        <a:pt x="21450" y="2795"/>
                        <a:pt x="21440" y="2745"/>
                        <a:pt x="21440" y="2688"/>
                      </a:cubicBezTo>
                      <a:cubicBezTo>
                        <a:pt x="21440" y="2635"/>
                        <a:pt x="21449" y="2586"/>
                        <a:pt x="21466" y="2541"/>
                      </a:cubicBezTo>
                      <a:cubicBezTo>
                        <a:pt x="21470" y="2527"/>
                        <a:pt x="21480" y="2516"/>
                        <a:pt x="21486" y="2502"/>
                      </a:cubicBezTo>
                      <a:cubicBezTo>
                        <a:pt x="21500" y="2473"/>
                        <a:pt x="21514" y="2444"/>
                        <a:pt x="21532" y="2419"/>
                      </a:cubicBezTo>
                      <a:cubicBezTo>
                        <a:pt x="21533" y="2417"/>
                        <a:pt x="21533" y="2416"/>
                        <a:pt x="21534" y="2415"/>
                      </a:cubicBezTo>
                      <a:lnTo>
                        <a:pt x="21484" y="2428"/>
                      </a:lnTo>
                      <a:cubicBezTo>
                        <a:pt x="21401" y="2660"/>
                        <a:pt x="21202" y="2699"/>
                        <a:pt x="21103" y="2704"/>
                      </a:cubicBezTo>
                      <a:lnTo>
                        <a:pt x="21082" y="2705"/>
                      </a:lnTo>
                      <a:lnTo>
                        <a:pt x="20902" y="2698"/>
                      </a:lnTo>
                      <a:cubicBezTo>
                        <a:pt x="20790" y="2755"/>
                        <a:pt x="20633" y="2804"/>
                        <a:pt x="20496" y="2804"/>
                      </a:cubicBezTo>
                      <a:lnTo>
                        <a:pt x="20351" y="2784"/>
                      </a:lnTo>
                      <a:cubicBezTo>
                        <a:pt x="20313" y="2773"/>
                        <a:pt x="20280" y="2762"/>
                        <a:pt x="20253" y="2755"/>
                      </a:cubicBezTo>
                      <a:cubicBezTo>
                        <a:pt x="20207" y="2773"/>
                        <a:pt x="20145" y="2793"/>
                        <a:pt x="20071" y="2799"/>
                      </a:cubicBezTo>
                      <a:cubicBezTo>
                        <a:pt x="19901" y="2792"/>
                        <a:pt x="19589" y="2757"/>
                        <a:pt x="19387" y="2630"/>
                      </a:cubicBezTo>
                      <a:lnTo>
                        <a:pt x="19386" y="2630"/>
                      </a:lnTo>
                      <a:lnTo>
                        <a:pt x="19287" y="2780"/>
                      </a:lnTo>
                      <a:lnTo>
                        <a:pt x="19209" y="2783"/>
                      </a:lnTo>
                      <a:cubicBezTo>
                        <a:pt x="19158" y="2934"/>
                        <a:pt x="19098" y="3060"/>
                        <a:pt x="19008" y="3149"/>
                      </a:cubicBezTo>
                      <a:cubicBezTo>
                        <a:pt x="18971" y="3185"/>
                        <a:pt x="18926" y="3221"/>
                        <a:pt x="18881" y="3257"/>
                      </a:cubicBezTo>
                      <a:cubicBezTo>
                        <a:pt x="18887" y="3327"/>
                        <a:pt x="18887" y="3402"/>
                        <a:pt x="18872" y="3475"/>
                      </a:cubicBezTo>
                      <a:cubicBezTo>
                        <a:pt x="18856" y="3548"/>
                        <a:pt x="18822" y="3619"/>
                        <a:pt x="18762" y="3683"/>
                      </a:cubicBezTo>
                      <a:lnTo>
                        <a:pt x="18642" y="3808"/>
                      </a:lnTo>
                      <a:lnTo>
                        <a:pt x="18358" y="3821"/>
                      </a:lnTo>
                      <a:lnTo>
                        <a:pt x="18152" y="3754"/>
                      </a:lnTo>
                      <a:cubicBezTo>
                        <a:pt x="18097" y="3734"/>
                        <a:pt x="18033" y="3710"/>
                        <a:pt x="17975" y="3690"/>
                      </a:cubicBezTo>
                      <a:cubicBezTo>
                        <a:pt x="17939" y="3817"/>
                        <a:pt x="17887" y="3954"/>
                        <a:pt x="17818" y="4028"/>
                      </a:cubicBezTo>
                      <a:cubicBezTo>
                        <a:pt x="17786" y="4061"/>
                        <a:pt x="17754" y="4087"/>
                        <a:pt x="17721" y="4109"/>
                      </a:cubicBezTo>
                      <a:cubicBezTo>
                        <a:pt x="17703" y="4166"/>
                        <a:pt x="17670" y="4226"/>
                        <a:pt x="17614" y="4282"/>
                      </a:cubicBezTo>
                      <a:lnTo>
                        <a:pt x="17557" y="4338"/>
                      </a:lnTo>
                      <a:cubicBezTo>
                        <a:pt x="17525" y="4406"/>
                        <a:pt x="17475" y="4481"/>
                        <a:pt x="17386" y="4538"/>
                      </a:cubicBezTo>
                      <a:cubicBezTo>
                        <a:pt x="17365" y="4577"/>
                        <a:pt x="17342" y="4616"/>
                        <a:pt x="17315" y="4653"/>
                      </a:cubicBezTo>
                      <a:cubicBezTo>
                        <a:pt x="17274" y="4918"/>
                        <a:pt x="17150" y="5060"/>
                        <a:pt x="16942" y="5098"/>
                      </a:cubicBezTo>
                      <a:cubicBezTo>
                        <a:pt x="16887" y="5211"/>
                        <a:pt x="16792" y="5293"/>
                        <a:pt x="16670" y="5330"/>
                      </a:cubicBezTo>
                      <a:cubicBezTo>
                        <a:pt x="16659" y="5345"/>
                        <a:pt x="16648" y="5360"/>
                        <a:pt x="16636" y="5376"/>
                      </a:cubicBezTo>
                      <a:cubicBezTo>
                        <a:pt x="16610" y="5411"/>
                        <a:pt x="16582" y="5448"/>
                        <a:pt x="16566" y="5475"/>
                      </a:cubicBezTo>
                      <a:cubicBezTo>
                        <a:pt x="16546" y="5557"/>
                        <a:pt x="16433" y="5846"/>
                        <a:pt x="16166" y="5911"/>
                      </a:cubicBezTo>
                      <a:cubicBezTo>
                        <a:pt x="16125" y="5922"/>
                        <a:pt x="16022" y="5955"/>
                        <a:pt x="16021" y="5955"/>
                      </a:cubicBezTo>
                      <a:lnTo>
                        <a:pt x="15590" y="6093"/>
                      </a:lnTo>
                      <a:lnTo>
                        <a:pt x="14799" y="2574"/>
                      </a:lnTo>
                      <a:cubicBezTo>
                        <a:pt x="14563" y="2622"/>
                        <a:pt x="14324" y="2668"/>
                        <a:pt x="14087" y="2715"/>
                      </a:cubicBezTo>
                      <a:cubicBezTo>
                        <a:pt x="12541" y="3029"/>
                        <a:pt x="10988" y="3339"/>
                        <a:pt x="9424" y="3644"/>
                      </a:cubicBezTo>
                      <a:lnTo>
                        <a:pt x="9031" y="3720"/>
                      </a:lnTo>
                      <a:lnTo>
                        <a:pt x="8189" y="0"/>
                      </a:lnTo>
                      <a:cubicBezTo>
                        <a:pt x="8176" y="10"/>
                        <a:pt x="8162" y="19"/>
                        <a:pt x="8148" y="29"/>
                      </a:cubicBezTo>
                      <a:cubicBezTo>
                        <a:pt x="8150" y="38"/>
                        <a:pt x="8151" y="46"/>
                        <a:pt x="8154" y="52"/>
                      </a:cubicBezTo>
                      <a:cubicBezTo>
                        <a:pt x="8237" y="269"/>
                        <a:pt x="8108" y="444"/>
                        <a:pt x="8039" y="538"/>
                      </a:cubicBezTo>
                      <a:cubicBezTo>
                        <a:pt x="8015" y="567"/>
                        <a:pt x="8023" y="638"/>
                        <a:pt x="8034" y="665"/>
                      </a:cubicBezTo>
                      <a:cubicBezTo>
                        <a:pt x="8129" y="828"/>
                        <a:pt x="8069" y="990"/>
                        <a:pt x="8008" y="1097"/>
                      </a:cubicBezTo>
                      <a:cubicBezTo>
                        <a:pt x="8049" y="1199"/>
                        <a:pt x="8049" y="1318"/>
                        <a:pt x="8026" y="1513"/>
                      </a:cubicBezTo>
                      <a:cubicBezTo>
                        <a:pt x="8030" y="1518"/>
                        <a:pt x="8035" y="1524"/>
                        <a:pt x="8039" y="1530"/>
                      </a:cubicBezTo>
                      <a:cubicBezTo>
                        <a:pt x="8171" y="1714"/>
                        <a:pt x="8107" y="1899"/>
                        <a:pt x="8039" y="2020"/>
                      </a:cubicBezTo>
                      <a:cubicBezTo>
                        <a:pt x="8065" y="2067"/>
                        <a:pt x="8081" y="2102"/>
                        <a:pt x="8092" y="2142"/>
                      </a:cubicBezTo>
                      <a:lnTo>
                        <a:pt x="8140" y="2318"/>
                      </a:lnTo>
                      <a:lnTo>
                        <a:pt x="7961" y="2550"/>
                      </a:lnTo>
                      <a:cubicBezTo>
                        <a:pt x="7963" y="2567"/>
                        <a:pt x="7965" y="2585"/>
                        <a:pt x="7965" y="2604"/>
                      </a:cubicBezTo>
                      <a:cubicBezTo>
                        <a:pt x="7965" y="2704"/>
                        <a:pt x="7933" y="2793"/>
                        <a:pt x="7868" y="2868"/>
                      </a:cubicBezTo>
                      <a:cubicBezTo>
                        <a:pt x="7882" y="2913"/>
                        <a:pt x="7892" y="2957"/>
                        <a:pt x="7895" y="3004"/>
                      </a:cubicBezTo>
                      <a:cubicBezTo>
                        <a:pt x="7905" y="3143"/>
                        <a:pt x="7855" y="3248"/>
                        <a:pt x="7796" y="3323"/>
                      </a:cubicBezTo>
                      <a:cubicBezTo>
                        <a:pt x="7858" y="3377"/>
                        <a:pt x="7916" y="3440"/>
                        <a:pt x="7951" y="3524"/>
                      </a:cubicBezTo>
                      <a:cubicBezTo>
                        <a:pt x="7973" y="3578"/>
                        <a:pt x="8054" y="3820"/>
                        <a:pt x="7822" y="4016"/>
                      </a:cubicBezTo>
                      <a:cubicBezTo>
                        <a:pt x="7826" y="4049"/>
                        <a:pt x="7830" y="4083"/>
                        <a:pt x="7833" y="4114"/>
                      </a:cubicBezTo>
                      <a:cubicBezTo>
                        <a:pt x="7845" y="4220"/>
                        <a:pt x="7851" y="4312"/>
                        <a:pt x="7847" y="4347"/>
                      </a:cubicBezTo>
                      <a:cubicBezTo>
                        <a:pt x="7841" y="4440"/>
                        <a:pt x="7786" y="4673"/>
                        <a:pt x="7426" y="4732"/>
                      </a:cubicBezTo>
                      <a:cubicBezTo>
                        <a:pt x="7291" y="4870"/>
                        <a:pt x="7145" y="5053"/>
                        <a:pt x="7038" y="5192"/>
                      </a:cubicBezTo>
                      <a:cubicBezTo>
                        <a:pt x="6861" y="5426"/>
                        <a:pt x="6777" y="5649"/>
                        <a:pt x="6726" y="5783"/>
                      </a:cubicBezTo>
                      <a:cubicBezTo>
                        <a:pt x="6694" y="5868"/>
                        <a:pt x="6670" y="5928"/>
                        <a:pt x="6627" y="5987"/>
                      </a:cubicBezTo>
                      <a:cubicBezTo>
                        <a:pt x="6543" y="6100"/>
                        <a:pt x="6426" y="6164"/>
                        <a:pt x="6326" y="6209"/>
                      </a:cubicBezTo>
                      <a:lnTo>
                        <a:pt x="6293" y="6295"/>
                      </a:lnTo>
                      <a:cubicBezTo>
                        <a:pt x="6206" y="6510"/>
                        <a:pt x="6064" y="6625"/>
                        <a:pt x="5831" y="6665"/>
                      </a:cubicBezTo>
                      <a:cubicBezTo>
                        <a:pt x="5845" y="6665"/>
                        <a:pt x="5797" y="6695"/>
                        <a:pt x="5684" y="6793"/>
                      </a:cubicBezTo>
                      <a:cubicBezTo>
                        <a:pt x="5513" y="6940"/>
                        <a:pt x="5309" y="7097"/>
                        <a:pt x="5045" y="7097"/>
                      </a:cubicBezTo>
                      <a:lnTo>
                        <a:pt x="4875" y="7074"/>
                      </a:lnTo>
                      <a:cubicBezTo>
                        <a:pt x="4774" y="7045"/>
                        <a:pt x="4698" y="6993"/>
                        <a:pt x="4641" y="6934"/>
                      </a:cubicBezTo>
                      <a:cubicBezTo>
                        <a:pt x="4578" y="7018"/>
                        <a:pt x="4514" y="7081"/>
                        <a:pt x="4459" y="7128"/>
                      </a:cubicBezTo>
                      <a:cubicBezTo>
                        <a:pt x="4480" y="7244"/>
                        <a:pt x="4498" y="7388"/>
                        <a:pt x="4489" y="7459"/>
                      </a:cubicBezTo>
                      <a:cubicBezTo>
                        <a:pt x="4467" y="7593"/>
                        <a:pt x="4379" y="7797"/>
                        <a:pt x="4008" y="7812"/>
                      </a:cubicBezTo>
                      <a:cubicBezTo>
                        <a:pt x="3973" y="7814"/>
                        <a:pt x="3926" y="7816"/>
                        <a:pt x="3866" y="7823"/>
                      </a:cubicBezTo>
                      <a:cubicBezTo>
                        <a:pt x="3894" y="7941"/>
                        <a:pt x="3870" y="8101"/>
                        <a:pt x="3657" y="8242"/>
                      </a:cubicBezTo>
                      <a:cubicBezTo>
                        <a:pt x="3653" y="8264"/>
                        <a:pt x="3647" y="8285"/>
                        <a:pt x="3640" y="8304"/>
                      </a:cubicBezTo>
                      <a:cubicBezTo>
                        <a:pt x="3665" y="8349"/>
                        <a:pt x="3690" y="8401"/>
                        <a:pt x="3716" y="8462"/>
                      </a:cubicBezTo>
                      <a:cubicBezTo>
                        <a:pt x="3822" y="8710"/>
                        <a:pt x="3791" y="8949"/>
                        <a:pt x="3640" y="9125"/>
                      </a:cubicBezTo>
                      <a:cubicBezTo>
                        <a:pt x="3763" y="9244"/>
                        <a:pt x="3829" y="9413"/>
                        <a:pt x="3743" y="9617"/>
                      </a:cubicBezTo>
                      <a:cubicBezTo>
                        <a:pt x="3767" y="9637"/>
                        <a:pt x="3792" y="9661"/>
                        <a:pt x="3816" y="9688"/>
                      </a:cubicBezTo>
                      <a:lnTo>
                        <a:pt x="3979" y="9870"/>
                      </a:lnTo>
                      <a:lnTo>
                        <a:pt x="3889" y="10143"/>
                      </a:lnTo>
                      <a:cubicBezTo>
                        <a:pt x="3811" y="10297"/>
                        <a:pt x="3640" y="10390"/>
                        <a:pt x="3428" y="10397"/>
                      </a:cubicBezTo>
                      <a:cubicBezTo>
                        <a:pt x="3423" y="10427"/>
                        <a:pt x="3414" y="10457"/>
                        <a:pt x="3402" y="10488"/>
                      </a:cubicBezTo>
                      <a:cubicBezTo>
                        <a:pt x="3273" y="10818"/>
                        <a:pt x="2733" y="10949"/>
                        <a:pt x="2408" y="10736"/>
                      </a:cubicBezTo>
                      <a:cubicBezTo>
                        <a:pt x="2271" y="10644"/>
                        <a:pt x="2191" y="10508"/>
                        <a:pt x="2187" y="10361"/>
                      </a:cubicBezTo>
                      <a:cubicBezTo>
                        <a:pt x="2185" y="10284"/>
                        <a:pt x="2203" y="10209"/>
                        <a:pt x="2241" y="10137"/>
                      </a:cubicBezTo>
                      <a:cubicBezTo>
                        <a:pt x="2237" y="10132"/>
                        <a:pt x="2233" y="10128"/>
                        <a:pt x="2230" y="10123"/>
                      </a:cubicBezTo>
                      <a:cubicBezTo>
                        <a:pt x="2169" y="10121"/>
                        <a:pt x="2107" y="10112"/>
                        <a:pt x="2046" y="10089"/>
                      </a:cubicBezTo>
                      <a:cubicBezTo>
                        <a:pt x="2017" y="10133"/>
                        <a:pt x="1985" y="10170"/>
                        <a:pt x="1949" y="10201"/>
                      </a:cubicBezTo>
                      <a:cubicBezTo>
                        <a:pt x="1945" y="10246"/>
                        <a:pt x="1941" y="10280"/>
                        <a:pt x="1935" y="10311"/>
                      </a:cubicBezTo>
                      <a:cubicBezTo>
                        <a:pt x="1917" y="10403"/>
                        <a:pt x="1874" y="10497"/>
                        <a:pt x="1819" y="10609"/>
                      </a:cubicBezTo>
                      <a:cubicBezTo>
                        <a:pt x="1878" y="10734"/>
                        <a:pt x="1866" y="10874"/>
                        <a:pt x="1856" y="10982"/>
                      </a:cubicBezTo>
                      <a:cubicBezTo>
                        <a:pt x="1839" y="11221"/>
                        <a:pt x="1691" y="11332"/>
                        <a:pt x="1585" y="11405"/>
                      </a:cubicBezTo>
                      <a:cubicBezTo>
                        <a:pt x="1649" y="11485"/>
                        <a:pt x="1715" y="11580"/>
                        <a:pt x="1749" y="11655"/>
                      </a:cubicBezTo>
                      <a:cubicBezTo>
                        <a:pt x="1820" y="11802"/>
                        <a:pt x="1825" y="12034"/>
                        <a:pt x="1825" y="12101"/>
                      </a:cubicBezTo>
                      <a:cubicBezTo>
                        <a:pt x="1963" y="12318"/>
                        <a:pt x="1990" y="12550"/>
                        <a:pt x="1908" y="12784"/>
                      </a:cubicBezTo>
                      <a:cubicBezTo>
                        <a:pt x="1825" y="13004"/>
                        <a:pt x="1615" y="13073"/>
                        <a:pt x="1433" y="13101"/>
                      </a:cubicBezTo>
                      <a:cubicBezTo>
                        <a:pt x="1439" y="13335"/>
                        <a:pt x="1447" y="13724"/>
                        <a:pt x="1428" y="13829"/>
                      </a:cubicBezTo>
                      <a:cubicBezTo>
                        <a:pt x="1376" y="14126"/>
                        <a:pt x="1083" y="14232"/>
                        <a:pt x="907" y="14295"/>
                      </a:cubicBezTo>
                      <a:close/>
                      <a:moveTo>
                        <a:pt x="907" y="14295"/>
                      </a:moveTo>
                    </a:path>
                  </a:pathLst>
                </a:custGeom>
                <a:solidFill>
                  <a:schemeClr val="accent1">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2400"/>
                    <a:buFontTx/>
                    <a:buNone/>
                    <a:tabLst/>
                    <a:defRPr/>
                  </a:pPr>
                  <a:endParaRPr kumimoji="0" sz="18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57" name="Google Shape;438;p54">
                  <a:extLst>
                    <a:ext uri="{FF2B5EF4-FFF2-40B4-BE49-F238E27FC236}">
                      <a16:creationId xmlns:a16="http://schemas.microsoft.com/office/drawing/2014/main" id="{EF137D65-86C7-491C-B271-D73845C99D98}"/>
                    </a:ext>
                  </a:extLst>
                </p:cNvPr>
                <p:cNvSpPr/>
                <p:nvPr/>
              </p:nvSpPr>
              <p:spPr>
                <a:xfrm>
                  <a:off x="5773496" y="3533837"/>
                  <a:ext cx="1031724" cy="571914"/>
                </a:xfrm>
                <a:custGeom>
                  <a:avLst/>
                  <a:gdLst/>
                  <a:ahLst/>
                  <a:cxnLst/>
                  <a:rect l="l" t="t" r="r" b="b"/>
                  <a:pathLst>
                    <a:path w="21600" h="21600" extrusionOk="0">
                      <a:moveTo>
                        <a:pt x="12239" y="2543"/>
                      </a:moveTo>
                      <a:cubicBezTo>
                        <a:pt x="12187" y="2634"/>
                        <a:pt x="12119" y="2725"/>
                        <a:pt x="12021" y="2740"/>
                      </a:cubicBezTo>
                      <a:cubicBezTo>
                        <a:pt x="11993" y="2744"/>
                        <a:pt x="11967" y="2745"/>
                        <a:pt x="11943" y="2745"/>
                      </a:cubicBezTo>
                      <a:cubicBezTo>
                        <a:pt x="11932" y="2760"/>
                        <a:pt x="11920" y="2776"/>
                        <a:pt x="11906" y="2793"/>
                      </a:cubicBezTo>
                      <a:cubicBezTo>
                        <a:pt x="11852" y="2863"/>
                        <a:pt x="11770" y="2966"/>
                        <a:pt x="11708" y="3082"/>
                      </a:cubicBezTo>
                      <a:cubicBezTo>
                        <a:pt x="11686" y="3124"/>
                        <a:pt x="11666" y="3171"/>
                        <a:pt x="11646" y="3216"/>
                      </a:cubicBezTo>
                      <a:cubicBezTo>
                        <a:pt x="11575" y="3377"/>
                        <a:pt x="11478" y="3599"/>
                        <a:pt x="11313" y="3599"/>
                      </a:cubicBezTo>
                      <a:cubicBezTo>
                        <a:pt x="11255" y="3599"/>
                        <a:pt x="11199" y="3569"/>
                        <a:pt x="11145" y="3510"/>
                      </a:cubicBezTo>
                      <a:cubicBezTo>
                        <a:pt x="11078" y="3437"/>
                        <a:pt x="11033" y="3349"/>
                        <a:pt x="11000" y="3284"/>
                      </a:cubicBezTo>
                      <a:cubicBezTo>
                        <a:pt x="10997" y="3279"/>
                        <a:pt x="10995" y="3273"/>
                        <a:pt x="10993" y="3270"/>
                      </a:cubicBezTo>
                      <a:cubicBezTo>
                        <a:pt x="10969" y="3283"/>
                        <a:pt x="10951" y="3298"/>
                        <a:pt x="10930" y="3315"/>
                      </a:cubicBezTo>
                      <a:cubicBezTo>
                        <a:pt x="10889" y="3349"/>
                        <a:pt x="10834" y="3393"/>
                        <a:pt x="10751" y="3404"/>
                      </a:cubicBezTo>
                      <a:cubicBezTo>
                        <a:pt x="10773" y="3493"/>
                        <a:pt x="10777" y="3581"/>
                        <a:pt x="10779" y="3626"/>
                      </a:cubicBezTo>
                      <a:cubicBezTo>
                        <a:pt x="10788" y="3810"/>
                        <a:pt x="10789" y="3821"/>
                        <a:pt x="10807" y="3890"/>
                      </a:cubicBezTo>
                      <a:cubicBezTo>
                        <a:pt x="10814" y="3916"/>
                        <a:pt x="10824" y="3939"/>
                        <a:pt x="10832" y="3962"/>
                      </a:cubicBezTo>
                      <a:cubicBezTo>
                        <a:pt x="10873" y="4075"/>
                        <a:pt x="10958" y="4310"/>
                        <a:pt x="10889" y="4606"/>
                      </a:cubicBezTo>
                      <a:cubicBezTo>
                        <a:pt x="10853" y="4763"/>
                        <a:pt x="10785" y="4861"/>
                        <a:pt x="10740" y="4926"/>
                      </a:cubicBezTo>
                      <a:cubicBezTo>
                        <a:pt x="10739" y="4928"/>
                        <a:pt x="10738" y="4929"/>
                        <a:pt x="10737" y="4931"/>
                      </a:cubicBezTo>
                      <a:cubicBezTo>
                        <a:pt x="10728" y="5112"/>
                        <a:pt x="10696" y="5215"/>
                        <a:pt x="10621" y="5341"/>
                      </a:cubicBezTo>
                      <a:cubicBezTo>
                        <a:pt x="10560" y="5443"/>
                        <a:pt x="10486" y="5487"/>
                        <a:pt x="10421" y="5524"/>
                      </a:cubicBezTo>
                      <a:cubicBezTo>
                        <a:pt x="10402" y="5535"/>
                        <a:pt x="10375" y="5551"/>
                        <a:pt x="10357" y="5565"/>
                      </a:cubicBezTo>
                      <a:cubicBezTo>
                        <a:pt x="10359" y="5620"/>
                        <a:pt x="10359" y="5690"/>
                        <a:pt x="10345" y="5768"/>
                      </a:cubicBezTo>
                      <a:cubicBezTo>
                        <a:pt x="10339" y="5797"/>
                        <a:pt x="10333" y="5823"/>
                        <a:pt x="10327" y="5845"/>
                      </a:cubicBezTo>
                      <a:cubicBezTo>
                        <a:pt x="10334" y="5934"/>
                        <a:pt x="10330" y="6032"/>
                        <a:pt x="10316" y="6169"/>
                      </a:cubicBezTo>
                      <a:cubicBezTo>
                        <a:pt x="10299" y="6431"/>
                        <a:pt x="10273" y="6626"/>
                        <a:pt x="10110" y="6855"/>
                      </a:cubicBezTo>
                      <a:cubicBezTo>
                        <a:pt x="10009" y="6999"/>
                        <a:pt x="9927" y="7088"/>
                        <a:pt x="9832" y="7088"/>
                      </a:cubicBezTo>
                      <a:lnTo>
                        <a:pt x="9791" y="7088"/>
                      </a:lnTo>
                      <a:cubicBezTo>
                        <a:pt x="9785" y="7147"/>
                        <a:pt x="9775" y="7207"/>
                        <a:pt x="9757" y="7266"/>
                      </a:cubicBezTo>
                      <a:cubicBezTo>
                        <a:pt x="9732" y="7342"/>
                        <a:pt x="9700" y="7402"/>
                        <a:pt x="9670" y="7462"/>
                      </a:cubicBezTo>
                      <a:cubicBezTo>
                        <a:pt x="9662" y="7477"/>
                        <a:pt x="9653" y="7492"/>
                        <a:pt x="9645" y="7507"/>
                      </a:cubicBezTo>
                      <a:cubicBezTo>
                        <a:pt x="9646" y="7585"/>
                        <a:pt x="9653" y="7722"/>
                        <a:pt x="9660" y="7806"/>
                      </a:cubicBezTo>
                      <a:cubicBezTo>
                        <a:pt x="9683" y="7908"/>
                        <a:pt x="9727" y="8101"/>
                        <a:pt x="9660" y="8315"/>
                      </a:cubicBezTo>
                      <a:cubicBezTo>
                        <a:pt x="9671" y="8364"/>
                        <a:pt x="9671" y="8411"/>
                        <a:pt x="9670" y="8460"/>
                      </a:cubicBezTo>
                      <a:cubicBezTo>
                        <a:pt x="9661" y="8724"/>
                        <a:pt x="9611" y="8917"/>
                        <a:pt x="9522" y="9032"/>
                      </a:cubicBezTo>
                      <a:cubicBezTo>
                        <a:pt x="9475" y="9092"/>
                        <a:pt x="9420" y="9121"/>
                        <a:pt x="9352" y="9156"/>
                      </a:cubicBezTo>
                      <a:cubicBezTo>
                        <a:pt x="9348" y="9256"/>
                        <a:pt x="9334" y="9348"/>
                        <a:pt x="9290" y="9431"/>
                      </a:cubicBezTo>
                      <a:lnTo>
                        <a:pt x="9227" y="9550"/>
                      </a:lnTo>
                      <a:lnTo>
                        <a:pt x="9100" y="9551"/>
                      </a:lnTo>
                      <a:lnTo>
                        <a:pt x="9068" y="9534"/>
                      </a:lnTo>
                      <a:cubicBezTo>
                        <a:pt x="9050" y="9524"/>
                        <a:pt x="8954" y="9466"/>
                        <a:pt x="8884" y="9343"/>
                      </a:cubicBezTo>
                      <a:cubicBezTo>
                        <a:pt x="8854" y="9291"/>
                        <a:pt x="8836" y="9237"/>
                        <a:pt x="8824" y="9193"/>
                      </a:cubicBezTo>
                      <a:lnTo>
                        <a:pt x="8775" y="9220"/>
                      </a:lnTo>
                      <a:cubicBezTo>
                        <a:pt x="8665" y="9293"/>
                        <a:pt x="8540" y="9273"/>
                        <a:pt x="8428" y="9166"/>
                      </a:cubicBezTo>
                      <a:cubicBezTo>
                        <a:pt x="8346" y="9087"/>
                        <a:pt x="8182" y="8930"/>
                        <a:pt x="8112" y="8621"/>
                      </a:cubicBezTo>
                      <a:cubicBezTo>
                        <a:pt x="8103" y="8639"/>
                        <a:pt x="8093" y="8655"/>
                        <a:pt x="8083" y="8668"/>
                      </a:cubicBezTo>
                      <a:cubicBezTo>
                        <a:pt x="8077" y="8677"/>
                        <a:pt x="8070" y="8684"/>
                        <a:pt x="8064" y="8691"/>
                      </a:cubicBezTo>
                      <a:cubicBezTo>
                        <a:pt x="8062" y="8775"/>
                        <a:pt x="8047" y="8858"/>
                        <a:pt x="8020" y="8936"/>
                      </a:cubicBezTo>
                      <a:cubicBezTo>
                        <a:pt x="7962" y="9102"/>
                        <a:pt x="7888" y="9217"/>
                        <a:pt x="7808" y="9270"/>
                      </a:cubicBezTo>
                      <a:cubicBezTo>
                        <a:pt x="7810" y="9291"/>
                        <a:pt x="7812" y="9313"/>
                        <a:pt x="7814" y="9332"/>
                      </a:cubicBezTo>
                      <a:cubicBezTo>
                        <a:pt x="7818" y="9349"/>
                        <a:pt x="7831" y="9386"/>
                        <a:pt x="7840" y="9411"/>
                      </a:cubicBezTo>
                      <a:cubicBezTo>
                        <a:pt x="7954" y="9727"/>
                        <a:pt x="7902" y="9934"/>
                        <a:pt x="7839" y="10053"/>
                      </a:cubicBezTo>
                      <a:cubicBezTo>
                        <a:pt x="7791" y="10142"/>
                        <a:pt x="7720" y="10204"/>
                        <a:pt x="7654" y="10239"/>
                      </a:cubicBezTo>
                      <a:cubicBezTo>
                        <a:pt x="7650" y="10313"/>
                        <a:pt x="7640" y="10385"/>
                        <a:pt x="7622" y="10452"/>
                      </a:cubicBezTo>
                      <a:cubicBezTo>
                        <a:pt x="7611" y="10495"/>
                        <a:pt x="7594" y="10543"/>
                        <a:pt x="7572" y="10591"/>
                      </a:cubicBezTo>
                      <a:cubicBezTo>
                        <a:pt x="7507" y="10734"/>
                        <a:pt x="7402" y="10876"/>
                        <a:pt x="7289" y="10876"/>
                      </a:cubicBezTo>
                      <a:lnTo>
                        <a:pt x="7143" y="10876"/>
                      </a:lnTo>
                      <a:lnTo>
                        <a:pt x="7066" y="10607"/>
                      </a:lnTo>
                      <a:cubicBezTo>
                        <a:pt x="7064" y="10597"/>
                        <a:pt x="7062" y="10588"/>
                        <a:pt x="7061" y="10579"/>
                      </a:cubicBezTo>
                      <a:cubicBezTo>
                        <a:pt x="7056" y="10579"/>
                        <a:pt x="7052" y="10579"/>
                        <a:pt x="7047" y="10579"/>
                      </a:cubicBezTo>
                      <a:lnTo>
                        <a:pt x="7002" y="10579"/>
                      </a:lnTo>
                      <a:lnTo>
                        <a:pt x="6940" y="10538"/>
                      </a:lnTo>
                      <a:cubicBezTo>
                        <a:pt x="6832" y="10455"/>
                        <a:pt x="6722" y="10224"/>
                        <a:pt x="6662" y="10045"/>
                      </a:cubicBezTo>
                      <a:cubicBezTo>
                        <a:pt x="6660" y="10050"/>
                        <a:pt x="6657" y="10056"/>
                        <a:pt x="6655" y="10061"/>
                      </a:cubicBezTo>
                      <a:cubicBezTo>
                        <a:pt x="6604" y="10199"/>
                        <a:pt x="6552" y="10339"/>
                        <a:pt x="6457" y="10409"/>
                      </a:cubicBezTo>
                      <a:cubicBezTo>
                        <a:pt x="6414" y="10440"/>
                        <a:pt x="6375" y="10448"/>
                        <a:pt x="6344" y="10454"/>
                      </a:cubicBezTo>
                      <a:cubicBezTo>
                        <a:pt x="6304" y="10461"/>
                        <a:pt x="6294" y="10464"/>
                        <a:pt x="6279" y="10489"/>
                      </a:cubicBezTo>
                      <a:cubicBezTo>
                        <a:pt x="6273" y="10498"/>
                        <a:pt x="6268" y="10506"/>
                        <a:pt x="6263" y="10514"/>
                      </a:cubicBezTo>
                      <a:cubicBezTo>
                        <a:pt x="6270" y="10800"/>
                        <a:pt x="6267" y="11001"/>
                        <a:pt x="6235" y="11151"/>
                      </a:cubicBezTo>
                      <a:cubicBezTo>
                        <a:pt x="6230" y="11174"/>
                        <a:pt x="6219" y="11221"/>
                        <a:pt x="6202" y="11279"/>
                      </a:cubicBezTo>
                      <a:cubicBezTo>
                        <a:pt x="6151" y="11451"/>
                        <a:pt x="6047" y="11717"/>
                        <a:pt x="5883" y="11717"/>
                      </a:cubicBezTo>
                      <a:lnTo>
                        <a:pt x="5778" y="11717"/>
                      </a:lnTo>
                      <a:lnTo>
                        <a:pt x="5677" y="11533"/>
                      </a:lnTo>
                      <a:cubicBezTo>
                        <a:pt x="5644" y="11458"/>
                        <a:pt x="5622" y="11379"/>
                        <a:pt x="5605" y="11313"/>
                      </a:cubicBezTo>
                      <a:cubicBezTo>
                        <a:pt x="5567" y="11309"/>
                        <a:pt x="5529" y="11293"/>
                        <a:pt x="5492" y="11266"/>
                      </a:cubicBezTo>
                      <a:lnTo>
                        <a:pt x="5444" y="11234"/>
                      </a:lnTo>
                      <a:cubicBezTo>
                        <a:pt x="5374" y="11188"/>
                        <a:pt x="5278" y="11126"/>
                        <a:pt x="5199" y="11018"/>
                      </a:cubicBezTo>
                      <a:cubicBezTo>
                        <a:pt x="5172" y="10982"/>
                        <a:pt x="5152" y="10951"/>
                        <a:pt x="5136" y="10926"/>
                      </a:cubicBezTo>
                      <a:cubicBezTo>
                        <a:pt x="5087" y="10907"/>
                        <a:pt x="5017" y="10870"/>
                        <a:pt x="4928" y="10781"/>
                      </a:cubicBezTo>
                      <a:cubicBezTo>
                        <a:pt x="4907" y="10761"/>
                        <a:pt x="4887" y="10747"/>
                        <a:pt x="4870" y="10739"/>
                      </a:cubicBezTo>
                      <a:cubicBezTo>
                        <a:pt x="4864" y="10750"/>
                        <a:pt x="4859" y="10761"/>
                        <a:pt x="4854" y="10771"/>
                      </a:cubicBezTo>
                      <a:cubicBezTo>
                        <a:pt x="4830" y="10816"/>
                        <a:pt x="4811" y="10852"/>
                        <a:pt x="4801" y="10866"/>
                      </a:cubicBezTo>
                      <a:cubicBezTo>
                        <a:pt x="4759" y="10939"/>
                        <a:pt x="4685" y="11068"/>
                        <a:pt x="4572" y="11070"/>
                      </a:cubicBezTo>
                      <a:cubicBezTo>
                        <a:pt x="4571" y="11193"/>
                        <a:pt x="4555" y="11337"/>
                        <a:pt x="4509" y="11465"/>
                      </a:cubicBezTo>
                      <a:cubicBezTo>
                        <a:pt x="4456" y="11616"/>
                        <a:pt x="4372" y="11716"/>
                        <a:pt x="4272" y="11744"/>
                      </a:cubicBezTo>
                      <a:lnTo>
                        <a:pt x="4197" y="11755"/>
                      </a:lnTo>
                      <a:cubicBezTo>
                        <a:pt x="4070" y="11755"/>
                        <a:pt x="3959" y="11653"/>
                        <a:pt x="3900" y="11481"/>
                      </a:cubicBezTo>
                      <a:cubicBezTo>
                        <a:pt x="3891" y="11455"/>
                        <a:pt x="3883" y="11427"/>
                        <a:pt x="3877" y="11399"/>
                      </a:cubicBezTo>
                      <a:cubicBezTo>
                        <a:pt x="3809" y="11477"/>
                        <a:pt x="3721" y="11528"/>
                        <a:pt x="3644" y="11528"/>
                      </a:cubicBezTo>
                      <a:lnTo>
                        <a:pt x="3610" y="11528"/>
                      </a:lnTo>
                      <a:cubicBezTo>
                        <a:pt x="3619" y="11603"/>
                        <a:pt x="3620" y="11680"/>
                        <a:pt x="3610" y="11759"/>
                      </a:cubicBezTo>
                      <a:cubicBezTo>
                        <a:pt x="3599" y="11841"/>
                        <a:pt x="3575" y="11941"/>
                        <a:pt x="3523" y="12021"/>
                      </a:cubicBezTo>
                      <a:cubicBezTo>
                        <a:pt x="3494" y="12284"/>
                        <a:pt x="3371" y="12350"/>
                        <a:pt x="3328" y="12364"/>
                      </a:cubicBezTo>
                      <a:lnTo>
                        <a:pt x="3282" y="12372"/>
                      </a:lnTo>
                      <a:cubicBezTo>
                        <a:pt x="3247" y="12372"/>
                        <a:pt x="3215" y="12359"/>
                        <a:pt x="3187" y="12340"/>
                      </a:cubicBezTo>
                      <a:cubicBezTo>
                        <a:pt x="3183" y="12365"/>
                        <a:pt x="3178" y="12389"/>
                        <a:pt x="3172" y="12412"/>
                      </a:cubicBezTo>
                      <a:cubicBezTo>
                        <a:pt x="3172" y="12414"/>
                        <a:pt x="3172" y="12415"/>
                        <a:pt x="3172" y="12416"/>
                      </a:cubicBezTo>
                      <a:cubicBezTo>
                        <a:pt x="3172" y="12417"/>
                        <a:pt x="3171" y="12417"/>
                        <a:pt x="3171" y="12417"/>
                      </a:cubicBezTo>
                      <a:cubicBezTo>
                        <a:pt x="3171" y="12417"/>
                        <a:pt x="3171" y="12418"/>
                        <a:pt x="3171" y="12419"/>
                      </a:cubicBezTo>
                      <a:cubicBezTo>
                        <a:pt x="3135" y="12553"/>
                        <a:pt x="3081" y="12628"/>
                        <a:pt x="3037" y="12688"/>
                      </a:cubicBezTo>
                      <a:cubicBezTo>
                        <a:pt x="3005" y="12733"/>
                        <a:pt x="2972" y="12779"/>
                        <a:pt x="2931" y="12870"/>
                      </a:cubicBezTo>
                      <a:cubicBezTo>
                        <a:pt x="2889" y="12962"/>
                        <a:pt x="2908" y="13072"/>
                        <a:pt x="2909" y="13072"/>
                      </a:cubicBezTo>
                      <a:cubicBezTo>
                        <a:pt x="2933" y="13147"/>
                        <a:pt x="2955" y="13216"/>
                        <a:pt x="2975" y="13324"/>
                      </a:cubicBezTo>
                      <a:cubicBezTo>
                        <a:pt x="2995" y="13347"/>
                        <a:pt x="3024" y="13376"/>
                        <a:pt x="3044" y="13397"/>
                      </a:cubicBezTo>
                      <a:cubicBezTo>
                        <a:pt x="3115" y="13470"/>
                        <a:pt x="3183" y="13539"/>
                        <a:pt x="3228" y="13659"/>
                      </a:cubicBezTo>
                      <a:cubicBezTo>
                        <a:pt x="3324" y="13922"/>
                        <a:pt x="3286" y="14331"/>
                        <a:pt x="3187" y="14522"/>
                      </a:cubicBezTo>
                      <a:cubicBezTo>
                        <a:pt x="3150" y="14594"/>
                        <a:pt x="3084" y="14680"/>
                        <a:pt x="2983" y="14680"/>
                      </a:cubicBezTo>
                      <a:lnTo>
                        <a:pt x="2929" y="14673"/>
                      </a:lnTo>
                      <a:cubicBezTo>
                        <a:pt x="2838" y="14701"/>
                        <a:pt x="2673" y="14755"/>
                        <a:pt x="2524" y="14876"/>
                      </a:cubicBezTo>
                      <a:cubicBezTo>
                        <a:pt x="2452" y="14935"/>
                        <a:pt x="2433" y="14978"/>
                        <a:pt x="2408" y="15038"/>
                      </a:cubicBezTo>
                      <a:cubicBezTo>
                        <a:pt x="2381" y="15102"/>
                        <a:pt x="2339" y="15198"/>
                        <a:pt x="2265" y="15266"/>
                      </a:cubicBezTo>
                      <a:cubicBezTo>
                        <a:pt x="2227" y="15299"/>
                        <a:pt x="2178" y="15337"/>
                        <a:pt x="2121" y="15337"/>
                      </a:cubicBezTo>
                      <a:lnTo>
                        <a:pt x="2033" y="15337"/>
                      </a:lnTo>
                      <a:cubicBezTo>
                        <a:pt x="2033" y="15355"/>
                        <a:pt x="2032" y="15373"/>
                        <a:pt x="2032" y="15388"/>
                      </a:cubicBezTo>
                      <a:lnTo>
                        <a:pt x="2030" y="15501"/>
                      </a:lnTo>
                      <a:cubicBezTo>
                        <a:pt x="2025" y="15640"/>
                        <a:pt x="1994" y="15755"/>
                        <a:pt x="1969" y="15849"/>
                      </a:cubicBezTo>
                      <a:cubicBezTo>
                        <a:pt x="1968" y="15854"/>
                        <a:pt x="1966" y="15859"/>
                        <a:pt x="1965" y="15866"/>
                      </a:cubicBezTo>
                      <a:cubicBezTo>
                        <a:pt x="1996" y="15923"/>
                        <a:pt x="2041" y="15995"/>
                        <a:pt x="2062" y="16028"/>
                      </a:cubicBezTo>
                      <a:cubicBezTo>
                        <a:pt x="2091" y="16074"/>
                        <a:pt x="2115" y="16113"/>
                        <a:pt x="2127" y="16137"/>
                      </a:cubicBezTo>
                      <a:cubicBezTo>
                        <a:pt x="2173" y="16226"/>
                        <a:pt x="2219" y="16372"/>
                        <a:pt x="2271" y="16540"/>
                      </a:cubicBezTo>
                      <a:cubicBezTo>
                        <a:pt x="2353" y="16802"/>
                        <a:pt x="2311" y="17004"/>
                        <a:pt x="2287" y="17098"/>
                      </a:cubicBezTo>
                      <a:cubicBezTo>
                        <a:pt x="2292" y="17225"/>
                        <a:pt x="2293" y="17387"/>
                        <a:pt x="2244" y="17551"/>
                      </a:cubicBezTo>
                      <a:cubicBezTo>
                        <a:pt x="2143" y="17886"/>
                        <a:pt x="1833" y="18045"/>
                        <a:pt x="1631" y="17837"/>
                      </a:cubicBezTo>
                      <a:cubicBezTo>
                        <a:pt x="1570" y="17774"/>
                        <a:pt x="1472" y="17679"/>
                        <a:pt x="1389" y="17596"/>
                      </a:cubicBezTo>
                      <a:cubicBezTo>
                        <a:pt x="1318" y="17526"/>
                        <a:pt x="1256" y="17465"/>
                        <a:pt x="1232" y="17440"/>
                      </a:cubicBezTo>
                      <a:lnTo>
                        <a:pt x="1142" y="17458"/>
                      </a:lnTo>
                      <a:cubicBezTo>
                        <a:pt x="1027" y="17458"/>
                        <a:pt x="964" y="17373"/>
                        <a:pt x="917" y="17310"/>
                      </a:cubicBezTo>
                      <a:lnTo>
                        <a:pt x="872" y="17251"/>
                      </a:lnTo>
                      <a:cubicBezTo>
                        <a:pt x="802" y="17186"/>
                        <a:pt x="428" y="17032"/>
                        <a:pt x="329" y="17032"/>
                      </a:cubicBezTo>
                      <a:cubicBezTo>
                        <a:pt x="319" y="17068"/>
                        <a:pt x="214" y="17352"/>
                        <a:pt x="189" y="17459"/>
                      </a:cubicBezTo>
                      <a:cubicBezTo>
                        <a:pt x="157" y="17617"/>
                        <a:pt x="122" y="17700"/>
                        <a:pt x="63" y="17832"/>
                      </a:cubicBezTo>
                      <a:cubicBezTo>
                        <a:pt x="58" y="17845"/>
                        <a:pt x="51" y="17866"/>
                        <a:pt x="45" y="17890"/>
                      </a:cubicBezTo>
                      <a:cubicBezTo>
                        <a:pt x="40" y="17907"/>
                        <a:pt x="36" y="17928"/>
                        <a:pt x="31" y="17947"/>
                      </a:cubicBezTo>
                      <a:cubicBezTo>
                        <a:pt x="29" y="17957"/>
                        <a:pt x="27" y="17965"/>
                        <a:pt x="24" y="17975"/>
                      </a:cubicBezTo>
                      <a:cubicBezTo>
                        <a:pt x="21" y="17990"/>
                        <a:pt x="19" y="18004"/>
                        <a:pt x="16" y="18018"/>
                      </a:cubicBezTo>
                      <a:cubicBezTo>
                        <a:pt x="13" y="18033"/>
                        <a:pt x="10" y="18049"/>
                        <a:pt x="8" y="18064"/>
                      </a:cubicBezTo>
                      <a:cubicBezTo>
                        <a:pt x="5" y="18077"/>
                        <a:pt x="5" y="18087"/>
                        <a:pt x="3" y="18098"/>
                      </a:cubicBezTo>
                      <a:cubicBezTo>
                        <a:pt x="2" y="18109"/>
                        <a:pt x="1" y="18120"/>
                        <a:pt x="0" y="18128"/>
                      </a:cubicBezTo>
                      <a:lnTo>
                        <a:pt x="4" y="18134"/>
                      </a:lnTo>
                      <a:cubicBezTo>
                        <a:pt x="8" y="18134"/>
                        <a:pt x="13" y="18139"/>
                        <a:pt x="20" y="18150"/>
                      </a:cubicBezTo>
                      <a:cubicBezTo>
                        <a:pt x="24" y="18156"/>
                        <a:pt x="29" y="18163"/>
                        <a:pt x="33" y="18168"/>
                      </a:cubicBezTo>
                      <a:lnTo>
                        <a:pt x="33" y="18169"/>
                      </a:lnTo>
                      <a:cubicBezTo>
                        <a:pt x="95" y="18191"/>
                        <a:pt x="149" y="18239"/>
                        <a:pt x="189" y="18311"/>
                      </a:cubicBezTo>
                      <a:cubicBezTo>
                        <a:pt x="209" y="18347"/>
                        <a:pt x="226" y="18389"/>
                        <a:pt x="239" y="18436"/>
                      </a:cubicBezTo>
                      <a:cubicBezTo>
                        <a:pt x="253" y="18482"/>
                        <a:pt x="262" y="18535"/>
                        <a:pt x="268" y="18592"/>
                      </a:cubicBezTo>
                      <a:cubicBezTo>
                        <a:pt x="286" y="18792"/>
                        <a:pt x="243" y="19394"/>
                        <a:pt x="218" y="19527"/>
                      </a:cubicBezTo>
                      <a:cubicBezTo>
                        <a:pt x="209" y="19572"/>
                        <a:pt x="198" y="19612"/>
                        <a:pt x="185" y="19646"/>
                      </a:cubicBezTo>
                      <a:cubicBezTo>
                        <a:pt x="270" y="19752"/>
                        <a:pt x="325" y="19928"/>
                        <a:pt x="330" y="20140"/>
                      </a:cubicBezTo>
                      <a:cubicBezTo>
                        <a:pt x="335" y="20336"/>
                        <a:pt x="282" y="20477"/>
                        <a:pt x="174" y="20561"/>
                      </a:cubicBezTo>
                      <a:cubicBezTo>
                        <a:pt x="187" y="20602"/>
                        <a:pt x="199" y="20645"/>
                        <a:pt x="207" y="20692"/>
                      </a:cubicBezTo>
                      <a:cubicBezTo>
                        <a:pt x="255" y="20971"/>
                        <a:pt x="167" y="21176"/>
                        <a:pt x="130" y="21263"/>
                      </a:cubicBezTo>
                      <a:cubicBezTo>
                        <a:pt x="124" y="21310"/>
                        <a:pt x="116" y="21366"/>
                        <a:pt x="105" y="21426"/>
                      </a:cubicBezTo>
                      <a:cubicBezTo>
                        <a:pt x="102" y="21441"/>
                        <a:pt x="97" y="21458"/>
                        <a:pt x="93" y="21474"/>
                      </a:cubicBezTo>
                      <a:cubicBezTo>
                        <a:pt x="84" y="21516"/>
                        <a:pt x="76" y="21557"/>
                        <a:pt x="64" y="21600"/>
                      </a:cubicBezTo>
                      <a:lnTo>
                        <a:pt x="3425" y="20927"/>
                      </a:lnTo>
                      <a:cubicBezTo>
                        <a:pt x="3422" y="20910"/>
                        <a:pt x="3419" y="20891"/>
                        <a:pt x="3416" y="20870"/>
                      </a:cubicBezTo>
                      <a:cubicBezTo>
                        <a:pt x="3381" y="20680"/>
                        <a:pt x="3341" y="20545"/>
                        <a:pt x="3315" y="20454"/>
                      </a:cubicBezTo>
                      <a:cubicBezTo>
                        <a:pt x="3277" y="20324"/>
                        <a:pt x="3238" y="20190"/>
                        <a:pt x="3262" y="20019"/>
                      </a:cubicBezTo>
                      <a:cubicBezTo>
                        <a:pt x="3298" y="19767"/>
                        <a:pt x="3374" y="19617"/>
                        <a:pt x="3487" y="19574"/>
                      </a:cubicBezTo>
                      <a:cubicBezTo>
                        <a:pt x="3515" y="19563"/>
                        <a:pt x="3544" y="19560"/>
                        <a:pt x="3647" y="19560"/>
                      </a:cubicBezTo>
                      <a:lnTo>
                        <a:pt x="3774" y="19560"/>
                      </a:lnTo>
                      <a:cubicBezTo>
                        <a:pt x="3846" y="19560"/>
                        <a:pt x="3919" y="19562"/>
                        <a:pt x="3959" y="19554"/>
                      </a:cubicBezTo>
                      <a:cubicBezTo>
                        <a:pt x="4019" y="19516"/>
                        <a:pt x="4092" y="19500"/>
                        <a:pt x="4141" y="19500"/>
                      </a:cubicBezTo>
                      <a:lnTo>
                        <a:pt x="4357" y="19500"/>
                      </a:lnTo>
                      <a:lnTo>
                        <a:pt x="4375" y="19699"/>
                      </a:lnTo>
                      <a:lnTo>
                        <a:pt x="8246" y="18629"/>
                      </a:lnTo>
                      <a:lnTo>
                        <a:pt x="8271" y="18676"/>
                      </a:lnTo>
                      <a:cubicBezTo>
                        <a:pt x="8316" y="18640"/>
                        <a:pt x="8358" y="18618"/>
                        <a:pt x="8389" y="18603"/>
                      </a:cubicBezTo>
                      <a:cubicBezTo>
                        <a:pt x="8472" y="18558"/>
                        <a:pt x="8579" y="18543"/>
                        <a:pt x="8622" y="18538"/>
                      </a:cubicBezTo>
                      <a:cubicBezTo>
                        <a:pt x="8637" y="18536"/>
                        <a:pt x="10557" y="18233"/>
                        <a:pt x="11078" y="18118"/>
                      </a:cubicBezTo>
                      <a:cubicBezTo>
                        <a:pt x="11424" y="18042"/>
                        <a:pt x="11819" y="17909"/>
                        <a:pt x="12138" y="17803"/>
                      </a:cubicBezTo>
                      <a:cubicBezTo>
                        <a:pt x="12302" y="17748"/>
                        <a:pt x="12441" y="17701"/>
                        <a:pt x="12538" y="17675"/>
                      </a:cubicBezTo>
                      <a:cubicBezTo>
                        <a:pt x="12667" y="17639"/>
                        <a:pt x="13033" y="17579"/>
                        <a:pt x="13447" y="17511"/>
                      </a:cubicBezTo>
                      <a:cubicBezTo>
                        <a:pt x="13942" y="17429"/>
                        <a:pt x="14503" y="17337"/>
                        <a:pt x="14798" y="17264"/>
                      </a:cubicBezTo>
                      <a:cubicBezTo>
                        <a:pt x="15281" y="17144"/>
                        <a:pt x="16871" y="16691"/>
                        <a:pt x="17230" y="16588"/>
                      </a:cubicBezTo>
                      <a:lnTo>
                        <a:pt x="17236" y="16576"/>
                      </a:lnTo>
                      <a:cubicBezTo>
                        <a:pt x="17238" y="16566"/>
                        <a:pt x="17241" y="16561"/>
                        <a:pt x="17243" y="16551"/>
                      </a:cubicBezTo>
                      <a:cubicBezTo>
                        <a:pt x="17260" y="16477"/>
                        <a:pt x="17279" y="16411"/>
                        <a:pt x="17303" y="16361"/>
                      </a:cubicBezTo>
                      <a:cubicBezTo>
                        <a:pt x="17345" y="16273"/>
                        <a:pt x="17401" y="16217"/>
                        <a:pt x="17487" y="16132"/>
                      </a:cubicBezTo>
                      <a:cubicBezTo>
                        <a:pt x="17520" y="16100"/>
                        <a:pt x="17554" y="16071"/>
                        <a:pt x="17573" y="16043"/>
                      </a:cubicBezTo>
                      <a:cubicBezTo>
                        <a:pt x="17628" y="15942"/>
                        <a:pt x="17671" y="15864"/>
                        <a:pt x="17729" y="15807"/>
                      </a:cubicBezTo>
                      <a:cubicBezTo>
                        <a:pt x="17783" y="15754"/>
                        <a:pt x="17839" y="15745"/>
                        <a:pt x="17930" y="15731"/>
                      </a:cubicBezTo>
                      <a:cubicBezTo>
                        <a:pt x="17963" y="15726"/>
                        <a:pt x="18019" y="15717"/>
                        <a:pt x="18050" y="15707"/>
                      </a:cubicBezTo>
                      <a:cubicBezTo>
                        <a:pt x="18142" y="15579"/>
                        <a:pt x="18358" y="15315"/>
                        <a:pt x="18491" y="15175"/>
                      </a:cubicBezTo>
                      <a:cubicBezTo>
                        <a:pt x="18601" y="15060"/>
                        <a:pt x="18694" y="14980"/>
                        <a:pt x="18764" y="14931"/>
                      </a:cubicBezTo>
                      <a:cubicBezTo>
                        <a:pt x="18767" y="14884"/>
                        <a:pt x="18775" y="14834"/>
                        <a:pt x="18788" y="14782"/>
                      </a:cubicBezTo>
                      <a:cubicBezTo>
                        <a:pt x="18800" y="14741"/>
                        <a:pt x="18812" y="14707"/>
                        <a:pt x="18824" y="14679"/>
                      </a:cubicBezTo>
                      <a:cubicBezTo>
                        <a:pt x="18818" y="14612"/>
                        <a:pt x="18818" y="14505"/>
                        <a:pt x="18852" y="14391"/>
                      </a:cubicBezTo>
                      <a:cubicBezTo>
                        <a:pt x="18913" y="14056"/>
                        <a:pt x="19060" y="13996"/>
                        <a:pt x="19142" y="13991"/>
                      </a:cubicBezTo>
                      <a:cubicBezTo>
                        <a:pt x="19175" y="13989"/>
                        <a:pt x="19200" y="13989"/>
                        <a:pt x="19219" y="13987"/>
                      </a:cubicBezTo>
                      <a:cubicBezTo>
                        <a:pt x="19250" y="13943"/>
                        <a:pt x="19282" y="13912"/>
                        <a:pt x="19312" y="13885"/>
                      </a:cubicBezTo>
                      <a:cubicBezTo>
                        <a:pt x="19388" y="13819"/>
                        <a:pt x="19442" y="13771"/>
                        <a:pt x="19479" y="13736"/>
                      </a:cubicBezTo>
                      <a:cubicBezTo>
                        <a:pt x="19480" y="13695"/>
                        <a:pt x="19483" y="13651"/>
                        <a:pt x="19491" y="13608"/>
                      </a:cubicBezTo>
                      <a:cubicBezTo>
                        <a:pt x="19472" y="13567"/>
                        <a:pt x="19454" y="13513"/>
                        <a:pt x="19444" y="13445"/>
                      </a:cubicBezTo>
                      <a:lnTo>
                        <a:pt x="19421" y="13284"/>
                      </a:lnTo>
                      <a:lnTo>
                        <a:pt x="19473" y="13115"/>
                      </a:lnTo>
                      <a:cubicBezTo>
                        <a:pt x="19498" y="13045"/>
                        <a:pt x="19529" y="12996"/>
                        <a:pt x="19560" y="12956"/>
                      </a:cubicBezTo>
                      <a:cubicBezTo>
                        <a:pt x="19582" y="12828"/>
                        <a:pt x="19632" y="12741"/>
                        <a:pt x="19683" y="12697"/>
                      </a:cubicBezTo>
                      <a:cubicBezTo>
                        <a:pt x="19699" y="12683"/>
                        <a:pt x="19725" y="12668"/>
                        <a:pt x="19754" y="12654"/>
                      </a:cubicBezTo>
                      <a:lnTo>
                        <a:pt x="19788" y="12560"/>
                      </a:lnTo>
                      <a:cubicBezTo>
                        <a:pt x="19804" y="12532"/>
                        <a:pt x="19820" y="12510"/>
                        <a:pt x="19836" y="12493"/>
                      </a:cubicBezTo>
                      <a:cubicBezTo>
                        <a:pt x="19836" y="12492"/>
                        <a:pt x="19836" y="12491"/>
                        <a:pt x="19836" y="12490"/>
                      </a:cubicBezTo>
                      <a:lnTo>
                        <a:pt x="19823" y="12458"/>
                      </a:lnTo>
                      <a:cubicBezTo>
                        <a:pt x="19798" y="12353"/>
                        <a:pt x="19723" y="12032"/>
                        <a:pt x="19869" y="11811"/>
                      </a:cubicBezTo>
                      <a:cubicBezTo>
                        <a:pt x="19882" y="11791"/>
                        <a:pt x="19904" y="11765"/>
                        <a:pt x="19933" y="11731"/>
                      </a:cubicBezTo>
                      <a:cubicBezTo>
                        <a:pt x="19977" y="11680"/>
                        <a:pt x="20044" y="11601"/>
                        <a:pt x="20131" y="11445"/>
                      </a:cubicBezTo>
                      <a:cubicBezTo>
                        <a:pt x="20167" y="11379"/>
                        <a:pt x="20202" y="11310"/>
                        <a:pt x="20238" y="11242"/>
                      </a:cubicBezTo>
                      <a:cubicBezTo>
                        <a:pt x="20348" y="11027"/>
                        <a:pt x="20462" y="10806"/>
                        <a:pt x="20599" y="10669"/>
                      </a:cubicBezTo>
                      <a:cubicBezTo>
                        <a:pt x="20707" y="10561"/>
                        <a:pt x="20851" y="10420"/>
                        <a:pt x="20921" y="10353"/>
                      </a:cubicBezTo>
                      <a:lnTo>
                        <a:pt x="21600" y="8712"/>
                      </a:lnTo>
                      <a:cubicBezTo>
                        <a:pt x="21568" y="8727"/>
                        <a:pt x="21537" y="8717"/>
                        <a:pt x="21505" y="8713"/>
                      </a:cubicBezTo>
                      <a:cubicBezTo>
                        <a:pt x="21490" y="8712"/>
                        <a:pt x="21474" y="8719"/>
                        <a:pt x="21459" y="8713"/>
                      </a:cubicBezTo>
                      <a:cubicBezTo>
                        <a:pt x="21408" y="8693"/>
                        <a:pt x="21361" y="8654"/>
                        <a:pt x="21325" y="8589"/>
                      </a:cubicBezTo>
                      <a:lnTo>
                        <a:pt x="21261" y="8474"/>
                      </a:lnTo>
                      <a:lnTo>
                        <a:pt x="21258" y="8367"/>
                      </a:lnTo>
                      <a:cubicBezTo>
                        <a:pt x="21256" y="8364"/>
                        <a:pt x="21254" y="8361"/>
                        <a:pt x="21252" y="8358"/>
                      </a:cubicBezTo>
                      <a:lnTo>
                        <a:pt x="21213" y="8361"/>
                      </a:lnTo>
                      <a:cubicBezTo>
                        <a:pt x="21159" y="8361"/>
                        <a:pt x="21067" y="8328"/>
                        <a:pt x="21007" y="8123"/>
                      </a:cubicBezTo>
                      <a:cubicBezTo>
                        <a:pt x="20960" y="8120"/>
                        <a:pt x="20919" y="8104"/>
                        <a:pt x="20880" y="8073"/>
                      </a:cubicBezTo>
                      <a:cubicBezTo>
                        <a:pt x="20738" y="7962"/>
                        <a:pt x="20708" y="7746"/>
                        <a:pt x="20697" y="7664"/>
                      </a:cubicBezTo>
                      <a:cubicBezTo>
                        <a:pt x="20689" y="7634"/>
                        <a:pt x="20671" y="7599"/>
                        <a:pt x="20657" y="7571"/>
                      </a:cubicBezTo>
                      <a:cubicBezTo>
                        <a:pt x="20639" y="7532"/>
                        <a:pt x="20624" y="7499"/>
                        <a:pt x="20615" y="7477"/>
                      </a:cubicBezTo>
                      <a:cubicBezTo>
                        <a:pt x="20599" y="7435"/>
                        <a:pt x="20576" y="7359"/>
                        <a:pt x="20569" y="7260"/>
                      </a:cubicBezTo>
                      <a:cubicBezTo>
                        <a:pt x="20544" y="7237"/>
                        <a:pt x="20519" y="7216"/>
                        <a:pt x="20496" y="7198"/>
                      </a:cubicBezTo>
                      <a:cubicBezTo>
                        <a:pt x="20445" y="7155"/>
                        <a:pt x="20405" y="7115"/>
                        <a:pt x="20396" y="7104"/>
                      </a:cubicBezTo>
                      <a:cubicBezTo>
                        <a:pt x="20346" y="7037"/>
                        <a:pt x="20320" y="6953"/>
                        <a:pt x="20266" y="6787"/>
                      </a:cubicBezTo>
                      <a:cubicBezTo>
                        <a:pt x="20246" y="6723"/>
                        <a:pt x="20222" y="6662"/>
                        <a:pt x="20202" y="6613"/>
                      </a:cubicBezTo>
                      <a:cubicBezTo>
                        <a:pt x="20033" y="6593"/>
                        <a:pt x="19936" y="6313"/>
                        <a:pt x="19914" y="6213"/>
                      </a:cubicBezTo>
                      <a:cubicBezTo>
                        <a:pt x="19891" y="6101"/>
                        <a:pt x="19897" y="6000"/>
                        <a:pt x="19912" y="5894"/>
                      </a:cubicBezTo>
                      <a:cubicBezTo>
                        <a:pt x="19823" y="5802"/>
                        <a:pt x="19784" y="5677"/>
                        <a:pt x="19747" y="5555"/>
                      </a:cubicBezTo>
                      <a:cubicBezTo>
                        <a:pt x="19719" y="5466"/>
                        <a:pt x="19679" y="5393"/>
                        <a:pt x="19667" y="5377"/>
                      </a:cubicBezTo>
                      <a:cubicBezTo>
                        <a:pt x="19619" y="5345"/>
                        <a:pt x="19587" y="5275"/>
                        <a:pt x="19565" y="5209"/>
                      </a:cubicBezTo>
                      <a:cubicBezTo>
                        <a:pt x="19528" y="5182"/>
                        <a:pt x="19500" y="5159"/>
                        <a:pt x="19478" y="5134"/>
                      </a:cubicBezTo>
                      <a:cubicBezTo>
                        <a:pt x="19366" y="5010"/>
                        <a:pt x="19299" y="4751"/>
                        <a:pt x="19283" y="4662"/>
                      </a:cubicBezTo>
                      <a:lnTo>
                        <a:pt x="19249" y="4477"/>
                      </a:lnTo>
                      <a:lnTo>
                        <a:pt x="19352" y="4193"/>
                      </a:lnTo>
                      <a:cubicBezTo>
                        <a:pt x="19335" y="4136"/>
                        <a:pt x="19316" y="4064"/>
                        <a:pt x="19311" y="3975"/>
                      </a:cubicBezTo>
                      <a:cubicBezTo>
                        <a:pt x="19311" y="3973"/>
                        <a:pt x="19311" y="3966"/>
                        <a:pt x="19311" y="3963"/>
                      </a:cubicBezTo>
                      <a:cubicBezTo>
                        <a:pt x="19308" y="3924"/>
                        <a:pt x="19304" y="3754"/>
                        <a:pt x="19377" y="3622"/>
                      </a:cubicBezTo>
                      <a:cubicBezTo>
                        <a:pt x="19372" y="3581"/>
                        <a:pt x="19370" y="3544"/>
                        <a:pt x="19370" y="3510"/>
                      </a:cubicBezTo>
                      <a:cubicBezTo>
                        <a:pt x="19300" y="3412"/>
                        <a:pt x="19266" y="3248"/>
                        <a:pt x="19265" y="3095"/>
                      </a:cubicBezTo>
                      <a:cubicBezTo>
                        <a:pt x="19248" y="3042"/>
                        <a:pt x="19240" y="2986"/>
                        <a:pt x="19237" y="2931"/>
                      </a:cubicBezTo>
                      <a:cubicBezTo>
                        <a:pt x="19236" y="2908"/>
                        <a:pt x="19238" y="2886"/>
                        <a:pt x="19238" y="2863"/>
                      </a:cubicBezTo>
                      <a:cubicBezTo>
                        <a:pt x="19239" y="2832"/>
                        <a:pt x="19238" y="2802"/>
                        <a:pt x="19241" y="2773"/>
                      </a:cubicBezTo>
                      <a:cubicBezTo>
                        <a:pt x="19241" y="2769"/>
                        <a:pt x="19241" y="2765"/>
                        <a:pt x="19241" y="2762"/>
                      </a:cubicBezTo>
                      <a:cubicBezTo>
                        <a:pt x="19231" y="2721"/>
                        <a:pt x="19223" y="2678"/>
                        <a:pt x="19215" y="2639"/>
                      </a:cubicBezTo>
                      <a:cubicBezTo>
                        <a:pt x="19210" y="2611"/>
                        <a:pt x="19205" y="2582"/>
                        <a:pt x="19199" y="2561"/>
                      </a:cubicBezTo>
                      <a:cubicBezTo>
                        <a:pt x="19024" y="2525"/>
                        <a:pt x="18967" y="2329"/>
                        <a:pt x="18937" y="2213"/>
                      </a:cubicBezTo>
                      <a:lnTo>
                        <a:pt x="18906" y="2200"/>
                      </a:lnTo>
                      <a:cubicBezTo>
                        <a:pt x="18757" y="2239"/>
                        <a:pt x="18662" y="2229"/>
                        <a:pt x="18533" y="2099"/>
                      </a:cubicBezTo>
                      <a:cubicBezTo>
                        <a:pt x="18359" y="1924"/>
                        <a:pt x="18319" y="1640"/>
                        <a:pt x="18298" y="1487"/>
                      </a:cubicBezTo>
                      <a:lnTo>
                        <a:pt x="18281" y="1394"/>
                      </a:lnTo>
                      <a:cubicBezTo>
                        <a:pt x="18257" y="1347"/>
                        <a:pt x="18240" y="1311"/>
                        <a:pt x="18221" y="1259"/>
                      </a:cubicBezTo>
                      <a:cubicBezTo>
                        <a:pt x="18210" y="1227"/>
                        <a:pt x="18201" y="1194"/>
                        <a:pt x="18194" y="1160"/>
                      </a:cubicBezTo>
                      <a:cubicBezTo>
                        <a:pt x="18161" y="1204"/>
                        <a:pt x="18115" y="1245"/>
                        <a:pt x="18053" y="1255"/>
                      </a:cubicBezTo>
                      <a:cubicBezTo>
                        <a:pt x="18047" y="1280"/>
                        <a:pt x="18039" y="1306"/>
                        <a:pt x="18031" y="1332"/>
                      </a:cubicBezTo>
                      <a:cubicBezTo>
                        <a:pt x="17989" y="1459"/>
                        <a:pt x="17923" y="1535"/>
                        <a:pt x="17879" y="1586"/>
                      </a:cubicBezTo>
                      <a:cubicBezTo>
                        <a:pt x="17888" y="1763"/>
                        <a:pt x="17859" y="1880"/>
                        <a:pt x="17831" y="1950"/>
                      </a:cubicBezTo>
                      <a:cubicBezTo>
                        <a:pt x="17770" y="2103"/>
                        <a:pt x="17679" y="2127"/>
                        <a:pt x="17641" y="2137"/>
                      </a:cubicBezTo>
                      <a:cubicBezTo>
                        <a:pt x="17606" y="2166"/>
                        <a:pt x="17579" y="2205"/>
                        <a:pt x="17538" y="2232"/>
                      </a:cubicBezTo>
                      <a:lnTo>
                        <a:pt x="17451" y="2260"/>
                      </a:lnTo>
                      <a:cubicBezTo>
                        <a:pt x="17434" y="2260"/>
                        <a:pt x="17414" y="2256"/>
                        <a:pt x="17386" y="2248"/>
                      </a:cubicBezTo>
                      <a:cubicBezTo>
                        <a:pt x="17361" y="2303"/>
                        <a:pt x="17332" y="2357"/>
                        <a:pt x="17293" y="2403"/>
                      </a:cubicBezTo>
                      <a:lnTo>
                        <a:pt x="17240" y="2465"/>
                      </a:lnTo>
                      <a:lnTo>
                        <a:pt x="17148" y="2484"/>
                      </a:lnTo>
                      <a:cubicBezTo>
                        <a:pt x="16991" y="2484"/>
                        <a:pt x="16927" y="2241"/>
                        <a:pt x="16906" y="2161"/>
                      </a:cubicBezTo>
                      <a:cubicBezTo>
                        <a:pt x="16902" y="2146"/>
                        <a:pt x="16898" y="2131"/>
                        <a:pt x="16894" y="2118"/>
                      </a:cubicBezTo>
                      <a:lnTo>
                        <a:pt x="16806" y="2118"/>
                      </a:lnTo>
                      <a:cubicBezTo>
                        <a:pt x="16735" y="2127"/>
                        <a:pt x="16670" y="2127"/>
                        <a:pt x="16619" y="2110"/>
                      </a:cubicBezTo>
                      <a:cubicBezTo>
                        <a:pt x="16529" y="2078"/>
                        <a:pt x="16461" y="2011"/>
                        <a:pt x="16414" y="1961"/>
                      </a:cubicBezTo>
                      <a:cubicBezTo>
                        <a:pt x="16383" y="1984"/>
                        <a:pt x="16341" y="2018"/>
                        <a:pt x="16292" y="2061"/>
                      </a:cubicBezTo>
                      <a:cubicBezTo>
                        <a:pt x="16292" y="2131"/>
                        <a:pt x="16290" y="2177"/>
                        <a:pt x="16286" y="2217"/>
                      </a:cubicBezTo>
                      <a:cubicBezTo>
                        <a:pt x="16266" y="2453"/>
                        <a:pt x="16159" y="2614"/>
                        <a:pt x="16018" y="2614"/>
                      </a:cubicBezTo>
                      <a:cubicBezTo>
                        <a:pt x="15953" y="2614"/>
                        <a:pt x="15891" y="2580"/>
                        <a:pt x="15842" y="2552"/>
                      </a:cubicBezTo>
                      <a:cubicBezTo>
                        <a:pt x="15804" y="2532"/>
                        <a:pt x="15772" y="2531"/>
                        <a:pt x="15738" y="2530"/>
                      </a:cubicBezTo>
                      <a:lnTo>
                        <a:pt x="15690" y="2527"/>
                      </a:lnTo>
                      <a:cubicBezTo>
                        <a:pt x="15612" y="2520"/>
                        <a:pt x="15509" y="2450"/>
                        <a:pt x="15457" y="2167"/>
                      </a:cubicBezTo>
                      <a:cubicBezTo>
                        <a:pt x="15445" y="2163"/>
                        <a:pt x="15433" y="2159"/>
                        <a:pt x="15420" y="2153"/>
                      </a:cubicBezTo>
                      <a:cubicBezTo>
                        <a:pt x="15317" y="2111"/>
                        <a:pt x="15242" y="2002"/>
                        <a:pt x="15197" y="1828"/>
                      </a:cubicBezTo>
                      <a:cubicBezTo>
                        <a:pt x="15195" y="1828"/>
                        <a:pt x="15193" y="1827"/>
                        <a:pt x="15191" y="1827"/>
                      </a:cubicBezTo>
                      <a:cubicBezTo>
                        <a:pt x="15126" y="1819"/>
                        <a:pt x="15074" y="1781"/>
                        <a:pt x="15039" y="1756"/>
                      </a:cubicBezTo>
                      <a:cubicBezTo>
                        <a:pt x="15044" y="1761"/>
                        <a:pt x="15017" y="1770"/>
                        <a:pt x="15008" y="1776"/>
                      </a:cubicBezTo>
                      <a:cubicBezTo>
                        <a:pt x="14861" y="1903"/>
                        <a:pt x="14748" y="1974"/>
                        <a:pt x="14678" y="1985"/>
                      </a:cubicBezTo>
                      <a:cubicBezTo>
                        <a:pt x="14560" y="1992"/>
                        <a:pt x="14493" y="1919"/>
                        <a:pt x="14453" y="1870"/>
                      </a:cubicBezTo>
                      <a:cubicBezTo>
                        <a:pt x="14444" y="1869"/>
                        <a:pt x="14434" y="1870"/>
                        <a:pt x="14422" y="1870"/>
                      </a:cubicBezTo>
                      <a:cubicBezTo>
                        <a:pt x="14328" y="1863"/>
                        <a:pt x="14231" y="1870"/>
                        <a:pt x="14148" y="1822"/>
                      </a:cubicBezTo>
                      <a:cubicBezTo>
                        <a:pt x="13946" y="1706"/>
                        <a:pt x="13926" y="1296"/>
                        <a:pt x="13917" y="1100"/>
                      </a:cubicBezTo>
                      <a:cubicBezTo>
                        <a:pt x="13907" y="1042"/>
                        <a:pt x="13845" y="928"/>
                        <a:pt x="13797" y="834"/>
                      </a:cubicBezTo>
                      <a:cubicBezTo>
                        <a:pt x="13747" y="737"/>
                        <a:pt x="13708" y="653"/>
                        <a:pt x="13697" y="622"/>
                      </a:cubicBezTo>
                      <a:cubicBezTo>
                        <a:pt x="13682" y="578"/>
                        <a:pt x="13667" y="522"/>
                        <a:pt x="13653" y="454"/>
                      </a:cubicBezTo>
                      <a:cubicBezTo>
                        <a:pt x="13645" y="414"/>
                        <a:pt x="13629" y="340"/>
                        <a:pt x="13618" y="318"/>
                      </a:cubicBezTo>
                      <a:cubicBezTo>
                        <a:pt x="13613" y="315"/>
                        <a:pt x="13577" y="308"/>
                        <a:pt x="13556" y="303"/>
                      </a:cubicBezTo>
                      <a:cubicBezTo>
                        <a:pt x="13373" y="260"/>
                        <a:pt x="13277" y="180"/>
                        <a:pt x="13222" y="39"/>
                      </a:cubicBezTo>
                      <a:cubicBezTo>
                        <a:pt x="13220" y="33"/>
                        <a:pt x="13216" y="23"/>
                        <a:pt x="13211" y="8"/>
                      </a:cubicBezTo>
                      <a:cubicBezTo>
                        <a:pt x="13174" y="45"/>
                        <a:pt x="13126" y="74"/>
                        <a:pt x="13065" y="74"/>
                      </a:cubicBezTo>
                      <a:lnTo>
                        <a:pt x="13045" y="73"/>
                      </a:lnTo>
                      <a:cubicBezTo>
                        <a:pt x="13044" y="74"/>
                        <a:pt x="13043" y="76"/>
                        <a:pt x="13042" y="78"/>
                      </a:cubicBezTo>
                      <a:cubicBezTo>
                        <a:pt x="12965" y="175"/>
                        <a:pt x="12900" y="259"/>
                        <a:pt x="12821" y="277"/>
                      </a:cubicBezTo>
                      <a:lnTo>
                        <a:pt x="12774" y="283"/>
                      </a:lnTo>
                      <a:cubicBezTo>
                        <a:pt x="12691" y="283"/>
                        <a:pt x="12639" y="216"/>
                        <a:pt x="12611" y="180"/>
                      </a:cubicBezTo>
                      <a:cubicBezTo>
                        <a:pt x="12602" y="170"/>
                        <a:pt x="12598" y="164"/>
                        <a:pt x="12597" y="161"/>
                      </a:cubicBezTo>
                      <a:cubicBezTo>
                        <a:pt x="12502" y="147"/>
                        <a:pt x="12454" y="56"/>
                        <a:pt x="12433" y="14"/>
                      </a:cubicBezTo>
                      <a:cubicBezTo>
                        <a:pt x="12430" y="10"/>
                        <a:pt x="12428" y="5"/>
                        <a:pt x="12425" y="0"/>
                      </a:cubicBezTo>
                      <a:cubicBezTo>
                        <a:pt x="12424" y="4"/>
                        <a:pt x="12422" y="8"/>
                        <a:pt x="12420" y="11"/>
                      </a:cubicBezTo>
                      <a:cubicBezTo>
                        <a:pt x="12418" y="16"/>
                        <a:pt x="12417" y="20"/>
                        <a:pt x="12415" y="24"/>
                      </a:cubicBezTo>
                      <a:lnTo>
                        <a:pt x="12420" y="76"/>
                      </a:lnTo>
                      <a:lnTo>
                        <a:pt x="12414" y="81"/>
                      </a:lnTo>
                      <a:lnTo>
                        <a:pt x="12414" y="89"/>
                      </a:lnTo>
                      <a:lnTo>
                        <a:pt x="12266" y="202"/>
                      </a:lnTo>
                      <a:cubicBezTo>
                        <a:pt x="12262" y="217"/>
                        <a:pt x="12256" y="230"/>
                        <a:pt x="12251" y="244"/>
                      </a:cubicBezTo>
                      <a:cubicBezTo>
                        <a:pt x="12319" y="355"/>
                        <a:pt x="12396" y="508"/>
                        <a:pt x="12419" y="632"/>
                      </a:cubicBezTo>
                      <a:cubicBezTo>
                        <a:pt x="12437" y="724"/>
                        <a:pt x="12442" y="862"/>
                        <a:pt x="12428" y="994"/>
                      </a:cubicBezTo>
                      <a:cubicBezTo>
                        <a:pt x="12439" y="1002"/>
                        <a:pt x="12449" y="1011"/>
                        <a:pt x="12459" y="1021"/>
                      </a:cubicBezTo>
                      <a:cubicBezTo>
                        <a:pt x="12526" y="1092"/>
                        <a:pt x="12607" y="1235"/>
                        <a:pt x="12635" y="1433"/>
                      </a:cubicBezTo>
                      <a:cubicBezTo>
                        <a:pt x="12655" y="1571"/>
                        <a:pt x="12644" y="1713"/>
                        <a:pt x="12604" y="1830"/>
                      </a:cubicBezTo>
                      <a:cubicBezTo>
                        <a:pt x="12597" y="1853"/>
                        <a:pt x="12588" y="1874"/>
                        <a:pt x="12580" y="1894"/>
                      </a:cubicBezTo>
                      <a:cubicBezTo>
                        <a:pt x="12630" y="2046"/>
                        <a:pt x="12630" y="2193"/>
                        <a:pt x="12586" y="2330"/>
                      </a:cubicBezTo>
                      <a:cubicBezTo>
                        <a:pt x="12521" y="2527"/>
                        <a:pt x="12388" y="2615"/>
                        <a:pt x="12239" y="2543"/>
                      </a:cubicBezTo>
                      <a:close/>
                      <a:moveTo>
                        <a:pt x="12239" y="2543"/>
                      </a:moveTo>
                    </a:path>
                  </a:pathLst>
                </a:custGeom>
                <a:solidFill>
                  <a:schemeClr val="accent1">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2400"/>
                    <a:buFontTx/>
                    <a:buNone/>
                    <a:tabLst/>
                    <a:defRPr/>
                  </a:pPr>
                  <a:endParaRPr kumimoji="0" sz="18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58" name="Google Shape;439;p54">
                  <a:extLst>
                    <a:ext uri="{FF2B5EF4-FFF2-40B4-BE49-F238E27FC236}">
                      <a16:creationId xmlns:a16="http://schemas.microsoft.com/office/drawing/2014/main" id="{E13C1BFA-A9EE-4AA1-A5B8-B3BAB4C0FBF8}"/>
                    </a:ext>
                  </a:extLst>
                </p:cNvPr>
                <p:cNvSpPr/>
                <p:nvPr/>
              </p:nvSpPr>
              <p:spPr>
                <a:xfrm>
                  <a:off x="5657178" y="3931257"/>
                  <a:ext cx="1234656" cy="476766"/>
                </a:xfrm>
                <a:custGeom>
                  <a:avLst/>
                  <a:gdLst/>
                  <a:ahLst/>
                  <a:cxnLst/>
                  <a:rect l="l" t="t" r="r" b="b"/>
                  <a:pathLst>
                    <a:path w="21600" h="21600" extrusionOk="0">
                      <a:moveTo>
                        <a:pt x="21600" y="619"/>
                      </a:moveTo>
                      <a:cubicBezTo>
                        <a:pt x="21599" y="616"/>
                        <a:pt x="21599" y="612"/>
                        <a:pt x="21598" y="608"/>
                      </a:cubicBezTo>
                      <a:cubicBezTo>
                        <a:pt x="21564" y="391"/>
                        <a:pt x="21542" y="249"/>
                        <a:pt x="21550" y="88"/>
                      </a:cubicBezTo>
                      <a:cubicBezTo>
                        <a:pt x="21551" y="57"/>
                        <a:pt x="21554" y="27"/>
                        <a:pt x="21557" y="0"/>
                      </a:cubicBezTo>
                      <a:lnTo>
                        <a:pt x="21244" y="150"/>
                      </a:lnTo>
                      <a:lnTo>
                        <a:pt x="21216" y="334"/>
                      </a:lnTo>
                      <a:lnTo>
                        <a:pt x="16622" y="2473"/>
                      </a:lnTo>
                      <a:lnTo>
                        <a:pt x="16554" y="2658"/>
                      </a:lnTo>
                      <a:lnTo>
                        <a:pt x="16493" y="2683"/>
                      </a:lnTo>
                      <a:cubicBezTo>
                        <a:pt x="16493" y="2683"/>
                        <a:pt x="14851" y="3357"/>
                        <a:pt x="14394" y="3521"/>
                      </a:cubicBezTo>
                      <a:cubicBezTo>
                        <a:pt x="14139" y="3612"/>
                        <a:pt x="13666" y="3723"/>
                        <a:pt x="13248" y="3821"/>
                      </a:cubicBezTo>
                      <a:cubicBezTo>
                        <a:pt x="12913" y="3901"/>
                        <a:pt x="12615" y="3970"/>
                        <a:pt x="12511" y="4011"/>
                      </a:cubicBezTo>
                      <a:cubicBezTo>
                        <a:pt x="12433" y="4042"/>
                        <a:pt x="12320" y="4096"/>
                        <a:pt x="12187" y="4160"/>
                      </a:cubicBezTo>
                      <a:cubicBezTo>
                        <a:pt x="11917" y="4290"/>
                        <a:pt x="11580" y="4452"/>
                        <a:pt x="11280" y="4546"/>
                      </a:cubicBezTo>
                      <a:cubicBezTo>
                        <a:pt x="10839" y="4687"/>
                        <a:pt x="9278" y="5039"/>
                        <a:pt x="9212" y="5054"/>
                      </a:cubicBezTo>
                      <a:cubicBezTo>
                        <a:pt x="9207" y="5054"/>
                        <a:pt x="9138" y="5064"/>
                        <a:pt x="9107" y="5084"/>
                      </a:cubicBezTo>
                      <a:cubicBezTo>
                        <a:pt x="9065" y="5115"/>
                        <a:pt x="9033" y="5139"/>
                        <a:pt x="9019" y="5165"/>
                      </a:cubicBezTo>
                      <a:lnTo>
                        <a:pt x="8971" y="5260"/>
                      </a:lnTo>
                      <a:lnTo>
                        <a:pt x="8877" y="5290"/>
                      </a:lnTo>
                      <a:cubicBezTo>
                        <a:pt x="8833" y="5290"/>
                        <a:pt x="8794" y="5259"/>
                        <a:pt x="8762" y="5218"/>
                      </a:cubicBezTo>
                      <a:lnTo>
                        <a:pt x="5594" y="6475"/>
                      </a:lnTo>
                      <a:lnTo>
                        <a:pt x="5541" y="6474"/>
                      </a:lnTo>
                      <a:cubicBezTo>
                        <a:pt x="5481" y="6449"/>
                        <a:pt x="5398" y="6415"/>
                        <a:pt x="5345" y="6265"/>
                      </a:cubicBezTo>
                      <a:cubicBezTo>
                        <a:pt x="5299" y="6278"/>
                        <a:pt x="5238" y="6282"/>
                        <a:pt x="5134" y="6282"/>
                      </a:cubicBezTo>
                      <a:lnTo>
                        <a:pt x="5125" y="6282"/>
                      </a:lnTo>
                      <a:cubicBezTo>
                        <a:pt x="5142" y="6381"/>
                        <a:pt x="5160" y="6495"/>
                        <a:pt x="5176" y="6627"/>
                      </a:cubicBezTo>
                      <a:cubicBezTo>
                        <a:pt x="5266" y="7331"/>
                        <a:pt x="5146" y="7681"/>
                        <a:pt x="5121" y="7745"/>
                      </a:cubicBezTo>
                      <a:lnTo>
                        <a:pt x="5077" y="7857"/>
                      </a:lnTo>
                      <a:lnTo>
                        <a:pt x="1837" y="8788"/>
                      </a:lnTo>
                      <a:lnTo>
                        <a:pt x="1507" y="8937"/>
                      </a:lnTo>
                      <a:cubicBezTo>
                        <a:pt x="1455" y="9145"/>
                        <a:pt x="1381" y="9287"/>
                        <a:pt x="1301" y="9334"/>
                      </a:cubicBezTo>
                      <a:cubicBezTo>
                        <a:pt x="1373" y="9753"/>
                        <a:pt x="1329" y="10047"/>
                        <a:pt x="1295" y="10190"/>
                      </a:cubicBezTo>
                      <a:cubicBezTo>
                        <a:pt x="1288" y="10220"/>
                        <a:pt x="1279" y="10251"/>
                        <a:pt x="1268" y="10282"/>
                      </a:cubicBezTo>
                      <a:cubicBezTo>
                        <a:pt x="1299" y="10366"/>
                        <a:pt x="1323" y="10481"/>
                        <a:pt x="1328" y="10639"/>
                      </a:cubicBezTo>
                      <a:cubicBezTo>
                        <a:pt x="1330" y="10697"/>
                        <a:pt x="1335" y="11131"/>
                        <a:pt x="1143" y="11210"/>
                      </a:cubicBezTo>
                      <a:cubicBezTo>
                        <a:pt x="1178" y="11302"/>
                        <a:pt x="1204" y="11406"/>
                        <a:pt x="1218" y="11523"/>
                      </a:cubicBezTo>
                      <a:cubicBezTo>
                        <a:pt x="1243" y="11725"/>
                        <a:pt x="1233" y="11936"/>
                        <a:pt x="1189" y="12152"/>
                      </a:cubicBezTo>
                      <a:cubicBezTo>
                        <a:pt x="1156" y="12308"/>
                        <a:pt x="1098" y="12419"/>
                        <a:pt x="1009" y="12544"/>
                      </a:cubicBezTo>
                      <a:cubicBezTo>
                        <a:pt x="1009" y="12551"/>
                        <a:pt x="1009" y="12561"/>
                        <a:pt x="1008" y="12569"/>
                      </a:cubicBezTo>
                      <a:lnTo>
                        <a:pt x="1114" y="12541"/>
                      </a:lnTo>
                      <a:lnTo>
                        <a:pt x="977" y="13161"/>
                      </a:lnTo>
                      <a:cubicBezTo>
                        <a:pt x="994" y="13189"/>
                        <a:pt x="1011" y="13217"/>
                        <a:pt x="1022" y="13236"/>
                      </a:cubicBezTo>
                      <a:cubicBezTo>
                        <a:pt x="1058" y="13296"/>
                        <a:pt x="1086" y="13346"/>
                        <a:pt x="1097" y="13371"/>
                      </a:cubicBezTo>
                      <a:cubicBezTo>
                        <a:pt x="1151" y="13489"/>
                        <a:pt x="1179" y="13675"/>
                        <a:pt x="1172" y="13879"/>
                      </a:cubicBezTo>
                      <a:cubicBezTo>
                        <a:pt x="1165" y="14102"/>
                        <a:pt x="1117" y="14314"/>
                        <a:pt x="1050" y="14435"/>
                      </a:cubicBezTo>
                      <a:cubicBezTo>
                        <a:pt x="1055" y="14480"/>
                        <a:pt x="1057" y="14521"/>
                        <a:pt x="1058" y="14555"/>
                      </a:cubicBezTo>
                      <a:cubicBezTo>
                        <a:pt x="1064" y="14911"/>
                        <a:pt x="943" y="15092"/>
                        <a:pt x="898" y="15160"/>
                      </a:cubicBezTo>
                      <a:lnTo>
                        <a:pt x="856" y="15222"/>
                      </a:lnTo>
                      <a:lnTo>
                        <a:pt x="785" y="15244"/>
                      </a:lnTo>
                      <a:cubicBezTo>
                        <a:pt x="784" y="15249"/>
                        <a:pt x="784" y="15253"/>
                        <a:pt x="784" y="15257"/>
                      </a:cubicBezTo>
                      <a:cubicBezTo>
                        <a:pt x="774" y="15360"/>
                        <a:pt x="767" y="15441"/>
                        <a:pt x="746" y="15524"/>
                      </a:cubicBezTo>
                      <a:cubicBezTo>
                        <a:pt x="712" y="15651"/>
                        <a:pt x="667" y="15711"/>
                        <a:pt x="627" y="15741"/>
                      </a:cubicBezTo>
                      <a:lnTo>
                        <a:pt x="644" y="15795"/>
                      </a:lnTo>
                      <a:cubicBezTo>
                        <a:pt x="659" y="15851"/>
                        <a:pt x="735" y="16144"/>
                        <a:pt x="698" y="16440"/>
                      </a:cubicBezTo>
                      <a:cubicBezTo>
                        <a:pt x="666" y="16695"/>
                        <a:pt x="591" y="16789"/>
                        <a:pt x="530" y="16862"/>
                      </a:cubicBezTo>
                      <a:cubicBezTo>
                        <a:pt x="583" y="17017"/>
                        <a:pt x="615" y="17231"/>
                        <a:pt x="598" y="17456"/>
                      </a:cubicBezTo>
                      <a:cubicBezTo>
                        <a:pt x="578" y="17741"/>
                        <a:pt x="489" y="17925"/>
                        <a:pt x="373" y="17925"/>
                      </a:cubicBezTo>
                      <a:lnTo>
                        <a:pt x="335" y="17921"/>
                      </a:lnTo>
                      <a:cubicBezTo>
                        <a:pt x="329" y="17921"/>
                        <a:pt x="323" y="17920"/>
                        <a:pt x="317" y="17919"/>
                      </a:cubicBezTo>
                      <a:cubicBezTo>
                        <a:pt x="326" y="18042"/>
                        <a:pt x="321" y="18177"/>
                        <a:pt x="302" y="18317"/>
                      </a:cubicBezTo>
                      <a:cubicBezTo>
                        <a:pt x="294" y="18378"/>
                        <a:pt x="257" y="18629"/>
                        <a:pt x="177" y="18780"/>
                      </a:cubicBezTo>
                      <a:cubicBezTo>
                        <a:pt x="184" y="18908"/>
                        <a:pt x="176" y="19073"/>
                        <a:pt x="123" y="19225"/>
                      </a:cubicBezTo>
                      <a:cubicBezTo>
                        <a:pt x="124" y="19273"/>
                        <a:pt x="123" y="19327"/>
                        <a:pt x="119" y="19386"/>
                      </a:cubicBezTo>
                      <a:cubicBezTo>
                        <a:pt x="116" y="19430"/>
                        <a:pt x="112" y="19471"/>
                        <a:pt x="106" y="19510"/>
                      </a:cubicBezTo>
                      <a:cubicBezTo>
                        <a:pt x="166" y="19635"/>
                        <a:pt x="206" y="19823"/>
                        <a:pt x="219" y="20010"/>
                      </a:cubicBezTo>
                      <a:cubicBezTo>
                        <a:pt x="227" y="20118"/>
                        <a:pt x="225" y="20218"/>
                        <a:pt x="214" y="20310"/>
                      </a:cubicBezTo>
                      <a:cubicBezTo>
                        <a:pt x="221" y="20322"/>
                        <a:pt x="228" y="20337"/>
                        <a:pt x="235" y="20352"/>
                      </a:cubicBezTo>
                      <a:lnTo>
                        <a:pt x="301" y="20495"/>
                      </a:lnTo>
                      <a:lnTo>
                        <a:pt x="314" y="20790"/>
                      </a:lnTo>
                      <a:cubicBezTo>
                        <a:pt x="312" y="21091"/>
                        <a:pt x="220" y="21279"/>
                        <a:pt x="181" y="21360"/>
                      </a:cubicBezTo>
                      <a:lnTo>
                        <a:pt x="132" y="21461"/>
                      </a:lnTo>
                      <a:lnTo>
                        <a:pt x="46" y="21495"/>
                      </a:lnTo>
                      <a:cubicBezTo>
                        <a:pt x="32" y="21495"/>
                        <a:pt x="19" y="21492"/>
                        <a:pt x="7" y="21486"/>
                      </a:cubicBezTo>
                      <a:cubicBezTo>
                        <a:pt x="4" y="21526"/>
                        <a:pt x="2" y="21563"/>
                        <a:pt x="0" y="21600"/>
                      </a:cubicBezTo>
                      <a:cubicBezTo>
                        <a:pt x="198" y="21549"/>
                        <a:pt x="397" y="21498"/>
                        <a:pt x="594" y="21446"/>
                      </a:cubicBezTo>
                      <a:cubicBezTo>
                        <a:pt x="767" y="21401"/>
                        <a:pt x="940" y="21356"/>
                        <a:pt x="1112" y="21309"/>
                      </a:cubicBezTo>
                      <a:cubicBezTo>
                        <a:pt x="1408" y="21229"/>
                        <a:pt x="1701" y="21146"/>
                        <a:pt x="1994" y="21063"/>
                      </a:cubicBezTo>
                      <a:cubicBezTo>
                        <a:pt x="2162" y="21015"/>
                        <a:pt x="2330" y="20969"/>
                        <a:pt x="2497" y="20921"/>
                      </a:cubicBezTo>
                      <a:cubicBezTo>
                        <a:pt x="2838" y="20821"/>
                        <a:pt x="3176" y="20719"/>
                        <a:pt x="3513" y="20615"/>
                      </a:cubicBezTo>
                      <a:cubicBezTo>
                        <a:pt x="3624" y="20581"/>
                        <a:pt x="3737" y="20548"/>
                        <a:pt x="3848" y="20514"/>
                      </a:cubicBezTo>
                      <a:cubicBezTo>
                        <a:pt x="4282" y="20378"/>
                        <a:pt x="4711" y="20240"/>
                        <a:pt x="5136" y="20097"/>
                      </a:cubicBezTo>
                      <a:lnTo>
                        <a:pt x="5157" y="20058"/>
                      </a:lnTo>
                      <a:cubicBezTo>
                        <a:pt x="5168" y="20043"/>
                        <a:pt x="5177" y="20031"/>
                        <a:pt x="5285" y="19953"/>
                      </a:cubicBezTo>
                      <a:cubicBezTo>
                        <a:pt x="5858" y="19786"/>
                        <a:pt x="6423" y="19616"/>
                        <a:pt x="6981" y="19444"/>
                      </a:cubicBezTo>
                      <a:cubicBezTo>
                        <a:pt x="7095" y="19408"/>
                        <a:pt x="7208" y="19372"/>
                        <a:pt x="7321" y="19336"/>
                      </a:cubicBezTo>
                      <a:cubicBezTo>
                        <a:pt x="7756" y="19201"/>
                        <a:pt x="8185" y="19062"/>
                        <a:pt x="8608" y="18923"/>
                      </a:cubicBezTo>
                      <a:cubicBezTo>
                        <a:pt x="8757" y="18874"/>
                        <a:pt x="8906" y="18826"/>
                        <a:pt x="9053" y="18776"/>
                      </a:cubicBezTo>
                      <a:cubicBezTo>
                        <a:pt x="9456" y="18641"/>
                        <a:pt x="9852" y="18503"/>
                        <a:pt x="10245" y="18365"/>
                      </a:cubicBezTo>
                      <a:cubicBezTo>
                        <a:pt x="10378" y="18317"/>
                        <a:pt x="10515" y="18272"/>
                        <a:pt x="10647" y="18225"/>
                      </a:cubicBezTo>
                      <a:cubicBezTo>
                        <a:pt x="11108" y="18059"/>
                        <a:pt x="11560" y="17891"/>
                        <a:pt x="12006" y="17722"/>
                      </a:cubicBezTo>
                      <a:cubicBezTo>
                        <a:pt x="12202" y="17647"/>
                        <a:pt x="12393" y="17572"/>
                        <a:pt x="12587" y="17496"/>
                      </a:cubicBezTo>
                      <a:cubicBezTo>
                        <a:pt x="12955" y="17352"/>
                        <a:pt x="13321" y="17206"/>
                        <a:pt x="13684" y="17059"/>
                      </a:cubicBezTo>
                      <a:cubicBezTo>
                        <a:pt x="13828" y="17000"/>
                        <a:pt x="13974" y="16941"/>
                        <a:pt x="14117" y="16881"/>
                      </a:cubicBezTo>
                      <a:cubicBezTo>
                        <a:pt x="14590" y="16684"/>
                        <a:pt x="15056" y="16483"/>
                        <a:pt x="15515" y="16279"/>
                      </a:cubicBezTo>
                      <a:lnTo>
                        <a:pt x="15479" y="14431"/>
                      </a:lnTo>
                      <a:lnTo>
                        <a:pt x="15536" y="14285"/>
                      </a:lnTo>
                      <a:cubicBezTo>
                        <a:pt x="15536" y="14283"/>
                        <a:pt x="15580" y="14171"/>
                        <a:pt x="15596" y="14119"/>
                      </a:cubicBezTo>
                      <a:cubicBezTo>
                        <a:pt x="15639" y="13937"/>
                        <a:pt x="15701" y="13683"/>
                        <a:pt x="15820" y="13683"/>
                      </a:cubicBezTo>
                      <a:lnTo>
                        <a:pt x="15884" y="13711"/>
                      </a:lnTo>
                      <a:cubicBezTo>
                        <a:pt x="15911" y="13735"/>
                        <a:pt x="15933" y="13771"/>
                        <a:pt x="15951" y="13810"/>
                      </a:cubicBezTo>
                      <a:cubicBezTo>
                        <a:pt x="15973" y="13791"/>
                        <a:pt x="15994" y="13775"/>
                        <a:pt x="16018" y="13762"/>
                      </a:cubicBezTo>
                      <a:cubicBezTo>
                        <a:pt x="16037" y="13751"/>
                        <a:pt x="16047" y="13738"/>
                        <a:pt x="16068" y="13710"/>
                      </a:cubicBezTo>
                      <a:cubicBezTo>
                        <a:pt x="16090" y="13682"/>
                        <a:pt x="16109" y="13656"/>
                        <a:pt x="16122" y="13635"/>
                      </a:cubicBezTo>
                      <a:cubicBezTo>
                        <a:pt x="16118" y="13608"/>
                        <a:pt x="16114" y="13581"/>
                        <a:pt x="16111" y="13553"/>
                      </a:cubicBezTo>
                      <a:cubicBezTo>
                        <a:pt x="16088" y="13466"/>
                        <a:pt x="16078" y="13370"/>
                        <a:pt x="16079" y="13267"/>
                      </a:cubicBezTo>
                      <a:lnTo>
                        <a:pt x="16080" y="13064"/>
                      </a:lnTo>
                      <a:lnTo>
                        <a:pt x="16126" y="12946"/>
                      </a:lnTo>
                      <a:cubicBezTo>
                        <a:pt x="16103" y="12800"/>
                        <a:pt x="16093" y="12636"/>
                        <a:pt x="16129" y="12463"/>
                      </a:cubicBezTo>
                      <a:cubicBezTo>
                        <a:pt x="16178" y="12173"/>
                        <a:pt x="16236" y="11890"/>
                        <a:pt x="16335" y="11762"/>
                      </a:cubicBezTo>
                      <a:lnTo>
                        <a:pt x="16371" y="11718"/>
                      </a:lnTo>
                      <a:cubicBezTo>
                        <a:pt x="16410" y="11411"/>
                        <a:pt x="16469" y="11217"/>
                        <a:pt x="16549" y="11140"/>
                      </a:cubicBezTo>
                      <a:cubicBezTo>
                        <a:pt x="16573" y="11116"/>
                        <a:pt x="16595" y="11099"/>
                        <a:pt x="16616" y="11085"/>
                      </a:cubicBezTo>
                      <a:lnTo>
                        <a:pt x="16646" y="11025"/>
                      </a:lnTo>
                      <a:cubicBezTo>
                        <a:pt x="16681" y="10896"/>
                        <a:pt x="16729" y="10721"/>
                        <a:pt x="16812" y="10629"/>
                      </a:cubicBezTo>
                      <a:cubicBezTo>
                        <a:pt x="16885" y="10546"/>
                        <a:pt x="16942" y="10483"/>
                        <a:pt x="17048" y="10431"/>
                      </a:cubicBezTo>
                      <a:cubicBezTo>
                        <a:pt x="17084" y="10413"/>
                        <a:pt x="17112" y="10408"/>
                        <a:pt x="17135" y="10407"/>
                      </a:cubicBezTo>
                      <a:cubicBezTo>
                        <a:pt x="17161" y="10345"/>
                        <a:pt x="17207" y="10270"/>
                        <a:pt x="17272" y="10270"/>
                      </a:cubicBezTo>
                      <a:lnTo>
                        <a:pt x="17311" y="10270"/>
                      </a:lnTo>
                      <a:lnTo>
                        <a:pt x="17361" y="10322"/>
                      </a:lnTo>
                      <a:cubicBezTo>
                        <a:pt x="17370" y="10334"/>
                        <a:pt x="17380" y="10347"/>
                        <a:pt x="17389" y="10359"/>
                      </a:cubicBezTo>
                      <a:cubicBezTo>
                        <a:pt x="17414" y="10347"/>
                        <a:pt x="17443" y="10335"/>
                        <a:pt x="17471" y="10326"/>
                      </a:cubicBezTo>
                      <a:lnTo>
                        <a:pt x="17472" y="10326"/>
                      </a:lnTo>
                      <a:cubicBezTo>
                        <a:pt x="17526" y="10070"/>
                        <a:pt x="17561" y="9935"/>
                        <a:pt x="17615" y="9851"/>
                      </a:cubicBezTo>
                      <a:cubicBezTo>
                        <a:pt x="17642" y="9810"/>
                        <a:pt x="17667" y="9786"/>
                        <a:pt x="17685" y="9769"/>
                      </a:cubicBezTo>
                      <a:cubicBezTo>
                        <a:pt x="17710" y="9698"/>
                        <a:pt x="17746" y="9593"/>
                        <a:pt x="17761" y="9539"/>
                      </a:cubicBezTo>
                      <a:cubicBezTo>
                        <a:pt x="17791" y="9358"/>
                        <a:pt x="17866" y="9217"/>
                        <a:pt x="17951" y="9208"/>
                      </a:cubicBezTo>
                      <a:cubicBezTo>
                        <a:pt x="17957" y="9186"/>
                        <a:pt x="17964" y="9164"/>
                        <a:pt x="17972" y="9144"/>
                      </a:cubicBezTo>
                      <a:cubicBezTo>
                        <a:pt x="17976" y="8974"/>
                        <a:pt x="17990" y="8829"/>
                        <a:pt x="18036" y="8713"/>
                      </a:cubicBezTo>
                      <a:cubicBezTo>
                        <a:pt x="18080" y="8599"/>
                        <a:pt x="18132" y="8572"/>
                        <a:pt x="18168" y="8563"/>
                      </a:cubicBezTo>
                      <a:cubicBezTo>
                        <a:pt x="18168" y="8483"/>
                        <a:pt x="18183" y="8344"/>
                        <a:pt x="18235" y="8235"/>
                      </a:cubicBezTo>
                      <a:lnTo>
                        <a:pt x="18284" y="8133"/>
                      </a:lnTo>
                      <a:lnTo>
                        <a:pt x="18363" y="8118"/>
                      </a:lnTo>
                      <a:cubicBezTo>
                        <a:pt x="18460" y="7897"/>
                        <a:pt x="18532" y="7703"/>
                        <a:pt x="18705" y="7793"/>
                      </a:cubicBezTo>
                      <a:cubicBezTo>
                        <a:pt x="18710" y="7681"/>
                        <a:pt x="18725" y="7574"/>
                        <a:pt x="18758" y="7482"/>
                      </a:cubicBezTo>
                      <a:cubicBezTo>
                        <a:pt x="18763" y="7469"/>
                        <a:pt x="18767" y="7458"/>
                        <a:pt x="18771" y="7448"/>
                      </a:cubicBezTo>
                      <a:cubicBezTo>
                        <a:pt x="18772" y="7395"/>
                        <a:pt x="18776" y="7338"/>
                        <a:pt x="18784" y="7280"/>
                      </a:cubicBezTo>
                      <a:cubicBezTo>
                        <a:pt x="18756" y="7136"/>
                        <a:pt x="18732" y="6947"/>
                        <a:pt x="18768" y="6735"/>
                      </a:cubicBezTo>
                      <a:cubicBezTo>
                        <a:pt x="18797" y="6562"/>
                        <a:pt x="18868" y="6151"/>
                        <a:pt x="19032" y="6151"/>
                      </a:cubicBezTo>
                      <a:lnTo>
                        <a:pt x="19046" y="6151"/>
                      </a:lnTo>
                      <a:cubicBezTo>
                        <a:pt x="19050" y="6079"/>
                        <a:pt x="19061" y="6012"/>
                        <a:pt x="19074" y="5956"/>
                      </a:cubicBezTo>
                      <a:cubicBezTo>
                        <a:pt x="19106" y="5733"/>
                        <a:pt x="19161" y="5637"/>
                        <a:pt x="19211" y="5599"/>
                      </a:cubicBezTo>
                      <a:cubicBezTo>
                        <a:pt x="19250" y="5500"/>
                        <a:pt x="19342" y="5274"/>
                        <a:pt x="19370" y="5212"/>
                      </a:cubicBezTo>
                      <a:cubicBezTo>
                        <a:pt x="19447" y="5043"/>
                        <a:pt x="19507" y="4911"/>
                        <a:pt x="19589" y="4911"/>
                      </a:cubicBezTo>
                      <a:lnTo>
                        <a:pt x="19642" y="4911"/>
                      </a:lnTo>
                      <a:lnTo>
                        <a:pt x="19689" y="4987"/>
                      </a:lnTo>
                      <a:cubicBezTo>
                        <a:pt x="19718" y="5032"/>
                        <a:pt x="19738" y="5096"/>
                        <a:pt x="19755" y="5147"/>
                      </a:cubicBezTo>
                      <a:cubicBezTo>
                        <a:pt x="19756" y="5150"/>
                        <a:pt x="19756" y="5152"/>
                        <a:pt x="19756" y="5154"/>
                      </a:cubicBezTo>
                      <a:cubicBezTo>
                        <a:pt x="19795" y="5222"/>
                        <a:pt x="19846" y="5349"/>
                        <a:pt x="19866" y="5523"/>
                      </a:cubicBezTo>
                      <a:cubicBezTo>
                        <a:pt x="19872" y="5508"/>
                        <a:pt x="19877" y="5495"/>
                        <a:pt x="19880" y="5485"/>
                      </a:cubicBezTo>
                      <a:cubicBezTo>
                        <a:pt x="19902" y="5398"/>
                        <a:pt x="19943" y="5165"/>
                        <a:pt x="19950" y="5098"/>
                      </a:cubicBezTo>
                      <a:cubicBezTo>
                        <a:pt x="19954" y="5050"/>
                        <a:pt x="19980" y="4797"/>
                        <a:pt x="20019" y="4626"/>
                      </a:cubicBezTo>
                      <a:cubicBezTo>
                        <a:pt x="20065" y="4433"/>
                        <a:pt x="20209" y="4187"/>
                        <a:pt x="20225" y="4158"/>
                      </a:cubicBezTo>
                      <a:lnTo>
                        <a:pt x="20269" y="4097"/>
                      </a:lnTo>
                      <a:cubicBezTo>
                        <a:pt x="20300" y="3985"/>
                        <a:pt x="20341" y="3929"/>
                        <a:pt x="20376" y="3899"/>
                      </a:cubicBezTo>
                      <a:cubicBezTo>
                        <a:pt x="20395" y="3882"/>
                        <a:pt x="20414" y="3875"/>
                        <a:pt x="20433" y="3871"/>
                      </a:cubicBezTo>
                      <a:cubicBezTo>
                        <a:pt x="20484" y="3618"/>
                        <a:pt x="20568" y="3587"/>
                        <a:pt x="20608" y="3587"/>
                      </a:cubicBezTo>
                      <a:lnTo>
                        <a:pt x="20644" y="3596"/>
                      </a:lnTo>
                      <a:cubicBezTo>
                        <a:pt x="20666" y="3607"/>
                        <a:pt x="20685" y="3624"/>
                        <a:pt x="20701" y="3643"/>
                      </a:cubicBezTo>
                      <a:cubicBezTo>
                        <a:pt x="20736" y="3607"/>
                        <a:pt x="20777" y="3576"/>
                        <a:pt x="20817" y="3576"/>
                      </a:cubicBezTo>
                      <a:lnTo>
                        <a:pt x="20929" y="3576"/>
                      </a:lnTo>
                      <a:lnTo>
                        <a:pt x="20963" y="3719"/>
                      </a:lnTo>
                      <a:cubicBezTo>
                        <a:pt x="20972" y="3701"/>
                        <a:pt x="20982" y="3685"/>
                        <a:pt x="20994" y="3671"/>
                      </a:cubicBezTo>
                      <a:cubicBezTo>
                        <a:pt x="21007" y="3558"/>
                        <a:pt x="21024" y="3413"/>
                        <a:pt x="21040" y="3274"/>
                      </a:cubicBezTo>
                      <a:cubicBezTo>
                        <a:pt x="21066" y="3058"/>
                        <a:pt x="21090" y="2857"/>
                        <a:pt x="21100" y="2791"/>
                      </a:cubicBezTo>
                      <a:cubicBezTo>
                        <a:pt x="21106" y="2747"/>
                        <a:pt x="21114" y="2683"/>
                        <a:pt x="21122" y="2614"/>
                      </a:cubicBezTo>
                      <a:cubicBezTo>
                        <a:pt x="21162" y="2283"/>
                        <a:pt x="21184" y="2118"/>
                        <a:pt x="21239" y="2000"/>
                      </a:cubicBezTo>
                      <a:cubicBezTo>
                        <a:pt x="21259" y="1957"/>
                        <a:pt x="21280" y="1929"/>
                        <a:pt x="21299" y="1908"/>
                      </a:cubicBezTo>
                      <a:cubicBezTo>
                        <a:pt x="21324" y="1795"/>
                        <a:pt x="21355" y="1673"/>
                        <a:pt x="21390" y="1582"/>
                      </a:cubicBezTo>
                      <a:cubicBezTo>
                        <a:pt x="21412" y="1525"/>
                        <a:pt x="21463" y="1392"/>
                        <a:pt x="21540" y="1341"/>
                      </a:cubicBezTo>
                      <a:cubicBezTo>
                        <a:pt x="21540" y="1333"/>
                        <a:pt x="21540" y="1325"/>
                        <a:pt x="21540" y="1317"/>
                      </a:cubicBezTo>
                      <a:cubicBezTo>
                        <a:pt x="21537" y="1173"/>
                        <a:pt x="21555" y="1064"/>
                        <a:pt x="21575" y="981"/>
                      </a:cubicBezTo>
                      <a:cubicBezTo>
                        <a:pt x="21563" y="815"/>
                        <a:pt x="21587" y="679"/>
                        <a:pt x="21600" y="619"/>
                      </a:cubicBezTo>
                      <a:close/>
                      <a:moveTo>
                        <a:pt x="21600" y="619"/>
                      </a:moveTo>
                    </a:path>
                  </a:pathLst>
                </a:custGeom>
                <a:solidFill>
                  <a:schemeClr val="accent1">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513F3A"/>
                    </a:solidFill>
                    <a:effectLst/>
                    <a:uLnTx/>
                    <a:uFillTx/>
                    <a:latin typeface="Arial"/>
                    <a:ea typeface="Arial"/>
                    <a:cs typeface="Arial"/>
                    <a:sym typeface="Arial"/>
                  </a:endParaRPr>
                </a:p>
              </p:txBody>
            </p:sp>
          </p:grpSp>
          <p:sp>
            <p:nvSpPr>
              <p:cNvPr id="20" name="Google Shape;440;p54">
                <a:extLst>
                  <a:ext uri="{FF2B5EF4-FFF2-40B4-BE49-F238E27FC236}">
                    <a16:creationId xmlns:a16="http://schemas.microsoft.com/office/drawing/2014/main" id="{B91777D1-D39B-4AA9-BB96-96302CC5EEDF}"/>
                  </a:ext>
                </a:extLst>
              </p:cNvPr>
              <p:cNvSpPr/>
              <p:nvPr/>
            </p:nvSpPr>
            <p:spPr>
              <a:xfrm>
                <a:off x="7261403" y="6189773"/>
                <a:ext cx="4266" cy="6675"/>
              </a:xfrm>
              <a:custGeom>
                <a:avLst/>
                <a:gdLst/>
                <a:ahLst/>
                <a:cxnLst/>
                <a:rect l="l" t="t" r="r" b="b"/>
                <a:pathLst>
                  <a:path w="21600" h="21359" extrusionOk="0">
                    <a:moveTo>
                      <a:pt x="21600" y="55"/>
                    </a:moveTo>
                    <a:cubicBezTo>
                      <a:pt x="19414" y="126"/>
                      <a:pt x="16688" y="-241"/>
                      <a:pt x="15513" y="309"/>
                    </a:cubicBezTo>
                    <a:cubicBezTo>
                      <a:pt x="10671" y="2411"/>
                      <a:pt x="2092" y="6898"/>
                      <a:pt x="2092" y="9761"/>
                    </a:cubicBezTo>
                    <a:cubicBezTo>
                      <a:pt x="2092" y="12654"/>
                      <a:pt x="2092" y="17873"/>
                      <a:pt x="517" y="18340"/>
                    </a:cubicBezTo>
                    <a:cubicBezTo>
                      <a:pt x="400" y="18340"/>
                      <a:pt x="94" y="18467"/>
                      <a:pt x="0" y="18523"/>
                    </a:cubicBezTo>
                    <a:cubicBezTo>
                      <a:pt x="400" y="19313"/>
                      <a:pt x="917" y="20089"/>
                      <a:pt x="1410" y="20936"/>
                    </a:cubicBezTo>
                    <a:lnTo>
                      <a:pt x="7075" y="18890"/>
                    </a:lnTo>
                    <a:lnTo>
                      <a:pt x="7216" y="21359"/>
                    </a:lnTo>
                    <a:lnTo>
                      <a:pt x="21600" y="13726"/>
                    </a:lnTo>
                    <a:cubicBezTo>
                      <a:pt x="21600" y="13726"/>
                      <a:pt x="21600" y="55"/>
                      <a:pt x="21600" y="55"/>
                    </a:cubicBezTo>
                    <a:close/>
                    <a:moveTo>
                      <a:pt x="21600" y="55"/>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grpSp>
            <p:nvGrpSpPr>
              <p:cNvPr id="21" name="Google Shape;441;p54">
                <a:extLst>
                  <a:ext uri="{FF2B5EF4-FFF2-40B4-BE49-F238E27FC236}">
                    <a16:creationId xmlns:a16="http://schemas.microsoft.com/office/drawing/2014/main" id="{14944169-706D-415D-AAA6-9DC64C873914}"/>
                  </a:ext>
                </a:extLst>
              </p:cNvPr>
              <p:cNvGrpSpPr/>
              <p:nvPr/>
            </p:nvGrpSpPr>
            <p:grpSpPr>
              <a:xfrm>
                <a:off x="6292183" y="1449822"/>
                <a:ext cx="2224020" cy="2212493"/>
                <a:chOff x="6021398" y="1599658"/>
                <a:chExt cx="1873173" cy="1863466"/>
              </a:xfrm>
            </p:grpSpPr>
            <p:sp>
              <p:nvSpPr>
                <p:cNvPr id="23" name="Google Shape;442;p54">
                  <a:extLst>
                    <a:ext uri="{FF2B5EF4-FFF2-40B4-BE49-F238E27FC236}">
                      <a16:creationId xmlns:a16="http://schemas.microsoft.com/office/drawing/2014/main" id="{ED0B2C02-EBD8-4F1A-89E0-7C97E2EAC5E7}"/>
                    </a:ext>
                  </a:extLst>
                </p:cNvPr>
                <p:cNvSpPr/>
                <p:nvPr/>
              </p:nvSpPr>
              <p:spPr>
                <a:xfrm>
                  <a:off x="6515330" y="2661002"/>
                  <a:ext cx="727110" cy="483732"/>
                </a:xfrm>
                <a:custGeom>
                  <a:avLst/>
                  <a:gdLst/>
                  <a:ahLst/>
                  <a:cxnLst/>
                  <a:rect l="l" t="t" r="r" b="b"/>
                  <a:pathLst>
                    <a:path w="21600" h="21600" extrusionOk="0">
                      <a:moveTo>
                        <a:pt x="411" y="5797"/>
                      </a:moveTo>
                      <a:cubicBezTo>
                        <a:pt x="314" y="5913"/>
                        <a:pt x="164" y="6071"/>
                        <a:pt x="0" y="6239"/>
                      </a:cubicBezTo>
                      <a:lnTo>
                        <a:pt x="468" y="9584"/>
                      </a:lnTo>
                      <a:lnTo>
                        <a:pt x="1262" y="15259"/>
                      </a:lnTo>
                      <a:lnTo>
                        <a:pt x="1267" y="15294"/>
                      </a:lnTo>
                      <a:lnTo>
                        <a:pt x="1373" y="16050"/>
                      </a:lnTo>
                      <a:lnTo>
                        <a:pt x="2047" y="20874"/>
                      </a:lnTo>
                      <a:lnTo>
                        <a:pt x="2149" y="21600"/>
                      </a:lnTo>
                      <a:cubicBezTo>
                        <a:pt x="2196" y="21585"/>
                        <a:pt x="2244" y="21569"/>
                        <a:pt x="2292" y="21554"/>
                      </a:cubicBezTo>
                      <a:cubicBezTo>
                        <a:pt x="3232" y="21256"/>
                        <a:pt x="4168" y="20952"/>
                        <a:pt x="5103" y="20646"/>
                      </a:cubicBezTo>
                      <a:cubicBezTo>
                        <a:pt x="5392" y="20551"/>
                        <a:pt x="5682" y="20455"/>
                        <a:pt x="5970" y="20360"/>
                      </a:cubicBezTo>
                      <a:cubicBezTo>
                        <a:pt x="6889" y="20054"/>
                        <a:pt x="7804" y="19746"/>
                        <a:pt x="8713" y="19432"/>
                      </a:cubicBezTo>
                      <a:cubicBezTo>
                        <a:pt x="8959" y="19347"/>
                        <a:pt x="9203" y="19262"/>
                        <a:pt x="9449" y="19176"/>
                      </a:cubicBezTo>
                      <a:cubicBezTo>
                        <a:pt x="10272" y="18890"/>
                        <a:pt x="11090" y="18601"/>
                        <a:pt x="11903" y="18309"/>
                      </a:cubicBezTo>
                      <a:cubicBezTo>
                        <a:pt x="12078" y="18246"/>
                        <a:pt x="12254" y="18184"/>
                        <a:pt x="12429" y="18121"/>
                      </a:cubicBezTo>
                      <a:cubicBezTo>
                        <a:pt x="13377" y="17778"/>
                        <a:pt x="14316" y="17431"/>
                        <a:pt x="15247" y="17080"/>
                      </a:cubicBezTo>
                      <a:cubicBezTo>
                        <a:pt x="15451" y="17004"/>
                        <a:pt x="15653" y="16927"/>
                        <a:pt x="15856" y="16851"/>
                      </a:cubicBezTo>
                      <a:cubicBezTo>
                        <a:pt x="16778" y="16502"/>
                        <a:pt x="17693" y="16150"/>
                        <a:pt x="18596" y="15795"/>
                      </a:cubicBezTo>
                      <a:cubicBezTo>
                        <a:pt x="18600" y="15780"/>
                        <a:pt x="18606" y="15763"/>
                        <a:pt x="18609" y="15747"/>
                      </a:cubicBezTo>
                      <a:cubicBezTo>
                        <a:pt x="18619" y="15710"/>
                        <a:pt x="18630" y="15675"/>
                        <a:pt x="18641" y="15637"/>
                      </a:cubicBezTo>
                      <a:cubicBezTo>
                        <a:pt x="18662" y="15563"/>
                        <a:pt x="18686" y="15490"/>
                        <a:pt x="18713" y="15414"/>
                      </a:cubicBezTo>
                      <a:cubicBezTo>
                        <a:pt x="18728" y="15372"/>
                        <a:pt x="18743" y="15332"/>
                        <a:pt x="18760" y="15291"/>
                      </a:cubicBezTo>
                      <a:cubicBezTo>
                        <a:pt x="18792" y="15215"/>
                        <a:pt x="18827" y="15146"/>
                        <a:pt x="18865" y="15076"/>
                      </a:cubicBezTo>
                      <a:cubicBezTo>
                        <a:pt x="18883" y="15043"/>
                        <a:pt x="18900" y="15008"/>
                        <a:pt x="18920" y="14976"/>
                      </a:cubicBezTo>
                      <a:cubicBezTo>
                        <a:pt x="18981" y="14882"/>
                        <a:pt x="19047" y="14799"/>
                        <a:pt x="19124" y="14740"/>
                      </a:cubicBezTo>
                      <a:cubicBezTo>
                        <a:pt x="19270" y="14629"/>
                        <a:pt x="19446" y="14573"/>
                        <a:pt x="19647" y="14573"/>
                      </a:cubicBezTo>
                      <a:cubicBezTo>
                        <a:pt x="19699" y="14573"/>
                        <a:pt x="19747" y="14577"/>
                        <a:pt x="19793" y="14583"/>
                      </a:cubicBezTo>
                      <a:cubicBezTo>
                        <a:pt x="19824" y="14587"/>
                        <a:pt x="19849" y="14592"/>
                        <a:pt x="19875" y="14598"/>
                      </a:cubicBezTo>
                      <a:cubicBezTo>
                        <a:pt x="19887" y="14600"/>
                        <a:pt x="19901" y="14602"/>
                        <a:pt x="19911" y="14604"/>
                      </a:cubicBezTo>
                      <a:cubicBezTo>
                        <a:pt x="19920" y="14584"/>
                        <a:pt x="19928" y="14567"/>
                        <a:pt x="19937" y="14548"/>
                      </a:cubicBezTo>
                      <a:cubicBezTo>
                        <a:pt x="19945" y="14529"/>
                        <a:pt x="19953" y="14511"/>
                        <a:pt x="19962" y="14493"/>
                      </a:cubicBezTo>
                      <a:cubicBezTo>
                        <a:pt x="19978" y="14460"/>
                        <a:pt x="19995" y="14430"/>
                        <a:pt x="20012" y="14400"/>
                      </a:cubicBezTo>
                      <a:cubicBezTo>
                        <a:pt x="20021" y="14383"/>
                        <a:pt x="20031" y="14365"/>
                        <a:pt x="20041" y="14349"/>
                      </a:cubicBezTo>
                      <a:cubicBezTo>
                        <a:pt x="20059" y="14321"/>
                        <a:pt x="20079" y="14297"/>
                        <a:pt x="20098" y="14275"/>
                      </a:cubicBezTo>
                      <a:cubicBezTo>
                        <a:pt x="20108" y="14263"/>
                        <a:pt x="20118" y="14249"/>
                        <a:pt x="20128" y="14240"/>
                      </a:cubicBezTo>
                      <a:cubicBezTo>
                        <a:pt x="20159" y="14210"/>
                        <a:pt x="20192" y="14187"/>
                        <a:pt x="20228" y="14173"/>
                      </a:cubicBezTo>
                      <a:cubicBezTo>
                        <a:pt x="20260" y="14161"/>
                        <a:pt x="20295" y="14155"/>
                        <a:pt x="20330" y="14149"/>
                      </a:cubicBezTo>
                      <a:cubicBezTo>
                        <a:pt x="20367" y="14142"/>
                        <a:pt x="20380" y="14139"/>
                        <a:pt x="20387" y="14133"/>
                      </a:cubicBezTo>
                      <a:cubicBezTo>
                        <a:pt x="20435" y="14083"/>
                        <a:pt x="20449" y="14058"/>
                        <a:pt x="20464" y="14031"/>
                      </a:cubicBezTo>
                      <a:cubicBezTo>
                        <a:pt x="20486" y="13980"/>
                        <a:pt x="20521" y="13892"/>
                        <a:pt x="20590" y="13826"/>
                      </a:cubicBezTo>
                      <a:cubicBezTo>
                        <a:pt x="20563" y="13724"/>
                        <a:pt x="20544" y="13604"/>
                        <a:pt x="20563" y="13477"/>
                      </a:cubicBezTo>
                      <a:cubicBezTo>
                        <a:pt x="20595" y="13234"/>
                        <a:pt x="20720" y="13107"/>
                        <a:pt x="20787" y="13043"/>
                      </a:cubicBezTo>
                      <a:cubicBezTo>
                        <a:pt x="20798" y="12926"/>
                        <a:pt x="20832" y="12825"/>
                        <a:pt x="20891" y="12739"/>
                      </a:cubicBezTo>
                      <a:cubicBezTo>
                        <a:pt x="20928" y="12687"/>
                        <a:pt x="20958" y="12658"/>
                        <a:pt x="20974" y="12643"/>
                      </a:cubicBezTo>
                      <a:cubicBezTo>
                        <a:pt x="21031" y="12488"/>
                        <a:pt x="21051" y="12450"/>
                        <a:pt x="21120" y="12344"/>
                      </a:cubicBezTo>
                      <a:cubicBezTo>
                        <a:pt x="21212" y="12202"/>
                        <a:pt x="21253" y="12139"/>
                        <a:pt x="21350" y="12078"/>
                      </a:cubicBezTo>
                      <a:cubicBezTo>
                        <a:pt x="21373" y="12058"/>
                        <a:pt x="21393" y="12032"/>
                        <a:pt x="21408" y="12009"/>
                      </a:cubicBezTo>
                      <a:cubicBezTo>
                        <a:pt x="21395" y="11668"/>
                        <a:pt x="21557" y="11575"/>
                        <a:pt x="21592" y="11559"/>
                      </a:cubicBezTo>
                      <a:cubicBezTo>
                        <a:pt x="21595" y="11557"/>
                        <a:pt x="21598" y="11556"/>
                        <a:pt x="21600" y="11555"/>
                      </a:cubicBezTo>
                      <a:cubicBezTo>
                        <a:pt x="21589" y="11546"/>
                        <a:pt x="21575" y="11542"/>
                        <a:pt x="21562" y="11538"/>
                      </a:cubicBezTo>
                      <a:cubicBezTo>
                        <a:pt x="21464" y="11508"/>
                        <a:pt x="21330" y="11466"/>
                        <a:pt x="21248" y="11293"/>
                      </a:cubicBezTo>
                      <a:cubicBezTo>
                        <a:pt x="21209" y="11210"/>
                        <a:pt x="21161" y="11107"/>
                        <a:pt x="21137" y="11080"/>
                      </a:cubicBezTo>
                      <a:cubicBezTo>
                        <a:pt x="21068" y="11084"/>
                        <a:pt x="20940" y="11063"/>
                        <a:pt x="20843" y="10890"/>
                      </a:cubicBezTo>
                      <a:cubicBezTo>
                        <a:pt x="20818" y="10844"/>
                        <a:pt x="20780" y="10757"/>
                        <a:pt x="20742" y="10664"/>
                      </a:cubicBezTo>
                      <a:cubicBezTo>
                        <a:pt x="20736" y="10652"/>
                        <a:pt x="20731" y="10639"/>
                        <a:pt x="20726" y="10626"/>
                      </a:cubicBezTo>
                      <a:cubicBezTo>
                        <a:pt x="20716" y="10631"/>
                        <a:pt x="20706" y="10635"/>
                        <a:pt x="20698" y="10638"/>
                      </a:cubicBezTo>
                      <a:lnTo>
                        <a:pt x="20602" y="10657"/>
                      </a:lnTo>
                      <a:cubicBezTo>
                        <a:pt x="20506" y="10657"/>
                        <a:pt x="20365" y="10599"/>
                        <a:pt x="20246" y="10323"/>
                      </a:cubicBezTo>
                      <a:cubicBezTo>
                        <a:pt x="20151" y="10102"/>
                        <a:pt x="20146" y="9897"/>
                        <a:pt x="20143" y="9786"/>
                      </a:cubicBezTo>
                      <a:cubicBezTo>
                        <a:pt x="20141" y="9771"/>
                        <a:pt x="20132" y="9716"/>
                        <a:pt x="20123" y="9657"/>
                      </a:cubicBezTo>
                      <a:cubicBezTo>
                        <a:pt x="20123" y="9655"/>
                        <a:pt x="20123" y="9653"/>
                        <a:pt x="20123" y="9652"/>
                      </a:cubicBezTo>
                      <a:cubicBezTo>
                        <a:pt x="20084" y="9697"/>
                        <a:pt x="20042" y="9718"/>
                        <a:pt x="20008" y="9728"/>
                      </a:cubicBezTo>
                      <a:cubicBezTo>
                        <a:pt x="19980" y="9735"/>
                        <a:pt x="19942" y="9743"/>
                        <a:pt x="19906" y="9743"/>
                      </a:cubicBezTo>
                      <a:cubicBezTo>
                        <a:pt x="19733" y="9743"/>
                        <a:pt x="19633" y="9589"/>
                        <a:pt x="19597" y="9446"/>
                      </a:cubicBezTo>
                      <a:cubicBezTo>
                        <a:pt x="19556" y="9355"/>
                        <a:pt x="19496" y="9214"/>
                        <a:pt x="19497" y="9050"/>
                      </a:cubicBezTo>
                      <a:cubicBezTo>
                        <a:pt x="19447" y="8949"/>
                        <a:pt x="19435" y="8822"/>
                        <a:pt x="19451" y="8713"/>
                      </a:cubicBezTo>
                      <a:cubicBezTo>
                        <a:pt x="19451" y="8713"/>
                        <a:pt x="19451" y="8713"/>
                        <a:pt x="19451" y="8712"/>
                      </a:cubicBezTo>
                      <a:lnTo>
                        <a:pt x="19442" y="8692"/>
                      </a:lnTo>
                      <a:cubicBezTo>
                        <a:pt x="19415" y="8615"/>
                        <a:pt x="19404" y="8442"/>
                        <a:pt x="19414" y="8295"/>
                      </a:cubicBezTo>
                      <a:cubicBezTo>
                        <a:pt x="19409" y="8280"/>
                        <a:pt x="19404" y="8264"/>
                        <a:pt x="19400" y="8248"/>
                      </a:cubicBezTo>
                      <a:cubicBezTo>
                        <a:pt x="19378" y="8156"/>
                        <a:pt x="19368" y="8070"/>
                        <a:pt x="19372" y="7990"/>
                      </a:cubicBezTo>
                      <a:cubicBezTo>
                        <a:pt x="19376" y="7911"/>
                        <a:pt x="19393" y="7838"/>
                        <a:pt x="19422" y="7771"/>
                      </a:cubicBezTo>
                      <a:lnTo>
                        <a:pt x="19442" y="7726"/>
                      </a:lnTo>
                      <a:cubicBezTo>
                        <a:pt x="19484" y="7579"/>
                        <a:pt x="19558" y="7522"/>
                        <a:pt x="19597" y="7500"/>
                      </a:cubicBezTo>
                      <a:lnTo>
                        <a:pt x="19569" y="7348"/>
                      </a:lnTo>
                      <a:lnTo>
                        <a:pt x="19543" y="6974"/>
                      </a:lnTo>
                      <a:lnTo>
                        <a:pt x="19546" y="6973"/>
                      </a:lnTo>
                      <a:cubicBezTo>
                        <a:pt x="19495" y="6918"/>
                        <a:pt x="19458" y="6875"/>
                        <a:pt x="19428" y="6827"/>
                      </a:cubicBezTo>
                      <a:cubicBezTo>
                        <a:pt x="19321" y="6651"/>
                        <a:pt x="19260" y="6517"/>
                        <a:pt x="19260" y="6350"/>
                      </a:cubicBezTo>
                      <a:cubicBezTo>
                        <a:pt x="19260" y="6263"/>
                        <a:pt x="19260" y="6116"/>
                        <a:pt x="19499" y="5772"/>
                      </a:cubicBezTo>
                      <a:cubicBezTo>
                        <a:pt x="19534" y="5725"/>
                        <a:pt x="19567" y="5687"/>
                        <a:pt x="19598" y="5654"/>
                      </a:cubicBezTo>
                      <a:cubicBezTo>
                        <a:pt x="19599" y="5649"/>
                        <a:pt x="19599" y="5643"/>
                        <a:pt x="19599" y="5637"/>
                      </a:cubicBezTo>
                      <a:cubicBezTo>
                        <a:pt x="19606" y="5568"/>
                        <a:pt x="19615" y="5500"/>
                        <a:pt x="19624" y="5454"/>
                      </a:cubicBezTo>
                      <a:cubicBezTo>
                        <a:pt x="19631" y="5417"/>
                        <a:pt x="19640" y="5384"/>
                        <a:pt x="19650" y="5354"/>
                      </a:cubicBezTo>
                      <a:cubicBezTo>
                        <a:pt x="19641" y="5233"/>
                        <a:pt x="19665" y="5095"/>
                        <a:pt x="19718" y="4994"/>
                      </a:cubicBezTo>
                      <a:cubicBezTo>
                        <a:pt x="19839" y="4779"/>
                        <a:pt x="19863" y="4720"/>
                        <a:pt x="19868" y="4706"/>
                      </a:cubicBezTo>
                      <a:cubicBezTo>
                        <a:pt x="19877" y="4667"/>
                        <a:pt x="19886" y="4592"/>
                        <a:pt x="19895" y="4529"/>
                      </a:cubicBezTo>
                      <a:cubicBezTo>
                        <a:pt x="19900" y="4494"/>
                        <a:pt x="19904" y="4463"/>
                        <a:pt x="19909" y="4434"/>
                      </a:cubicBezTo>
                      <a:cubicBezTo>
                        <a:pt x="19887" y="4369"/>
                        <a:pt x="19873" y="4284"/>
                        <a:pt x="19884" y="4183"/>
                      </a:cubicBezTo>
                      <a:lnTo>
                        <a:pt x="19917" y="4027"/>
                      </a:lnTo>
                      <a:cubicBezTo>
                        <a:pt x="19933" y="3950"/>
                        <a:pt x="19956" y="3631"/>
                        <a:pt x="20049" y="3410"/>
                      </a:cubicBezTo>
                      <a:cubicBezTo>
                        <a:pt x="20076" y="3350"/>
                        <a:pt x="20100" y="3304"/>
                        <a:pt x="20122" y="3267"/>
                      </a:cubicBezTo>
                      <a:cubicBezTo>
                        <a:pt x="20123" y="3243"/>
                        <a:pt x="20127" y="3221"/>
                        <a:pt x="20131" y="3200"/>
                      </a:cubicBezTo>
                      <a:lnTo>
                        <a:pt x="20008" y="3188"/>
                      </a:lnTo>
                      <a:cubicBezTo>
                        <a:pt x="19992" y="3185"/>
                        <a:pt x="19976" y="3182"/>
                        <a:pt x="19963" y="3179"/>
                      </a:cubicBezTo>
                      <a:cubicBezTo>
                        <a:pt x="19929" y="3202"/>
                        <a:pt x="19888" y="3218"/>
                        <a:pt x="19841" y="3218"/>
                      </a:cubicBezTo>
                      <a:lnTo>
                        <a:pt x="19760" y="3218"/>
                      </a:lnTo>
                      <a:lnTo>
                        <a:pt x="19668" y="3134"/>
                      </a:lnTo>
                      <a:cubicBezTo>
                        <a:pt x="19644" y="3109"/>
                        <a:pt x="19624" y="3082"/>
                        <a:pt x="19607" y="3054"/>
                      </a:cubicBezTo>
                      <a:lnTo>
                        <a:pt x="19522" y="3071"/>
                      </a:lnTo>
                      <a:cubicBezTo>
                        <a:pt x="19343" y="3033"/>
                        <a:pt x="19223" y="2914"/>
                        <a:pt x="19173" y="2754"/>
                      </a:cubicBezTo>
                      <a:cubicBezTo>
                        <a:pt x="19170" y="2751"/>
                        <a:pt x="19168" y="2747"/>
                        <a:pt x="19164" y="2744"/>
                      </a:cubicBezTo>
                      <a:lnTo>
                        <a:pt x="19130" y="2744"/>
                      </a:lnTo>
                      <a:lnTo>
                        <a:pt x="18972" y="2499"/>
                      </a:lnTo>
                      <a:lnTo>
                        <a:pt x="18973" y="2406"/>
                      </a:lnTo>
                      <a:cubicBezTo>
                        <a:pt x="18953" y="2385"/>
                        <a:pt x="18936" y="2366"/>
                        <a:pt x="18922" y="2349"/>
                      </a:cubicBezTo>
                      <a:lnTo>
                        <a:pt x="18845" y="2308"/>
                      </a:lnTo>
                      <a:lnTo>
                        <a:pt x="18646" y="1898"/>
                      </a:lnTo>
                      <a:lnTo>
                        <a:pt x="18749" y="1702"/>
                      </a:lnTo>
                      <a:cubicBezTo>
                        <a:pt x="18731" y="1646"/>
                        <a:pt x="18716" y="1593"/>
                        <a:pt x="18709" y="1540"/>
                      </a:cubicBezTo>
                      <a:cubicBezTo>
                        <a:pt x="18636" y="1442"/>
                        <a:pt x="18607" y="1342"/>
                        <a:pt x="18600" y="1256"/>
                      </a:cubicBezTo>
                      <a:lnTo>
                        <a:pt x="18467" y="1256"/>
                      </a:lnTo>
                      <a:lnTo>
                        <a:pt x="18413" y="953"/>
                      </a:lnTo>
                      <a:cubicBezTo>
                        <a:pt x="18410" y="930"/>
                        <a:pt x="18399" y="860"/>
                        <a:pt x="18396" y="773"/>
                      </a:cubicBezTo>
                      <a:lnTo>
                        <a:pt x="18370" y="718"/>
                      </a:lnTo>
                      <a:cubicBezTo>
                        <a:pt x="18336" y="717"/>
                        <a:pt x="18300" y="711"/>
                        <a:pt x="18263" y="687"/>
                      </a:cubicBezTo>
                      <a:cubicBezTo>
                        <a:pt x="18231" y="713"/>
                        <a:pt x="18196" y="728"/>
                        <a:pt x="18158" y="734"/>
                      </a:cubicBezTo>
                      <a:lnTo>
                        <a:pt x="18080" y="739"/>
                      </a:lnTo>
                      <a:cubicBezTo>
                        <a:pt x="17999" y="739"/>
                        <a:pt x="17906" y="725"/>
                        <a:pt x="17830" y="622"/>
                      </a:cubicBezTo>
                      <a:cubicBezTo>
                        <a:pt x="17784" y="560"/>
                        <a:pt x="17764" y="496"/>
                        <a:pt x="17722" y="355"/>
                      </a:cubicBezTo>
                      <a:cubicBezTo>
                        <a:pt x="17707" y="304"/>
                        <a:pt x="17690" y="244"/>
                        <a:pt x="17675" y="202"/>
                      </a:cubicBezTo>
                      <a:cubicBezTo>
                        <a:pt x="17606" y="192"/>
                        <a:pt x="17552" y="156"/>
                        <a:pt x="17509" y="98"/>
                      </a:cubicBezTo>
                      <a:cubicBezTo>
                        <a:pt x="17463" y="74"/>
                        <a:pt x="17429" y="39"/>
                        <a:pt x="17404" y="0"/>
                      </a:cubicBezTo>
                      <a:cubicBezTo>
                        <a:pt x="13320" y="1606"/>
                        <a:pt x="7929" y="3670"/>
                        <a:pt x="2371" y="5427"/>
                      </a:cubicBezTo>
                      <a:lnTo>
                        <a:pt x="2121" y="5506"/>
                      </a:lnTo>
                      <a:lnTo>
                        <a:pt x="1874" y="3823"/>
                      </a:lnTo>
                      <a:cubicBezTo>
                        <a:pt x="1757" y="3967"/>
                        <a:pt x="1695" y="4048"/>
                        <a:pt x="1676" y="4077"/>
                      </a:cubicBezTo>
                      <a:lnTo>
                        <a:pt x="1628" y="4149"/>
                      </a:lnTo>
                      <a:cubicBezTo>
                        <a:pt x="1488" y="4361"/>
                        <a:pt x="1374" y="4530"/>
                        <a:pt x="1294" y="4610"/>
                      </a:cubicBezTo>
                      <a:lnTo>
                        <a:pt x="1227" y="4681"/>
                      </a:lnTo>
                      <a:lnTo>
                        <a:pt x="1107" y="4737"/>
                      </a:lnTo>
                      <a:cubicBezTo>
                        <a:pt x="1097" y="4789"/>
                        <a:pt x="1081" y="4842"/>
                        <a:pt x="1058" y="4892"/>
                      </a:cubicBezTo>
                      <a:cubicBezTo>
                        <a:pt x="999" y="5018"/>
                        <a:pt x="710" y="5443"/>
                        <a:pt x="411" y="5797"/>
                      </a:cubicBezTo>
                      <a:close/>
                      <a:moveTo>
                        <a:pt x="411" y="5797"/>
                      </a:moveTo>
                    </a:path>
                  </a:pathLst>
                </a:custGeom>
                <a:solidFill>
                  <a:schemeClr val="accent1">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24" name="Google Shape;443;p54">
                  <a:extLst>
                    <a:ext uri="{FF2B5EF4-FFF2-40B4-BE49-F238E27FC236}">
                      <a16:creationId xmlns:a16="http://schemas.microsoft.com/office/drawing/2014/main" id="{F7094AD7-2A0E-4326-9A6B-65B0BF74E50A}"/>
                    </a:ext>
                  </a:extLst>
                </p:cNvPr>
                <p:cNvSpPr/>
                <p:nvPr/>
              </p:nvSpPr>
              <p:spPr>
                <a:xfrm>
                  <a:off x="6021398" y="2220136"/>
                  <a:ext cx="9720" cy="8154"/>
                </a:xfrm>
                <a:custGeom>
                  <a:avLst/>
                  <a:gdLst/>
                  <a:ahLst/>
                  <a:cxnLst/>
                  <a:rect l="l" t="t" r="r" b="b"/>
                  <a:pathLst>
                    <a:path w="21600" h="21600" extrusionOk="0">
                      <a:moveTo>
                        <a:pt x="15073" y="16467"/>
                      </a:moveTo>
                      <a:lnTo>
                        <a:pt x="21600" y="16467"/>
                      </a:lnTo>
                      <a:cubicBezTo>
                        <a:pt x="18887" y="12128"/>
                        <a:pt x="17234" y="7888"/>
                        <a:pt x="16192" y="4087"/>
                      </a:cubicBezTo>
                      <a:cubicBezTo>
                        <a:pt x="15174" y="3105"/>
                        <a:pt x="14174" y="2044"/>
                        <a:pt x="13199" y="847"/>
                      </a:cubicBezTo>
                      <a:cubicBezTo>
                        <a:pt x="12470" y="528"/>
                        <a:pt x="11783" y="261"/>
                        <a:pt x="11148" y="0"/>
                      </a:cubicBezTo>
                      <a:cubicBezTo>
                        <a:pt x="8435" y="1218"/>
                        <a:pt x="5773" y="1615"/>
                        <a:pt x="3577" y="1615"/>
                      </a:cubicBezTo>
                      <a:lnTo>
                        <a:pt x="2128" y="1615"/>
                      </a:lnTo>
                      <a:lnTo>
                        <a:pt x="0" y="6508"/>
                      </a:lnTo>
                      <a:cubicBezTo>
                        <a:pt x="0" y="6713"/>
                        <a:pt x="0" y="6905"/>
                        <a:pt x="0" y="7110"/>
                      </a:cubicBezTo>
                      <a:cubicBezTo>
                        <a:pt x="1594" y="12107"/>
                        <a:pt x="2238" y="17000"/>
                        <a:pt x="1950" y="21600"/>
                      </a:cubicBezTo>
                      <a:cubicBezTo>
                        <a:pt x="5519" y="18913"/>
                        <a:pt x="9808" y="16467"/>
                        <a:pt x="15073" y="16467"/>
                      </a:cubicBezTo>
                      <a:close/>
                      <a:moveTo>
                        <a:pt x="15073" y="16467"/>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25" name="Google Shape;444;p54">
                  <a:extLst>
                    <a:ext uri="{FF2B5EF4-FFF2-40B4-BE49-F238E27FC236}">
                      <a16:creationId xmlns:a16="http://schemas.microsoft.com/office/drawing/2014/main" id="{45D72096-F63B-49C1-A3DA-8FC8A4D0A1D3}"/>
                    </a:ext>
                  </a:extLst>
                </p:cNvPr>
                <p:cNvSpPr/>
                <p:nvPr/>
              </p:nvSpPr>
              <p:spPr>
                <a:xfrm>
                  <a:off x="7327667" y="2542622"/>
                  <a:ext cx="202068" cy="198990"/>
                </a:xfrm>
                <a:custGeom>
                  <a:avLst/>
                  <a:gdLst/>
                  <a:ahLst/>
                  <a:cxnLst/>
                  <a:rect l="l" t="t" r="r" b="b"/>
                  <a:pathLst>
                    <a:path w="21600" h="21600" extrusionOk="0">
                      <a:moveTo>
                        <a:pt x="21600" y="8514"/>
                      </a:moveTo>
                      <a:cubicBezTo>
                        <a:pt x="21522" y="8184"/>
                        <a:pt x="21413" y="7740"/>
                        <a:pt x="21270" y="7189"/>
                      </a:cubicBezTo>
                      <a:cubicBezTo>
                        <a:pt x="21240" y="7075"/>
                        <a:pt x="21192" y="6906"/>
                        <a:pt x="21138" y="6716"/>
                      </a:cubicBezTo>
                      <a:cubicBezTo>
                        <a:pt x="21127" y="6681"/>
                        <a:pt x="21118" y="6649"/>
                        <a:pt x="21107" y="6611"/>
                      </a:cubicBezTo>
                      <a:cubicBezTo>
                        <a:pt x="21051" y="6421"/>
                        <a:pt x="20986" y="6202"/>
                        <a:pt x="20914" y="5961"/>
                      </a:cubicBezTo>
                      <a:cubicBezTo>
                        <a:pt x="20899" y="5909"/>
                        <a:pt x="20881" y="5855"/>
                        <a:pt x="20865" y="5800"/>
                      </a:cubicBezTo>
                      <a:cubicBezTo>
                        <a:pt x="20338" y="4063"/>
                        <a:pt x="19480" y="1364"/>
                        <a:pt x="19045" y="0"/>
                      </a:cubicBezTo>
                      <a:cubicBezTo>
                        <a:pt x="16357" y="723"/>
                        <a:pt x="12962" y="1641"/>
                        <a:pt x="11968" y="1918"/>
                      </a:cubicBezTo>
                      <a:cubicBezTo>
                        <a:pt x="11825" y="1957"/>
                        <a:pt x="11733" y="1984"/>
                        <a:pt x="11699" y="1995"/>
                      </a:cubicBezTo>
                      <a:cubicBezTo>
                        <a:pt x="11514" y="2054"/>
                        <a:pt x="11246" y="2163"/>
                        <a:pt x="10991" y="2266"/>
                      </a:cubicBezTo>
                      <a:cubicBezTo>
                        <a:pt x="10657" y="2400"/>
                        <a:pt x="10341" y="2523"/>
                        <a:pt x="10183" y="2564"/>
                      </a:cubicBezTo>
                      <a:cubicBezTo>
                        <a:pt x="9830" y="2666"/>
                        <a:pt x="9725" y="2666"/>
                        <a:pt x="9377" y="2666"/>
                      </a:cubicBezTo>
                      <a:cubicBezTo>
                        <a:pt x="9287" y="2669"/>
                        <a:pt x="9050" y="2732"/>
                        <a:pt x="8775" y="2828"/>
                      </a:cubicBezTo>
                      <a:cubicBezTo>
                        <a:pt x="8744" y="3011"/>
                        <a:pt x="8673" y="3211"/>
                        <a:pt x="8518" y="3395"/>
                      </a:cubicBezTo>
                      <a:cubicBezTo>
                        <a:pt x="8342" y="3600"/>
                        <a:pt x="8014" y="3862"/>
                        <a:pt x="7453" y="3926"/>
                      </a:cubicBezTo>
                      <a:cubicBezTo>
                        <a:pt x="7450" y="3926"/>
                        <a:pt x="7446" y="3926"/>
                        <a:pt x="7440" y="3926"/>
                      </a:cubicBezTo>
                      <a:cubicBezTo>
                        <a:pt x="7042" y="3926"/>
                        <a:pt x="6774" y="3757"/>
                        <a:pt x="6589" y="3537"/>
                      </a:cubicBezTo>
                      <a:cubicBezTo>
                        <a:pt x="4585" y="4090"/>
                        <a:pt x="2591" y="4601"/>
                        <a:pt x="568" y="5098"/>
                      </a:cubicBezTo>
                      <a:cubicBezTo>
                        <a:pt x="376" y="5145"/>
                        <a:pt x="192" y="5198"/>
                        <a:pt x="0" y="5245"/>
                      </a:cubicBezTo>
                      <a:lnTo>
                        <a:pt x="2509" y="17008"/>
                      </a:lnTo>
                      <a:lnTo>
                        <a:pt x="4246" y="18610"/>
                      </a:lnTo>
                      <a:lnTo>
                        <a:pt x="1725" y="21416"/>
                      </a:lnTo>
                      <a:lnTo>
                        <a:pt x="1917" y="21600"/>
                      </a:lnTo>
                      <a:cubicBezTo>
                        <a:pt x="2104" y="21497"/>
                        <a:pt x="2216" y="21480"/>
                        <a:pt x="2272" y="21471"/>
                      </a:cubicBezTo>
                      <a:lnTo>
                        <a:pt x="2348" y="21471"/>
                      </a:lnTo>
                      <a:cubicBezTo>
                        <a:pt x="2471" y="21353"/>
                        <a:pt x="2580" y="21265"/>
                        <a:pt x="2618" y="21234"/>
                      </a:cubicBezTo>
                      <a:lnTo>
                        <a:pt x="2846" y="21052"/>
                      </a:lnTo>
                      <a:cubicBezTo>
                        <a:pt x="2914" y="20966"/>
                        <a:pt x="2990" y="20889"/>
                        <a:pt x="3068" y="20826"/>
                      </a:cubicBezTo>
                      <a:lnTo>
                        <a:pt x="3336" y="20654"/>
                      </a:lnTo>
                      <a:cubicBezTo>
                        <a:pt x="3421" y="20558"/>
                        <a:pt x="3528" y="20464"/>
                        <a:pt x="3667" y="20383"/>
                      </a:cubicBezTo>
                      <a:cubicBezTo>
                        <a:pt x="3796" y="20039"/>
                        <a:pt x="4013" y="19623"/>
                        <a:pt x="4329" y="19404"/>
                      </a:cubicBezTo>
                      <a:cubicBezTo>
                        <a:pt x="4410" y="19348"/>
                        <a:pt x="4511" y="19284"/>
                        <a:pt x="4614" y="19219"/>
                      </a:cubicBezTo>
                      <a:cubicBezTo>
                        <a:pt x="4698" y="19168"/>
                        <a:pt x="4783" y="19119"/>
                        <a:pt x="4840" y="19072"/>
                      </a:cubicBezTo>
                      <a:lnTo>
                        <a:pt x="5183" y="18664"/>
                      </a:lnTo>
                      <a:cubicBezTo>
                        <a:pt x="5270" y="18592"/>
                        <a:pt x="5407" y="18508"/>
                        <a:pt x="5599" y="18469"/>
                      </a:cubicBezTo>
                      <a:cubicBezTo>
                        <a:pt x="5981" y="17893"/>
                        <a:pt x="6205" y="17672"/>
                        <a:pt x="6483" y="17557"/>
                      </a:cubicBezTo>
                      <a:cubicBezTo>
                        <a:pt x="6620" y="17501"/>
                        <a:pt x="6772" y="17467"/>
                        <a:pt x="6936" y="17454"/>
                      </a:cubicBezTo>
                      <a:cubicBezTo>
                        <a:pt x="6964" y="17388"/>
                        <a:pt x="7002" y="17322"/>
                        <a:pt x="7048" y="17257"/>
                      </a:cubicBezTo>
                      <a:lnTo>
                        <a:pt x="7229" y="17059"/>
                      </a:lnTo>
                      <a:cubicBezTo>
                        <a:pt x="7306" y="16830"/>
                        <a:pt x="7507" y="16391"/>
                        <a:pt x="8014" y="16246"/>
                      </a:cubicBezTo>
                      <a:lnTo>
                        <a:pt x="8106" y="16220"/>
                      </a:lnTo>
                      <a:cubicBezTo>
                        <a:pt x="8183" y="16037"/>
                        <a:pt x="8255" y="15886"/>
                        <a:pt x="8344" y="15761"/>
                      </a:cubicBezTo>
                      <a:cubicBezTo>
                        <a:pt x="8429" y="15638"/>
                        <a:pt x="8556" y="15504"/>
                        <a:pt x="8675" y="15389"/>
                      </a:cubicBezTo>
                      <a:cubicBezTo>
                        <a:pt x="8811" y="15022"/>
                        <a:pt x="9062" y="14525"/>
                        <a:pt x="9675" y="14525"/>
                      </a:cubicBezTo>
                      <a:cubicBezTo>
                        <a:pt x="9883" y="14535"/>
                        <a:pt x="10080" y="14612"/>
                        <a:pt x="10252" y="14722"/>
                      </a:cubicBezTo>
                      <a:cubicBezTo>
                        <a:pt x="10411" y="14655"/>
                        <a:pt x="10558" y="14631"/>
                        <a:pt x="10683" y="14611"/>
                      </a:cubicBezTo>
                      <a:cubicBezTo>
                        <a:pt x="10846" y="14500"/>
                        <a:pt x="11067" y="14299"/>
                        <a:pt x="11403" y="14245"/>
                      </a:cubicBezTo>
                      <a:lnTo>
                        <a:pt x="11648" y="14229"/>
                      </a:lnTo>
                      <a:lnTo>
                        <a:pt x="11705" y="14617"/>
                      </a:lnTo>
                      <a:cubicBezTo>
                        <a:pt x="11793" y="14266"/>
                        <a:pt x="11999" y="14066"/>
                        <a:pt x="12175" y="13954"/>
                      </a:cubicBezTo>
                      <a:cubicBezTo>
                        <a:pt x="12370" y="13831"/>
                        <a:pt x="12555" y="13805"/>
                        <a:pt x="12752" y="13778"/>
                      </a:cubicBezTo>
                      <a:cubicBezTo>
                        <a:pt x="12818" y="13769"/>
                        <a:pt x="12895" y="13762"/>
                        <a:pt x="12957" y="13744"/>
                      </a:cubicBezTo>
                      <a:cubicBezTo>
                        <a:pt x="13131" y="13638"/>
                        <a:pt x="13358" y="13527"/>
                        <a:pt x="13774" y="13498"/>
                      </a:cubicBezTo>
                      <a:cubicBezTo>
                        <a:pt x="13873" y="13502"/>
                        <a:pt x="13950" y="13502"/>
                        <a:pt x="14027" y="13514"/>
                      </a:cubicBezTo>
                      <a:cubicBezTo>
                        <a:pt x="14055" y="13494"/>
                        <a:pt x="14088" y="13476"/>
                        <a:pt x="14123" y="13458"/>
                      </a:cubicBezTo>
                      <a:lnTo>
                        <a:pt x="14425" y="13352"/>
                      </a:lnTo>
                      <a:cubicBezTo>
                        <a:pt x="14628" y="13139"/>
                        <a:pt x="14910" y="12898"/>
                        <a:pt x="15301" y="12809"/>
                      </a:cubicBezTo>
                      <a:lnTo>
                        <a:pt x="15504" y="12752"/>
                      </a:lnTo>
                      <a:cubicBezTo>
                        <a:pt x="15660" y="12704"/>
                        <a:pt x="15835" y="12650"/>
                        <a:pt x="16038" y="12650"/>
                      </a:cubicBezTo>
                      <a:lnTo>
                        <a:pt x="16110" y="12650"/>
                      </a:lnTo>
                      <a:cubicBezTo>
                        <a:pt x="16326" y="12426"/>
                        <a:pt x="16582" y="12369"/>
                        <a:pt x="16719" y="12352"/>
                      </a:cubicBezTo>
                      <a:lnTo>
                        <a:pt x="16746" y="12417"/>
                      </a:lnTo>
                      <a:cubicBezTo>
                        <a:pt x="16797" y="12387"/>
                        <a:pt x="16849" y="12361"/>
                        <a:pt x="16904" y="12336"/>
                      </a:cubicBezTo>
                      <a:cubicBezTo>
                        <a:pt x="16998" y="12114"/>
                        <a:pt x="17152" y="11971"/>
                        <a:pt x="17266" y="11892"/>
                      </a:cubicBezTo>
                      <a:cubicBezTo>
                        <a:pt x="17303" y="11865"/>
                        <a:pt x="17343" y="11842"/>
                        <a:pt x="17381" y="11822"/>
                      </a:cubicBezTo>
                      <a:cubicBezTo>
                        <a:pt x="17394" y="11795"/>
                        <a:pt x="17405" y="11769"/>
                        <a:pt x="17420" y="11742"/>
                      </a:cubicBezTo>
                      <a:lnTo>
                        <a:pt x="17598" y="11390"/>
                      </a:lnTo>
                      <a:lnTo>
                        <a:pt x="18118" y="11168"/>
                      </a:lnTo>
                      <a:cubicBezTo>
                        <a:pt x="18280" y="11119"/>
                        <a:pt x="18453" y="11074"/>
                        <a:pt x="18638" y="11074"/>
                      </a:cubicBezTo>
                      <a:lnTo>
                        <a:pt x="18959" y="11074"/>
                      </a:lnTo>
                      <a:cubicBezTo>
                        <a:pt x="19107" y="10907"/>
                        <a:pt x="19292" y="10809"/>
                        <a:pt x="19447" y="10756"/>
                      </a:cubicBezTo>
                      <a:cubicBezTo>
                        <a:pt x="19626" y="10697"/>
                        <a:pt x="19797" y="10690"/>
                        <a:pt x="19941" y="10690"/>
                      </a:cubicBezTo>
                      <a:lnTo>
                        <a:pt x="19952" y="10729"/>
                      </a:lnTo>
                      <a:cubicBezTo>
                        <a:pt x="20258" y="10507"/>
                        <a:pt x="20870" y="10098"/>
                        <a:pt x="21411" y="9945"/>
                      </a:cubicBezTo>
                      <a:lnTo>
                        <a:pt x="21147" y="9572"/>
                      </a:lnTo>
                      <a:lnTo>
                        <a:pt x="21294" y="8966"/>
                      </a:lnTo>
                      <a:cubicBezTo>
                        <a:pt x="21362" y="8782"/>
                        <a:pt x="21470" y="8634"/>
                        <a:pt x="21600" y="8514"/>
                      </a:cubicBezTo>
                      <a:close/>
                      <a:moveTo>
                        <a:pt x="21600" y="8514"/>
                      </a:moveTo>
                    </a:path>
                  </a:pathLst>
                </a:custGeom>
                <a:solidFill>
                  <a:schemeClr val="accent3">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26" name="Google Shape;445;p54">
                  <a:extLst>
                    <a:ext uri="{FF2B5EF4-FFF2-40B4-BE49-F238E27FC236}">
                      <a16:creationId xmlns:a16="http://schemas.microsoft.com/office/drawing/2014/main" id="{F2AE9843-E804-45CF-AD0E-686B056EAE27}"/>
                    </a:ext>
                  </a:extLst>
                </p:cNvPr>
                <p:cNvSpPr/>
                <p:nvPr/>
              </p:nvSpPr>
              <p:spPr>
                <a:xfrm>
                  <a:off x="7405227" y="2701823"/>
                  <a:ext cx="1512" cy="8154"/>
                </a:xfrm>
                <a:custGeom>
                  <a:avLst/>
                  <a:gdLst/>
                  <a:ahLst/>
                  <a:cxnLst/>
                  <a:rect l="l" t="t" r="r" b="b"/>
                  <a:pathLst>
                    <a:path w="21600" h="21600" extrusionOk="0">
                      <a:moveTo>
                        <a:pt x="11396" y="85"/>
                      </a:moveTo>
                      <a:lnTo>
                        <a:pt x="21600" y="20089"/>
                      </a:lnTo>
                      <a:lnTo>
                        <a:pt x="11396" y="0"/>
                      </a:lnTo>
                      <a:lnTo>
                        <a:pt x="0" y="21600"/>
                      </a:lnTo>
                      <a:cubicBezTo>
                        <a:pt x="0" y="21600"/>
                        <a:pt x="11396" y="85"/>
                        <a:pt x="11396" y="85"/>
                      </a:cubicBezTo>
                      <a:close/>
                      <a:moveTo>
                        <a:pt x="11396" y="85"/>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27" name="Google Shape;446;p54">
                  <a:extLst>
                    <a:ext uri="{FF2B5EF4-FFF2-40B4-BE49-F238E27FC236}">
                      <a16:creationId xmlns:a16="http://schemas.microsoft.com/office/drawing/2014/main" id="{2EA0B213-FEBA-4338-A401-7516957218CE}"/>
                    </a:ext>
                  </a:extLst>
                </p:cNvPr>
                <p:cNvSpPr/>
                <p:nvPr/>
              </p:nvSpPr>
              <p:spPr>
                <a:xfrm>
                  <a:off x="6592890" y="2130331"/>
                  <a:ext cx="749088" cy="642438"/>
                </a:xfrm>
                <a:custGeom>
                  <a:avLst/>
                  <a:gdLst/>
                  <a:ahLst/>
                  <a:cxnLst/>
                  <a:rect l="l" t="t" r="r" b="b"/>
                  <a:pathLst>
                    <a:path w="21600" h="21600" extrusionOk="0">
                      <a:moveTo>
                        <a:pt x="32" y="20321"/>
                      </a:moveTo>
                      <a:lnTo>
                        <a:pt x="0" y="20351"/>
                      </a:lnTo>
                      <a:lnTo>
                        <a:pt x="187" y="21339"/>
                      </a:lnTo>
                      <a:cubicBezTo>
                        <a:pt x="519" y="21257"/>
                        <a:pt x="850" y="21174"/>
                        <a:pt x="1180" y="21091"/>
                      </a:cubicBezTo>
                      <a:cubicBezTo>
                        <a:pt x="6135" y="19838"/>
                        <a:pt x="10882" y="18425"/>
                        <a:pt x="14539" y="17308"/>
                      </a:cubicBezTo>
                      <a:cubicBezTo>
                        <a:pt x="14533" y="17308"/>
                        <a:pt x="14621" y="17270"/>
                        <a:pt x="14725" y="17270"/>
                      </a:cubicBezTo>
                      <a:cubicBezTo>
                        <a:pt x="14838" y="17277"/>
                        <a:pt x="14946" y="17328"/>
                        <a:pt x="15005" y="17446"/>
                      </a:cubicBezTo>
                      <a:cubicBezTo>
                        <a:pt x="15017" y="17455"/>
                        <a:pt x="15028" y="17464"/>
                        <a:pt x="15038" y="17475"/>
                      </a:cubicBezTo>
                      <a:lnTo>
                        <a:pt x="15043" y="17476"/>
                      </a:lnTo>
                      <a:cubicBezTo>
                        <a:pt x="15143" y="17516"/>
                        <a:pt x="15219" y="17573"/>
                        <a:pt x="15277" y="17651"/>
                      </a:cubicBezTo>
                      <a:cubicBezTo>
                        <a:pt x="15304" y="17688"/>
                        <a:pt x="15327" y="17735"/>
                        <a:pt x="15354" y="17797"/>
                      </a:cubicBezTo>
                      <a:cubicBezTo>
                        <a:pt x="15373" y="17790"/>
                        <a:pt x="15391" y="17786"/>
                        <a:pt x="15406" y="17783"/>
                      </a:cubicBezTo>
                      <a:cubicBezTo>
                        <a:pt x="15455" y="17768"/>
                        <a:pt x="15483" y="17763"/>
                        <a:pt x="15511" y="17763"/>
                      </a:cubicBezTo>
                      <a:lnTo>
                        <a:pt x="15677" y="17763"/>
                      </a:lnTo>
                      <a:lnTo>
                        <a:pt x="15714" y="17842"/>
                      </a:lnTo>
                      <a:lnTo>
                        <a:pt x="15787" y="17864"/>
                      </a:lnTo>
                      <a:cubicBezTo>
                        <a:pt x="15857" y="17891"/>
                        <a:pt x="15902" y="17943"/>
                        <a:pt x="15932" y="17991"/>
                      </a:cubicBezTo>
                      <a:cubicBezTo>
                        <a:pt x="16034" y="18001"/>
                        <a:pt x="16092" y="18070"/>
                        <a:pt x="16122" y="18120"/>
                      </a:cubicBezTo>
                      <a:cubicBezTo>
                        <a:pt x="16131" y="18136"/>
                        <a:pt x="16138" y="18151"/>
                        <a:pt x="16141" y="18160"/>
                      </a:cubicBezTo>
                      <a:lnTo>
                        <a:pt x="16197" y="18296"/>
                      </a:lnTo>
                      <a:lnTo>
                        <a:pt x="16197" y="18297"/>
                      </a:lnTo>
                      <a:lnTo>
                        <a:pt x="16196" y="18297"/>
                      </a:lnTo>
                      <a:cubicBezTo>
                        <a:pt x="16328" y="18437"/>
                        <a:pt x="16345" y="18698"/>
                        <a:pt x="16346" y="18710"/>
                      </a:cubicBezTo>
                      <a:lnTo>
                        <a:pt x="16348" y="18748"/>
                      </a:lnTo>
                      <a:cubicBezTo>
                        <a:pt x="16350" y="18753"/>
                        <a:pt x="16352" y="18757"/>
                        <a:pt x="16353" y="18761"/>
                      </a:cubicBezTo>
                      <a:cubicBezTo>
                        <a:pt x="16370" y="18807"/>
                        <a:pt x="16385" y="18854"/>
                        <a:pt x="16391" y="18917"/>
                      </a:cubicBezTo>
                      <a:cubicBezTo>
                        <a:pt x="16398" y="18934"/>
                        <a:pt x="16407" y="18955"/>
                        <a:pt x="16416" y="18975"/>
                      </a:cubicBezTo>
                      <a:cubicBezTo>
                        <a:pt x="16441" y="19033"/>
                        <a:pt x="16464" y="19090"/>
                        <a:pt x="16475" y="19127"/>
                      </a:cubicBezTo>
                      <a:lnTo>
                        <a:pt x="16509" y="19246"/>
                      </a:lnTo>
                      <a:lnTo>
                        <a:pt x="16501" y="19267"/>
                      </a:lnTo>
                      <a:lnTo>
                        <a:pt x="16549" y="19308"/>
                      </a:lnTo>
                      <a:cubicBezTo>
                        <a:pt x="16588" y="19347"/>
                        <a:pt x="16613" y="19397"/>
                        <a:pt x="16630" y="19446"/>
                      </a:cubicBezTo>
                      <a:lnTo>
                        <a:pt x="16648" y="19446"/>
                      </a:lnTo>
                      <a:lnTo>
                        <a:pt x="16739" y="19545"/>
                      </a:lnTo>
                      <a:cubicBezTo>
                        <a:pt x="16741" y="19548"/>
                        <a:pt x="16744" y="19551"/>
                        <a:pt x="16746" y="19554"/>
                      </a:cubicBezTo>
                      <a:cubicBezTo>
                        <a:pt x="16748" y="19554"/>
                        <a:pt x="16754" y="19554"/>
                        <a:pt x="16758" y="19554"/>
                      </a:cubicBezTo>
                      <a:cubicBezTo>
                        <a:pt x="16883" y="19554"/>
                        <a:pt x="16969" y="19604"/>
                        <a:pt x="17030" y="19660"/>
                      </a:cubicBezTo>
                      <a:lnTo>
                        <a:pt x="17074" y="19658"/>
                      </a:lnTo>
                      <a:cubicBezTo>
                        <a:pt x="17098" y="19658"/>
                        <a:pt x="17121" y="19662"/>
                        <a:pt x="17141" y="19668"/>
                      </a:cubicBezTo>
                      <a:cubicBezTo>
                        <a:pt x="17169" y="19657"/>
                        <a:pt x="17200" y="19650"/>
                        <a:pt x="17236" y="19650"/>
                      </a:cubicBezTo>
                      <a:cubicBezTo>
                        <a:pt x="17269" y="19652"/>
                        <a:pt x="17298" y="19657"/>
                        <a:pt x="17324" y="19666"/>
                      </a:cubicBezTo>
                      <a:cubicBezTo>
                        <a:pt x="17373" y="19638"/>
                        <a:pt x="17429" y="19615"/>
                        <a:pt x="17482" y="19611"/>
                      </a:cubicBezTo>
                      <a:lnTo>
                        <a:pt x="17602" y="19600"/>
                      </a:lnTo>
                      <a:lnTo>
                        <a:pt x="17689" y="19706"/>
                      </a:lnTo>
                      <a:cubicBezTo>
                        <a:pt x="17729" y="19757"/>
                        <a:pt x="17748" y="19813"/>
                        <a:pt x="17755" y="19867"/>
                      </a:cubicBezTo>
                      <a:cubicBezTo>
                        <a:pt x="17772" y="19879"/>
                        <a:pt x="17794" y="19898"/>
                        <a:pt x="17818" y="19917"/>
                      </a:cubicBezTo>
                      <a:cubicBezTo>
                        <a:pt x="17830" y="19926"/>
                        <a:pt x="17839" y="19935"/>
                        <a:pt x="17851" y="19944"/>
                      </a:cubicBezTo>
                      <a:cubicBezTo>
                        <a:pt x="17861" y="19953"/>
                        <a:pt x="17870" y="19959"/>
                        <a:pt x="17879" y="19967"/>
                      </a:cubicBezTo>
                      <a:cubicBezTo>
                        <a:pt x="17885" y="19972"/>
                        <a:pt x="17893" y="19979"/>
                        <a:pt x="17898" y="19983"/>
                      </a:cubicBezTo>
                      <a:lnTo>
                        <a:pt x="20983" y="21053"/>
                      </a:lnTo>
                      <a:lnTo>
                        <a:pt x="21062" y="21180"/>
                      </a:lnTo>
                      <a:lnTo>
                        <a:pt x="21089" y="21288"/>
                      </a:lnTo>
                      <a:cubicBezTo>
                        <a:pt x="21091" y="21294"/>
                        <a:pt x="21134" y="21453"/>
                        <a:pt x="21134" y="21539"/>
                      </a:cubicBezTo>
                      <a:lnTo>
                        <a:pt x="21139" y="21592"/>
                      </a:lnTo>
                      <a:cubicBezTo>
                        <a:pt x="21139" y="21595"/>
                        <a:pt x="21139" y="21597"/>
                        <a:pt x="21139" y="21600"/>
                      </a:cubicBezTo>
                      <a:cubicBezTo>
                        <a:pt x="21149" y="21531"/>
                        <a:pt x="21171" y="21456"/>
                        <a:pt x="21219" y="21390"/>
                      </a:cubicBezTo>
                      <a:lnTo>
                        <a:pt x="21280" y="21313"/>
                      </a:lnTo>
                      <a:cubicBezTo>
                        <a:pt x="21319" y="21264"/>
                        <a:pt x="21374" y="21198"/>
                        <a:pt x="21398" y="21158"/>
                      </a:cubicBezTo>
                      <a:cubicBezTo>
                        <a:pt x="21396" y="21160"/>
                        <a:pt x="21396" y="21157"/>
                        <a:pt x="21400" y="21141"/>
                      </a:cubicBezTo>
                      <a:cubicBezTo>
                        <a:pt x="21393" y="21113"/>
                        <a:pt x="21389" y="21086"/>
                        <a:pt x="21387" y="21060"/>
                      </a:cubicBezTo>
                      <a:lnTo>
                        <a:pt x="20926" y="20552"/>
                      </a:lnTo>
                      <a:lnTo>
                        <a:pt x="21600" y="19690"/>
                      </a:lnTo>
                      <a:lnTo>
                        <a:pt x="21383" y="19460"/>
                      </a:lnTo>
                      <a:lnTo>
                        <a:pt x="20621" y="15447"/>
                      </a:lnTo>
                      <a:lnTo>
                        <a:pt x="20585" y="15379"/>
                      </a:lnTo>
                      <a:lnTo>
                        <a:pt x="20439" y="15102"/>
                      </a:lnTo>
                      <a:lnTo>
                        <a:pt x="20501" y="15086"/>
                      </a:lnTo>
                      <a:lnTo>
                        <a:pt x="20436" y="11555"/>
                      </a:lnTo>
                      <a:lnTo>
                        <a:pt x="20119" y="11278"/>
                      </a:lnTo>
                      <a:lnTo>
                        <a:pt x="20296" y="11224"/>
                      </a:lnTo>
                      <a:cubicBezTo>
                        <a:pt x="20289" y="11200"/>
                        <a:pt x="20285" y="11179"/>
                        <a:pt x="20282" y="11161"/>
                      </a:cubicBezTo>
                      <a:cubicBezTo>
                        <a:pt x="20282" y="11161"/>
                        <a:pt x="20282" y="11160"/>
                        <a:pt x="20282" y="11159"/>
                      </a:cubicBezTo>
                      <a:cubicBezTo>
                        <a:pt x="20282" y="11159"/>
                        <a:pt x="20282" y="11158"/>
                        <a:pt x="20282" y="11158"/>
                      </a:cubicBezTo>
                      <a:cubicBezTo>
                        <a:pt x="20272" y="11086"/>
                        <a:pt x="20263" y="10945"/>
                        <a:pt x="20259" y="10875"/>
                      </a:cubicBezTo>
                      <a:cubicBezTo>
                        <a:pt x="20258" y="10851"/>
                        <a:pt x="20257" y="10835"/>
                        <a:pt x="20257" y="10835"/>
                      </a:cubicBezTo>
                      <a:lnTo>
                        <a:pt x="19503" y="7390"/>
                      </a:lnTo>
                      <a:cubicBezTo>
                        <a:pt x="19482" y="7384"/>
                        <a:pt x="19460" y="7377"/>
                        <a:pt x="19438" y="7365"/>
                      </a:cubicBezTo>
                      <a:cubicBezTo>
                        <a:pt x="19385" y="7479"/>
                        <a:pt x="19285" y="7546"/>
                        <a:pt x="19169" y="7546"/>
                      </a:cubicBezTo>
                      <a:cubicBezTo>
                        <a:pt x="19069" y="7546"/>
                        <a:pt x="18930" y="7495"/>
                        <a:pt x="18859" y="7383"/>
                      </a:cubicBezTo>
                      <a:cubicBezTo>
                        <a:pt x="18798" y="7287"/>
                        <a:pt x="18801" y="7183"/>
                        <a:pt x="18807" y="7102"/>
                      </a:cubicBezTo>
                      <a:cubicBezTo>
                        <a:pt x="18716" y="6959"/>
                        <a:pt x="18756" y="6822"/>
                        <a:pt x="18772" y="6779"/>
                      </a:cubicBezTo>
                      <a:cubicBezTo>
                        <a:pt x="18778" y="6763"/>
                        <a:pt x="18787" y="6730"/>
                        <a:pt x="18793" y="6703"/>
                      </a:cubicBezTo>
                      <a:cubicBezTo>
                        <a:pt x="18763" y="6595"/>
                        <a:pt x="18775" y="6476"/>
                        <a:pt x="18827" y="6363"/>
                      </a:cubicBezTo>
                      <a:lnTo>
                        <a:pt x="18842" y="6298"/>
                      </a:lnTo>
                      <a:cubicBezTo>
                        <a:pt x="18842" y="6279"/>
                        <a:pt x="18842" y="6256"/>
                        <a:pt x="18842" y="6238"/>
                      </a:cubicBezTo>
                      <a:cubicBezTo>
                        <a:pt x="18836" y="6232"/>
                        <a:pt x="18830" y="6227"/>
                        <a:pt x="18824" y="6222"/>
                      </a:cubicBezTo>
                      <a:cubicBezTo>
                        <a:pt x="18785" y="6189"/>
                        <a:pt x="18697" y="6114"/>
                        <a:pt x="18657" y="6005"/>
                      </a:cubicBezTo>
                      <a:lnTo>
                        <a:pt x="18645" y="6003"/>
                      </a:lnTo>
                      <a:lnTo>
                        <a:pt x="18643" y="5957"/>
                      </a:lnTo>
                      <a:cubicBezTo>
                        <a:pt x="18636" y="5923"/>
                        <a:pt x="18634" y="5888"/>
                        <a:pt x="18639" y="5850"/>
                      </a:cubicBezTo>
                      <a:lnTo>
                        <a:pt x="18635" y="5712"/>
                      </a:lnTo>
                      <a:cubicBezTo>
                        <a:pt x="18554" y="5649"/>
                        <a:pt x="18455" y="5545"/>
                        <a:pt x="18422" y="5359"/>
                      </a:cubicBezTo>
                      <a:lnTo>
                        <a:pt x="18376" y="5094"/>
                      </a:lnTo>
                      <a:cubicBezTo>
                        <a:pt x="18264" y="5038"/>
                        <a:pt x="18220" y="4944"/>
                        <a:pt x="18204" y="4866"/>
                      </a:cubicBezTo>
                      <a:cubicBezTo>
                        <a:pt x="18177" y="4732"/>
                        <a:pt x="18158" y="4610"/>
                        <a:pt x="18192" y="4499"/>
                      </a:cubicBezTo>
                      <a:cubicBezTo>
                        <a:pt x="18193" y="4492"/>
                        <a:pt x="18195" y="4481"/>
                        <a:pt x="18196" y="4469"/>
                      </a:cubicBezTo>
                      <a:lnTo>
                        <a:pt x="18150" y="4382"/>
                      </a:lnTo>
                      <a:lnTo>
                        <a:pt x="18186" y="4206"/>
                      </a:lnTo>
                      <a:cubicBezTo>
                        <a:pt x="18172" y="4117"/>
                        <a:pt x="18157" y="4041"/>
                        <a:pt x="18187" y="3933"/>
                      </a:cubicBezTo>
                      <a:cubicBezTo>
                        <a:pt x="18195" y="3903"/>
                        <a:pt x="18220" y="3835"/>
                        <a:pt x="18247" y="3770"/>
                      </a:cubicBezTo>
                      <a:cubicBezTo>
                        <a:pt x="18259" y="3739"/>
                        <a:pt x="18271" y="3710"/>
                        <a:pt x="18277" y="3692"/>
                      </a:cubicBezTo>
                      <a:cubicBezTo>
                        <a:pt x="18274" y="3696"/>
                        <a:pt x="18266" y="3632"/>
                        <a:pt x="18292" y="3559"/>
                      </a:cubicBezTo>
                      <a:lnTo>
                        <a:pt x="18305" y="3520"/>
                      </a:lnTo>
                      <a:cubicBezTo>
                        <a:pt x="18276" y="3470"/>
                        <a:pt x="18246" y="3408"/>
                        <a:pt x="18232" y="3341"/>
                      </a:cubicBezTo>
                      <a:cubicBezTo>
                        <a:pt x="18226" y="3319"/>
                        <a:pt x="18223" y="3303"/>
                        <a:pt x="18219" y="3289"/>
                      </a:cubicBezTo>
                      <a:cubicBezTo>
                        <a:pt x="18177" y="3238"/>
                        <a:pt x="18114" y="3142"/>
                        <a:pt x="18114" y="2996"/>
                      </a:cubicBezTo>
                      <a:cubicBezTo>
                        <a:pt x="18114" y="2918"/>
                        <a:pt x="18133" y="2856"/>
                        <a:pt x="18155" y="2808"/>
                      </a:cubicBezTo>
                      <a:lnTo>
                        <a:pt x="18153" y="2739"/>
                      </a:lnTo>
                      <a:cubicBezTo>
                        <a:pt x="18167" y="2617"/>
                        <a:pt x="18122" y="2527"/>
                        <a:pt x="18082" y="2471"/>
                      </a:cubicBezTo>
                      <a:cubicBezTo>
                        <a:pt x="18018" y="2382"/>
                        <a:pt x="17980" y="2327"/>
                        <a:pt x="17954" y="2293"/>
                      </a:cubicBezTo>
                      <a:cubicBezTo>
                        <a:pt x="17892" y="2273"/>
                        <a:pt x="17807" y="2228"/>
                        <a:pt x="17751" y="2119"/>
                      </a:cubicBezTo>
                      <a:cubicBezTo>
                        <a:pt x="17728" y="2073"/>
                        <a:pt x="17716" y="2026"/>
                        <a:pt x="17708" y="1989"/>
                      </a:cubicBezTo>
                      <a:cubicBezTo>
                        <a:pt x="17644" y="1919"/>
                        <a:pt x="17609" y="1824"/>
                        <a:pt x="17609" y="1713"/>
                      </a:cubicBezTo>
                      <a:lnTo>
                        <a:pt x="17614" y="1629"/>
                      </a:lnTo>
                      <a:cubicBezTo>
                        <a:pt x="17620" y="1562"/>
                        <a:pt x="17626" y="1487"/>
                        <a:pt x="17600" y="1383"/>
                      </a:cubicBezTo>
                      <a:cubicBezTo>
                        <a:pt x="17542" y="1149"/>
                        <a:pt x="17510" y="1008"/>
                        <a:pt x="17536" y="880"/>
                      </a:cubicBezTo>
                      <a:cubicBezTo>
                        <a:pt x="17323" y="685"/>
                        <a:pt x="17276" y="516"/>
                        <a:pt x="17368" y="352"/>
                      </a:cubicBezTo>
                      <a:cubicBezTo>
                        <a:pt x="17350" y="382"/>
                        <a:pt x="17353" y="350"/>
                        <a:pt x="17354" y="324"/>
                      </a:cubicBezTo>
                      <a:lnTo>
                        <a:pt x="17357" y="261"/>
                      </a:lnTo>
                      <a:cubicBezTo>
                        <a:pt x="17356" y="234"/>
                        <a:pt x="17356" y="196"/>
                        <a:pt x="17363" y="153"/>
                      </a:cubicBezTo>
                      <a:lnTo>
                        <a:pt x="17331" y="153"/>
                      </a:lnTo>
                      <a:lnTo>
                        <a:pt x="17301" y="0"/>
                      </a:lnTo>
                      <a:lnTo>
                        <a:pt x="13351" y="1373"/>
                      </a:lnTo>
                      <a:lnTo>
                        <a:pt x="13331" y="1494"/>
                      </a:lnTo>
                      <a:lnTo>
                        <a:pt x="13113" y="1490"/>
                      </a:lnTo>
                      <a:cubicBezTo>
                        <a:pt x="13051" y="1488"/>
                        <a:pt x="12975" y="1485"/>
                        <a:pt x="12898" y="1442"/>
                      </a:cubicBezTo>
                      <a:cubicBezTo>
                        <a:pt x="12874" y="1487"/>
                        <a:pt x="12846" y="1520"/>
                        <a:pt x="12818" y="1543"/>
                      </a:cubicBezTo>
                      <a:cubicBezTo>
                        <a:pt x="12759" y="1710"/>
                        <a:pt x="12630" y="1732"/>
                        <a:pt x="12600" y="1735"/>
                      </a:cubicBezTo>
                      <a:cubicBezTo>
                        <a:pt x="12586" y="1736"/>
                        <a:pt x="12557" y="1738"/>
                        <a:pt x="12529" y="1741"/>
                      </a:cubicBezTo>
                      <a:cubicBezTo>
                        <a:pt x="12518" y="1782"/>
                        <a:pt x="12500" y="1824"/>
                        <a:pt x="12474" y="1863"/>
                      </a:cubicBezTo>
                      <a:cubicBezTo>
                        <a:pt x="12436" y="1919"/>
                        <a:pt x="12269" y="2096"/>
                        <a:pt x="12167" y="2174"/>
                      </a:cubicBezTo>
                      <a:cubicBezTo>
                        <a:pt x="12145" y="2245"/>
                        <a:pt x="12107" y="2326"/>
                        <a:pt x="12041" y="2374"/>
                      </a:cubicBezTo>
                      <a:cubicBezTo>
                        <a:pt x="12027" y="2388"/>
                        <a:pt x="11840" y="2568"/>
                        <a:pt x="11795" y="2623"/>
                      </a:cubicBezTo>
                      <a:cubicBezTo>
                        <a:pt x="11778" y="2645"/>
                        <a:pt x="11756" y="2672"/>
                        <a:pt x="11733" y="2697"/>
                      </a:cubicBezTo>
                      <a:lnTo>
                        <a:pt x="11724" y="2691"/>
                      </a:lnTo>
                      <a:cubicBezTo>
                        <a:pt x="11699" y="2777"/>
                        <a:pt x="11649" y="2889"/>
                        <a:pt x="11586" y="2955"/>
                      </a:cubicBezTo>
                      <a:lnTo>
                        <a:pt x="11578" y="2984"/>
                      </a:lnTo>
                      <a:cubicBezTo>
                        <a:pt x="11527" y="3078"/>
                        <a:pt x="11485" y="3161"/>
                        <a:pt x="11408" y="3209"/>
                      </a:cubicBezTo>
                      <a:cubicBezTo>
                        <a:pt x="11379" y="3273"/>
                        <a:pt x="11343" y="3340"/>
                        <a:pt x="11312" y="3378"/>
                      </a:cubicBezTo>
                      <a:cubicBezTo>
                        <a:pt x="11296" y="3405"/>
                        <a:pt x="11134" y="3687"/>
                        <a:pt x="11011" y="3966"/>
                      </a:cubicBezTo>
                      <a:cubicBezTo>
                        <a:pt x="10934" y="4141"/>
                        <a:pt x="10811" y="4440"/>
                        <a:pt x="10712" y="4681"/>
                      </a:cubicBezTo>
                      <a:cubicBezTo>
                        <a:pt x="10636" y="4866"/>
                        <a:pt x="10574" y="5018"/>
                        <a:pt x="10553" y="5065"/>
                      </a:cubicBezTo>
                      <a:cubicBezTo>
                        <a:pt x="10565" y="5037"/>
                        <a:pt x="10567" y="5060"/>
                        <a:pt x="10568" y="5080"/>
                      </a:cubicBezTo>
                      <a:cubicBezTo>
                        <a:pt x="10572" y="5173"/>
                        <a:pt x="10578" y="5301"/>
                        <a:pt x="10512" y="5416"/>
                      </a:cubicBezTo>
                      <a:lnTo>
                        <a:pt x="10467" y="5502"/>
                      </a:lnTo>
                      <a:cubicBezTo>
                        <a:pt x="10355" y="5717"/>
                        <a:pt x="10301" y="5816"/>
                        <a:pt x="10252" y="5872"/>
                      </a:cubicBezTo>
                      <a:lnTo>
                        <a:pt x="10208" y="5927"/>
                      </a:lnTo>
                      <a:cubicBezTo>
                        <a:pt x="10150" y="6004"/>
                        <a:pt x="10100" y="6070"/>
                        <a:pt x="10010" y="6092"/>
                      </a:cubicBezTo>
                      <a:lnTo>
                        <a:pt x="9967" y="6099"/>
                      </a:lnTo>
                      <a:cubicBezTo>
                        <a:pt x="9902" y="6205"/>
                        <a:pt x="9798" y="6365"/>
                        <a:pt x="9738" y="6417"/>
                      </a:cubicBezTo>
                      <a:cubicBezTo>
                        <a:pt x="9720" y="6432"/>
                        <a:pt x="9702" y="6444"/>
                        <a:pt x="9685" y="6454"/>
                      </a:cubicBezTo>
                      <a:cubicBezTo>
                        <a:pt x="9696" y="6518"/>
                        <a:pt x="9698" y="6584"/>
                        <a:pt x="9676" y="6653"/>
                      </a:cubicBezTo>
                      <a:cubicBezTo>
                        <a:pt x="9653" y="6725"/>
                        <a:pt x="9575" y="6879"/>
                        <a:pt x="9531" y="6937"/>
                      </a:cubicBezTo>
                      <a:cubicBezTo>
                        <a:pt x="9531" y="6937"/>
                        <a:pt x="9401" y="7111"/>
                        <a:pt x="9270" y="7153"/>
                      </a:cubicBezTo>
                      <a:cubicBezTo>
                        <a:pt x="9267" y="7218"/>
                        <a:pt x="9263" y="7280"/>
                        <a:pt x="9245" y="7339"/>
                      </a:cubicBezTo>
                      <a:cubicBezTo>
                        <a:pt x="9361" y="7369"/>
                        <a:pt x="9419" y="7461"/>
                        <a:pt x="9441" y="7504"/>
                      </a:cubicBezTo>
                      <a:cubicBezTo>
                        <a:pt x="9462" y="7547"/>
                        <a:pt x="9474" y="7591"/>
                        <a:pt x="9480" y="7632"/>
                      </a:cubicBezTo>
                      <a:cubicBezTo>
                        <a:pt x="9489" y="7637"/>
                        <a:pt x="9499" y="7643"/>
                        <a:pt x="9507" y="7649"/>
                      </a:cubicBezTo>
                      <a:cubicBezTo>
                        <a:pt x="9599" y="7635"/>
                        <a:pt x="9698" y="7676"/>
                        <a:pt x="9752" y="7705"/>
                      </a:cubicBezTo>
                      <a:lnTo>
                        <a:pt x="9821" y="7694"/>
                      </a:lnTo>
                      <a:cubicBezTo>
                        <a:pt x="9889" y="7694"/>
                        <a:pt x="9953" y="7722"/>
                        <a:pt x="10005" y="7773"/>
                      </a:cubicBezTo>
                      <a:cubicBezTo>
                        <a:pt x="10061" y="7830"/>
                        <a:pt x="10102" y="7891"/>
                        <a:pt x="10127" y="7956"/>
                      </a:cubicBezTo>
                      <a:cubicBezTo>
                        <a:pt x="10156" y="7996"/>
                        <a:pt x="10196" y="8069"/>
                        <a:pt x="10202" y="8181"/>
                      </a:cubicBezTo>
                      <a:cubicBezTo>
                        <a:pt x="10203" y="8194"/>
                        <a:pt x="10216" y="8509"/>
                        <a:pt x="10044" y="8630"/>
                      </a:cubicBezTo>
                      <a:lnTo>
                        <a:pt x="10015" y="8648"/>
                      </a:lnTo>
                      <a:cubicBezTo>
                        <a:pt x="9996" y="8688"/>
                        <a:pt x="9970" y="8733"/>
                        <a:pt x="9935" y="8772"/>
                      </a:cubicBezTo>
                      <a:cubicBezTo>
                        <a:pt x="10060" y="8981"/>
                        <a:pt x="10176" y="9264"/>
                        <a:pt x="10212" y="9402"/>
                      </a:cubicBezTo>
                      <a:cubicBezTo>
                        <a:pt x="10272" y="9632"/>
                        <a:pt x="10398" y="10192"/>
                        <a:pt x="10279" y="10425"/>
                      </a:cubicBezTo>
                      <a:cubicBezTo>
                        <a:pt x="10237" y="10518"/>
                        <a:pt x="10173" y="10663"/>
                        <a:pt x="10026" y="10698"/>
                      </a:cubicBezTo>
                      <a:lnTo>
                        <a:pt x="9920" y="10782"/>
                      </a:lnTo>
                      <a:cubicBezTo>
                        <a:pt x="9808" y="10838"/>
                        <a:pt x="9747" y="10838"/>
                        <a:pt x="9728" y="10838"/>
                      </a:cubicBezTo>
                      <a:lnTo>
                        <a:pt x="9627" y="10817"/>
                      </a:lnTo>
                      <a:cubicBezTo>
                        <a:pt x="9615" y="10825"/>
                        <a:pt x="9603" y="10833"/>
                        <a:pt x="9592" y="10840"/>
                      </a:cubicBezTo>
                      <a:cubicBezTo>
                        <a:pt x="9573" y="10873"/>
                        <a:pt x="9549" y="10915"/>
                        <a:pt x="9530" y="10947"/>
                      </a:cubicBezTo>
                      <a:cubicBezTo>
                        <a:pt x="9513" y="11003"/>
                        <a:pt x="9481" y="11090"/>
                        <a:pt x="9410" y="11155"/>
                      </a:cubicBezTo>
                      <a:cubicBezTo>
                        <a:pt x="9405" y="11161"/>
                        <a:pt x="9294" y="11261"/>
                        <a:pt x="9214" y="11376"/>
                      </a:cubicBezTo>
                      <a:lnTo>
                        <a:pt x="9140" y="11477"/>
                      </a:lnTo>
                      <a:cubicBezTo>
                        <a:pt x="9108" y="11521"/>
                        <a:pt x="9063" y="11581"/>
                        <a:pt x="9053" y="11604"/>
                      </a:cubicBezTo>
                      <a:cubicBezTo>
                        <a:pt x="9047" y="11699"/>
                        <a:pt x="9036" y="11821"/>
                        <a:pt x="8955" y="11922"/>
                      </a:cubicBezTo>
                      <a:cubicBezTo>
                        <a:pt x="8906" y="11983"/>
                        <a:pt x="8850" y="12014"/>
                        <a:pt x="8806" y="12032"/>
                      </a:cubicBezTo>
                      <a:cubicBezTo>
                        <a:pt x="8760" y="12121"/>
                        <a:pt x="8681" y="12250"/>
                        <a:pt x="8582" y="12307"/>
                      </a:cubicBezTo>
                      <a:lnTo>
                        <a:pt x="8508" y="12353"/>
                      </a:lnTo>
                      <a:cubicBezTo>
                        <a:pt x="8345" y="12455"/>
                        <a:pt x="8259" y="12507"/>
                        <a:pt x="8201" y="12533"/>
                      </a:cubicBezTo>
                      <a:cubicBezTo>
                        <a:pt x="8195" y="12540"/>
                        <a:pt x="8188" y="12548"/>
                        <a:pt x="8183" y="12555"/>
                      </a:cubicBezTo>
                      <a:cubicBezTo>
                        <a:pt x="8139" y="12607"/>
                        <a:pt x="8099" y="12656"/>
                        <a:pt x="8035" y="12683"/>
                      </a:cubicBezTo>
                      <a:cubicBezTo>
                        <a:pt x="8005" y="12697"/>
                        <a:pt x="7953" y="12711"/>
                        <a:pt x="7900" y="12721"/>
                      </a:cubicBezTo>
                      <a:cubicBezTo>
                        <a:pt x="7783" y="12819"/>
                        <a:pt x="7689" y="12799"/>
                        <a:pt x="7583" y="12755"/>
                      </a:cubicBezTo>
                      <a:cubicBezTo>
                        <a:pt x="7535" y="12753"/>
                        <a:pt x="7503" y="12767"/>
                        <a:pt x="7475" y="12780"/>
                      </a:cubicBezTo>
                      <a:cubicBezTo>
                        <a:pt x="7473" y="12781"/>
                        <a:pt x="7203" y="12900"/>
                        <a:pt x="7066" y="12900"/>
                      </a:cubicBezTo>
                      <a:lnTo>
                        <a:pt x="6974" y="12959"/>
                      </a:lnTo>
                      <a:cubicBezTo>
                        <a:pt x="6962" y="12963"/>
                        <a:pt x="6937" y="12969"/>
                        <a:pt x="6901" y="12977"/>
                      </a:cubicBezTo>
                      <a:cubicBezTo>
                        <a:pt x="6700" y="13019"/>
                        <a:pt x="6628" y="13047"/>
                        <a:pt x="6604" y="13063"/>
                      </a:cubicBezTo>
                      <a:cubicBezTo>
                        <a:pt x="6564" y="13091"/>
                        <a:pt x="6503" y="13157"/>
                        <a:pt x="6443" y="13217"/>
                      </a:cubicBezTo>
                      <a:cubicBezTo>
                        <a:pt x="6284" y="13380"/>
                        <a:pt x="6204" y="13462"/>
                        <a:pt x="6085" y="13462"/>
                      </a:cubicBezTo>
                      <a:cubicBezTo>
                        <a:pt x="6038" y="13459"/>
                        <a:pt x="5970" y="13453"/>
                        <a:pt x="5674" y="13316"/>
                      </a:cubicBezTo>
                      <a:cubicBezTo>
                        <a:pt x="5658" y="13309"/>
                        <a:pt x="5629" y="13305"/>
                        <a:pt x="5601" y="13301"/>
                      </a:cubicBezTo>
                      <a:cubicBezTo>
                        <a:pt x="5529" y="13291"/>
                        <a:pt x="5396" y="13274"/>
                        <a:pt x="5317" y="13130"/>
                      </a:cubicBezTo>
                      <a:cubicBezTo>
                        <a:pt x="5319" y="13142"/>
                        <a:pt x="5287" y="13118"/>
                        <a:pt x="5273" y="13112"/>
                      </a:cubicBezTo>
                      <a:lnTo>
                        <a:pt x="5097" y="13115"/>
                      </a:lnTo>
                      <a:lnTo>
                        <a:pt x="4662" y="13113"/>
                      </a:lnTo>
                      <a:cubicBezTo>
                        <a:pt x="4497" y="13113"/>
                        <a:pt x="4243" y="13139"/>
                        <a:pt x="4075" y="13197"/>
                      </a:cubicBezTo>
                      <a:cubicBezTo>
                        <a:pt x="4017" y="13216"/>
                        <a:pt x="3975" y="13235"/>
                        <a:pt x="3934" y="13252"/>
                      </a:cubicBezTo>
                      <a:cubicBezTo>
                        <a:pt x="3822" y="13300"/>
                        <a:pt x="3717" y="13346"/>
                        <a:pt x="3445" y="13386"/>
                      </a:cubicBezTo>
                      <a:cubicBezTo>
                        <a:pt x="3203" y="13422"/>
                        <a:pt x="3089" y="13481"/>
                        <a:pt x="2899" y="13579"/>
                      </a:cubicBezTo>
                      <a:lnTo>
                        <a:pt x="2734" y="13663"/>
                      </a:lnTo>
                      <a:cubicBezTo>
                        <a:pt x="2435" y="13810"/>
                        <a:pt x="1780" y="14157"/>
                        <a:pt x="1595" y="14299"/>
                      </a:cubicBezTo>
                      <a:cubicBezTo>
                        <a:pt x="1507" y="14367"/>
                        <a:pt x="1435" y="14420"/>
                        <a:pt x="1376" y="14464"/>
                      </a:cubicBezTo>
                      <a:cubicBezTo>
                        <a:pt x="1384" y="14495"/>
                        <a:pt x="1392" y="14528"/>
                        <a:pt x="1398" y="14562"/>
                      </a:cubicBezTo>
                      <a:cubicBezTo>
                        <a:pt x="1403" y="14586"/>
                        <a:pt x="1408" y="14611"/>
                        <a:pt x="1413" y="14629"/>
                      </a:cubicBezTo>
                      <a:cubicBezTo>
                        <a:pt x="1423" y="14653"/>
                        <a:pt x="1434" y="14696"/>
                        <a:pt x="1445" y="14752"/>
                      </a:cubicBezTo>
                      <a:cubicBezTo>
                        <a:pt x="1466" y="14781"/>
                        <a:pt x="1485" y="14815"/>
                        <a:pt x="1499" y="14856"/>
                      </a:cubicBezTo>
                      <a:lnTo>
                        <a:pt x="1536" y="14973"/>
                      </a:lnTo>
                      <a:lnTo>
                        <a:pt x="1503" y="15079"/>
                      </a:lnTo>
                      <a:lnTo>
                        <a:pt x="1542" y="15079"/>
                      </a:lnTo>
                      <a:lnTo>
                        <a:pt x="1661" y="15244"/>
                      </a:lnTo>
                      <a:cubicBezTo>
                        <a:pt x="1691" y="15293"/>
                        <a:pt x="1756" y="15402"/>
                        <a:pt x="1740" y="15543"/>
                      </a:cubicBezTo>
                      <a:cubicBezTo>
                        <a:pt x="1756" y="15557"/>
                        <a:pt x="1773" y="15570"/>
                        <a:pt x="1787" y="15581"/>
                      </a:cubicBezTo>
                      <a:cubicBezTo>
                        <a:pt x="1873" y="15584"/>
                        <a:pt x="1982" y="15598"/>
                        <a:pt x="2063" y="15692"/>
                      </a:cubicBezTo>
                      <a:cubicBezTo>
                        <a:pt x="2132" y="15773"/>
                        <a:pt x="2215" y="15898"/>
                        <a:pt x="2223" y="16041"/>
                      </a:cubicBezTo>
                      <a:lnTo>
                        <a:pt x="2226" y="16095"/>
                      </a:lnTo>
                      <a:cubicBezTo>
                        <a:pt x="2239" y="16115"/>
                        <a:pt x="2256" y="16139"/>
                        <a:pt x="2269" y="16155"/>
                      </a:cubicBezTo>
                      <a:lnTo>
                        <a:pt x="2421" y="16221"/>
                      </a:lnTo>
                      <a:lnTo>
                        <a:pt x="2415" y="16428"/>
                      </a:lnTo>
                      <a:cubicBezTo>
                        <a:pt x="2416" y="16446"/>
                        <a:pt x="2416" y="16469"/>
                        <a:pt x="2415" y="16492"/>
                      </a:cubicBezTo>
                      <a:cubicBezTo>
                        <a:pt x="2492" y="16594"/>
                        <a:pt x="2498" y="16698"/>
                        <a:pt x="2487" y="16773"/>
                      </a:cubicBezTo>
                      <a:cubicBezTo>
                        <a:pt x="2473" y="16895"/>
                        <a:pt x="2385" y="17066"/>
                        <a:pt x="2310" y="17163"/>
                      </a:cubicBezTo>
                      <a:lnTo>
                        <a:pt x="2250" y="17292"/>
                      </a:lnTo>
                      <a:lnTo>
                        <a:pt x="2126" y="17344"/>
                      </a:lnTo>
                      <a:cubicBezTo>
                        <a:pt x="2121" y="17351"/>
                        <a:pt x="2117" y="17357"/>
                        <a:pt x="2114" y="17362"/>
                      </a:cubicBezTo>
                      <a:cubicBezTo>
                        <a:pt x="2071" y="17449"/>
                        <a:pt x="1994" y="17509"/>
                        <a:pt x="1962" y="17530"/>
                      </a:cubicBezTo>
                      <a:lnTo>
                        <a:pt x="1951" y="17538"/>
                      </a:lnTo>
                      <a:cubicBezTo>
                        <a:pt x="1971" y="17663"/>
                        <a:pt x="1919" y="17761"/>
                        <a:pt x="1896" y="17803"/>
                      </a:cubicBezTo>
                      <a:cubicBezTo>
                        <a:pt x="1869" y="17851"/>
                        <a:pt x="1841" y="17893"/>
                        <a:pt x="1814" y="17932"/>
                      </a:cubicBezTo>
                      <a:cubicBezTo>
                        <a:pt x="1802" y="17950"/>
                        <a:pt x="1790" y="17966"/>
                        <a:pt x="1781" y="17981"/>
                      </a:cubicBezTo>
                      <a:cubicBezTo>
                        <a:pt x="1782" y="17986"/>
                        <a:pt x="1780" y="17995"/>
                        <a:pt x="1775" y="18008"/>
                      </a:cubicBezTo>
                      <a:cubicBezTo>
                        <a:pt x="1785" y="18039"/>
                        <a:pt x="1791" y="18071"/>
                        <a:pt x="1792" y="18104"/>
                      </a:cubicBezTo>
                      <a:lnTo>
                        <a:pt x="1798" y="18234"/>
                      </a:lnTo>
                      <a:lnTo>
                        <a:pt x="1713" y="18345"/>
                      </a:lnTo>
                      <a:cubicBezTo>
                        <a:pt x="1687" y="18375"/>
                        <a:pt x="1573" y="18473"/>
                        <a:pt x="1485" y="18519"/>
                      </a:cubicBezTo>
                      <a:cubicBezTo>
                        <a:pt x="1451" y="18546"/>
                        <a:pt x="1357" y="18634"/>
                        <a:pt x="1319" y="18680"/>
                      </a:cubicBezTo>
                      <a:lnTo>
                        <a:pt x="1267" y="18744"/>
                      </a:lnTo>
                      <a:cubicBezTo>
                        <a:pt x="1138" y="18904"/>
                        <a:pt x="1106" y="18941"/>
                        <a:pt x="1063" y="18970"/>
                      </a:cubicBezTo>
                      <a:lnTo>
                        <a:pt x="1014" y="19000"/>
                      </a:lnTo>
                      <a:cubicBezTo>
                        <a:pt x="953" y="19134"/>
                        <a:pt x="828" y="19395"/>
                        <a:pt x="750" y="19492"/>
                      </a:cubicBezTo>
                      <a:cubicBezTo>
                        <a:pt x="744" y="19499"/>
                        <a:pt x="222" y="20142"/>
                        <a:pt x="32" y="20321"/>
                      </a:cubicBezTo>
                      <a:close/>
                      <a:moveTo>
                        <a:pt x="32" y="20321"/>
                      </a:moveTo>
                    </a:path>
                  </a:pathLst>
                </a:custGeom>
                <a:solidFill>
                  <a:schemeClr val="accent3">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513F3A"/>
                    </a:solidFill>
                    <a:effectLst/>
                    <a:uLnTx/>
                    <a:uFillTx/>
                    <a:latin typeface="Arial"/>
                    <a:ea typeface="Arial"/>
                    <a:cs typeface="Arial"/>
                    <a:sym typeface="Arial"/>
                  </a:endParaRPr>
                </a:p>
              </p:txBody>
            </p:sp>
            <p:sp>
              <p:nvSpPr>
                <p:cNvPr id="28" name="Google Shape;447;p54">
                  <a:extLst>
                    <a:ext uri="{FF2B5EF4-FFF2-40B4-BE49-F238E27FC236}">
                      <a16:creationId xmlns:a16="http://schemas.microsoft.com/office/drawing/2014/main" id="{0ED7044D-F331-45E1-B522-142AD6ACADC7}"/>
                    </a:ext>
                  </a:extLst>
                </p:cNvPr>
                <p:cNvSpPr/>
                <p:nvPr/>
              </p:nvSpPr>
              <p:spPr>
                <a:xfrm>
                  <a:off x="7405227" y="2693658"/>
                  <a:ext cx="1512" cy="8154"/>
                </a:xfrm>
                <a:custGeom>
                  <a:avLst/>
                  <a:gdLst/>
                  <a:ahLst/>
                  <a:cxnLst/>
                  <a:rect l="l" t="t" r="r" b="b"/>
                  <a:pathLst>
                    <a:path w="21600" h="21600" extrusionOk="0">
                      <a:moveTo>
                        <a:pt x="0" y="1002"/>
                      </a:moveTo>
                      <a:lnTo>
                        <a:pt x="10495" y="21600"/>
                      </a:lnTo>
                      <a:lnTo>
                        <a:pt x="21600" y="0"/>
                      </a:lnTo>
                      <a:cubicBezTo>
                        <a:pt x="16505" y="0"/>
                        <a:pt x="8666" y="279"/>
                        <a:pt x="0" y="1002"/>
                      </a:cubicBezTo>
                      <a:close/>
                      <a:moveTo>
                        <a:pt x="0" y="1002"/>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29" name="Google Shape;448;p54">
                  <a:extLst>
                    <a:ext uri="{FF2B5EF4-FFF2-40B4-BE49-F238E27FC236}">
                      <a16:creationId xmlns:a16="http://schemas.microsoft.com/office/drawing/2014/main" id="{7080A263-633A-4BC5-A32B-E2E12EA4B020}"/>
                    </a:ext>
                  </a:extLst>
                </p:cNvPr>
                <p:cNvSpPr/>
                <p:nvPr/>
              </p:nvSpPr>
              <p:spPr>
                <a:xfrm>
                  <a:off x="7213368" y="2069099"/>
                  <a:ext cx="195426" cy="388800"/>
                </a:xfrm>
                <a:custGeom>
                  <a:avLst/>
                  <a:gdLst/>
                  <a:ahLst/>
                  <a:cxnLst/>
                  <a:rect l="l" t="t" r="r" b="b"/>
                  <a:pathLst>
                    <a:path w="21600" h="21600" extrusionOk="0">
                      <a:moveTo>
                        <a:pt x="7553" y="1860"/>
                      </a:moveTo>
                      <a:lnTo>
                        <a:pt x="0" y="2993"/>
                      </a:lnTo>
                      <a:cubicBezTo>
                        <a:pt x="20" y="3018"/>
                        <a:pt x="41" y="3053"/>
                        <a:pt x="61" y="3082"/>
                      </a:cubicBezTo>
                      <a:cubicBezTo>
                        <a:pt x="80" y="3108"/>
                        <a:pt x="99" y="3129"/>
                        <a:pt x="115" y="3158"/>
                      </a:cubicBezTo>
                      <a:cubicBezTo>
                        <a:pt x="163" y="3236"/>
                        <a:pt x="207" y="3323"/>
                        <a:pt x="245" y="3429"/>
                      </a:cubicBezTo>
                      <a:lnTo>
                        <a:pt x="354" y="3730"/>
                      </a:lnTo>
                      <a:lnTo>
                        <a:pt x="65" y="3852"/>
                      </a:lnTo>
                      <a:cubicBezTo>
                        <a:pt x="65" y="3861"/>
                        <a:pt x="64" y="3870"/>
                        <a:pt x="61" y="3879"/>
                      </a:cubicBezTo>
                      <a:cubicBezTo>
                        <a:pt x="54" y="3921"/>
                        <a:pt x="48" y="3963"/>
                        <a:pt x="39" y="4004"/>
                      </a:cubicBezTo>
                      <a:lnTo>
                        <a:pt x="140" y="4044"/>
                      </a:lnTo>
                      <a:cubicBezTo>
                        <a:pt x="466" y="4154"/>
                        <a:pt x="741" y="4247"/>
                        <a:pt x="896" y="4409"/>
                      </a:cubicBezTo>
                      <a:cubicBezTo>
                        <a:pt x="1031" y="4548"/>
                        <a:pt x="1104" y="4757"/>
                        <a:pt x="754" y="4997"/>
                      </a:cubicBezTo>
                      <a:cubicBezTo>
                        <a:pt x="799" y="5096"/>
                        <a:pt x="883" y="5244"/>
                        <a:pt x="927" y="5319"/>
                      </a:cubicBezTo>
                      <a:cubicBezTo>
                        <a:pt x="1095" y="5607"/>
                        <a:pt x="1086" y="5846"/>
                        <a:pt x="1063" y="6003"/>
                      </a:cubicBezTo>
                      <a:cubicBezTo>
                        <a:pt x="1174" y="6071"/>
                        <a:pt x="1241" y="6145"/>
                        <a:pt x="1284" y="6212"/>
                      </a:cubicBezTo>
                      <a:cubicBezTo>
                        <a:pt x="1603" y="6283"/>
                        <a:pt x="1842" y="6427"/>
                        <a:pt x="2409" y="6771"/>
                      </a:cubicBezTo>
                      <a:cubicBezTo>
                        <a:pt x="2913" y="7077"/>
                        <a:pt x="3164" y="7442"/>
                        <a:pt x="3132" y="7809"/>
                      </a:cubicBezTo>
                      <a:cubicBezTo>
                        <a:pt x="3174" y="7865"/>
                        <a:pt x="3207" y="7936"/>
                        <a:pt x="3207" y="8021"/>
                      </a:cubicBezTo>
                      <a:lnTo>
                        <a:pt x="3134" y="8251"/>
                      </a:lnTo>
                      <a:cubicBezTo>
                        <a:pt x="3237" y="8346"/>
                        <a:pt x="3293" y="8451"/>
                        <a:pt x="3344" y="8545"/>
                      </a:cubicBezTo>
                      <a:lnTo>
                        <a:pt x="3458" y="8624"/>
                      </a:lnTo>
                      <a:cubicBezTo>
                        <a:pt x="3876" y="8846"/>
                        <a:pt x="3797" y="9113"/>
                        <a:pt x="3761" y="9242"/>
                      </a:cubicBezTo>
                      <a:cubicBezTo>
                        <a:pt x="3733" y="9372"/>
                        <a:pt x="3666" y="9479"/>
                        <a:pt x="3557" y="9565"/>
                      </a:cubicBezTo>
                      <a:cubicBezTo>
                        <a:pt x="3554" y="9588"/>
                        <a:pt x="3548" y="9612"/>
                        <a:pt x="3538" y="9637"/>
                      </a:cubicBezTo>
                      <a:cubicBezTo>
                        <a:pt x="3505" y="9721"/>
                        <a:pt x="3437" y="9796"/>
                        <a:pt x="3298" y="9943"/>
                      </a:cubicBezTo>
                      <a:cubicBezTo>
                        <a:pt x="3273" y="9969"/>
                        <a:pt x="3247" y="9997"/>
                        <a:pt x="3224" y="10022"/>
                      </a:cubicBezTo>
                      <a:cubicBezTo>
                        <a:pt x="3234" y="10050"/>
                        <a:pt x="3241" y="10082"/>
                        <a:pt x="3247" y="10118"/>
                      </a:cubicBezTo>
                      <a:cubicBezTo>
                        <a:pt x="3259" y="10216"/>
                        <a:pt x="3252" y="10312"/>
                        <a:pt x="3224" y="10401"/>
                      </a:cubicBezTo>
                      <a:cubicBezTo>
                        <a:pt x="3252" y="10443"/>
                        <a:pt x="3274" y="10493"/>
                        <a:pt x="3286" y="10549"/>
                      </a:cubicBezTo>
                      <a:cubicBezTo>
                        <a:pt x="3306" y="10666"/>
                        <a:pt x="3286" y="10792"/>
                        <a:pt x="3244" y="10900"/>
                      </a:cubicBezTo>
                      <a:cubicBezTo>
                        <a:pt x="3286" y="10912"/>
                        <a:pt x="3329" y="10924"/>
                        <a:pt x="3370" y="10939"/>
                      </a:cubicBezTo>
                      <a:cubicBezTo>
                        <a:pt x="3810" y="11095"/>
                        <a:pt x="3877" y="11346"/>
                        <a:pt x="3903" y="11440"/>
                      </a:cubicBezTo>
                      <a:lnTo>
                        <a:pt x="4117" y="11964"/>
                      </a:lnTo>
                      <a:cubicBezTo>
                        <a:pt x="4338" y="12004"/>
                        <a:pt x="4527" y="12058"/>
                        <a:pt x="4678" y="12160"/>
                      </a:cubicBezTo>
                      <a:cubicBezTo>
                        <a:pt x="4838" y="12268"/>
                        <a:pt x="4932" y="12402"/>
                        <a:pt x="4961" y="12569"/>
                      </a:cubicBezTo>
                      <a:cubicBezTo>
                        <a:pt x="5007" y="12601"/>
                        <a:pt x="5041" y="12632"/>
                        <a:pt x="5063" y="12658"/>
                      </a:cubicBezTo>
                      <a:cubicBezTo>
                        <a:pt x="5121" y="12723"/>
                        <a:pt x="5166" y="12806"/>
                        <a:pt x="5159" y="12901"/>
                      </a:cubicBezTo>
                      <a:cubicBezTo>
                        <a:pt x="5336" y="12976"/>
                        <a:pt x="5473" y="13049"/>
                        <a:pt x="5570" y="13142"/>
                      </a:cubicBezTo>
                      <a:cubicBezTo>
                        <a:pt x="5780" y="13344"/>
                        <a:pt x="5771" y="13558"/>
                        <a:pt x="5763" y="13728"/>
                      </a:cubicBezTo>
                      <a:cubicBezTo>
                        <a:pt x="5763" y="13901"/>
                        <a:pt x="5729" y="14024"/>
                        <a:pt x="5658" y="14124"/>
                      </a:cubicBezTo>
                      <a:cubicBezTo>
                        <a:pt x="5752" y="14118"/>
                        <a:pt x="5851" y="14115"/>
                        <a:pt x="5960" y="14115"/>
                      </a:cubicBezTo>
                      <a:cubicBezTo>
                        <a:pt x="6671" y="14115"/>
                        <a:pt x="6989" y="14382"/>
                        <a:pt x="7125" y="14496"/>
                      </a:cubicBezTo>
                      <a:cubicBezTo>
                        <a:pt x="7175" y="14536"/>
                        <a:pt x="7216" y="14574"/>
                        <a:pt x="7249" y="14610"/>
                      </a:cubicBezTo>
                      <a:cubicBezTo>
                        <a:pt x="7557" y="14669"/>
                        <a:pt x="7823" y="14806"/>
                        <a:pt x="8085" y="15038"/>
                      </a:cubicBezTo>
                      <a:lnTo>
                        <a:pt x="8180" y="15158"/>
                      </a:lnTo>
                      <a:lnTo>
                        <a:pt x="11157" y="21063"/>
                      </a:lnTo>
                      <a:cubicBezTo>
                        <a:pt x="11187" y="21160"/>
                        <a:pt x="11213" y="21453"/>
                        <a:pt x="11257" y="21581"/>
                      </a:cubicBezTo>
                      <a:cubicBezTo>
                        <a:pt x="11257" y="21579"/>
                        <a:pt x="11257" y="21578"/>
                        <a:pt x="11257" y="21578"/>
                      </a:cubicBezTo>
                      <a:cubicBezTo>
                        <a:pt x="11262" y="21578"/>
                        <a:pt x="11275" y="21585"/>
                        <a:pt x="11296" y="21600"/>
                      </a:cubicBezTo>
                      <a:lnTo>
                        <a:pt x="18939" y="20590"/>
                      </a:lnTo>
                      <a:cubicBezTo>
                        <a:pt x="18917" y="20577"/>
                        <a:pt x="18896" y="20563"/>
                        <a:pt x="18876" y="20548"/>
                      </a:cubicBezTo>
                      <a:cubicBezTo>
                        <a:pt x="18705" y="20428"/>
                        <a:pt x="18643" y="20312"/>
                        <a:pt x="18598" y="20228"/>
                      </a:cubicBezTo>
                      <a:cubicBezTo>
                        <a:pt x="18520" y="20184"/>
                        <a:pt x="18380" y="20096"/>
                        <a:pt x="18308" y="19970"/>
                      </a:cubicBezTo>
                      <a:cubicBezTo>
                        <a:pt x="18078" y="19696"/>
                        <a:pt x="18171" y="19508"/>
                        <a:pt x="18336" y="19385"/>
                      </a:cubicBezTo>
                      <a:cubicBezTo>
                        <a:pt x="18330" y="19366"/>
                        <a:pt x="18325" y="19347"/>
                        <a:pt x="18319" y="19331"/>
                      </a:cubicBezTo>
                      <a:cubicBezTo>
                        <a:pt x="18237" y="19278"/>
                        <a:pt x="17926" y="18999"/>
                        <a:pt x="18278" y="18714"/>
                      </a:cubicBezTo>
                      <a:cubicBezTo>
                        <a:pt x="18383" y="18626"/>
                        <a:pt x="18548" y="18554"/>
                        <a:pt x="18740" y="18474"/>
                      </a:cubicBezTo>
                      <a:lnTo>
                        <a:pt x="18673" y="18353"/>
                      </a:lnTo>
                      <a:cubicBezTo>
                        <a:pt x="18159" y="18023"/>
                        <a:pt x="18469" y="17736"/>
                        <a:pt x="18585" y="17651"/>
                      </a:cubicBezTo>
                      <a:lnTo>
                        <a:pt x="18591" y="17646"/>
                      </a:lnTo>
                      <a:cubicBezTo>
                        <a:pt x="18562" y="17618"/>
                        <a:pt x="18535" y="17594"/>
                        <a:pt x="18508" y="17577"/>
                      </a:cubicBezTo>
                      <a:cubicBezTo>
                        <a:pt x="18407" y="17537"/>
                        <a:pt x="18093" y="17404"/>
                        <a:pt x="18068" y="17147"/>
                      </a:cubicBezTo>
                      <a:cubicBezTo>
                        <a:pt x="17969" y="17019"/>
                        <a:pt x="17856" y="16859"/>
                        <a:pt x="17919" y="16696"/>
                      </a:cubicBezTo>
                      <a:lnTo>
                        <a:pt x="17876" y="16524"/>
                      </a:lnTo>
                      <a:cubicBezTo>
                        <a:pt x="17632" y="16322"/>
                        <a:pt x="17705" y="16115"/>
                        <a:pt x="17878" y="15969"/>
                      </a:cubicBezTo>
                      <a:lnTo>
                        <a:pt x="17793" y="15959"/>
                      </a:lnTo>
                      <a:lnTo>
                        <a:pt x="17713" y="15562"/>
                      </a:lnTo>
                      <a:cubicBezTo>
                        <a:pt x="17454" y="15411"/>
                        <a:pt x="17259" y="15200"/>
                        <a:pt x="17351" y="14982"/>
                      </a:cubicBezTo>
                      <a:cubicBezTo>
                        <a:pt x="17308" y="14906"/>
                        <a:pt x="17298" y="14823"/>
                        <a:pt x="17329" y="14737"/>
                      </a:cubicBezTo>
                      <a:lnTo>
                        <a:pt x="17346" y="14695"/>
                      </a:lnTo>
                      <a:cubicBezTo>
                        <a:pt x="17293" y="14586"/>
                        <a:pt x="17243" y="14445"/>
                        <a:pt x="17243" y="14342"/>
                      </a:cubicBezTo>
                      <a:cubicBezTo>
                        <a:pt x="17243" y="14339"/>
                        <a:pt x="17243" y="14336"/>
                        <a:pt x="17243" y="14333"/>
                      </a:cubicBezTo>
                      <a:cubicBezTo>
                        <a:pt x="16688" y="14120"/>
                        <a:pt x="16808" y="13836"/>
                        <a:pt x="16844" y="13770"/>
                      </a:cubicBezTo>
                      <a:lnTo>
                        <a:pt x="16887" y="13695"/>
                      </a:lnTo>
                      <a:cubicBezTo>
                        <a:pt x="16823" y="13628"/>
                        <a:pt x="16771" y="13545"/>
                        <a:pt x="16771" y="13447"/>
                      </a:cubicBezTo>
                      <a:cubicBezTo>
                        <a:pt x="16771" y="13292"/>
                        <a:pt x="16906" y="13150"/>
                        <a:pt x="17072" y="13033"/>
                      </a:cubicBezTo>
                      <a:cubicBezTo>
                        <a:pt x="16984" y="12883"/>
                        <a:pt x="17050" y="12735"/>
                        <a:pt x="17174" y="12625"/>
                      </a:cubicBezTo>
                      <a:cubicBezTo>
                        <a:pt x="17198" y="12604"/>
                        <a:pt x="17224" y="12585"/>
                        <a:pt x="17248" y="12567"/>
                      </a:cubicBezTo>
                      <a:cubicBezTo>
                        <a:pt x="17246" y="12551"/>
                        <a:pt x="17246" y="12535"/>
                        <a:pt x="17248" y="12522"/>
                      </a:cubicBezTo>
                      <a:lnTo>
                        <a:pt x="17254" y="12470"/>
                      </a:lnTo>
                      <a:cubicBezTo>
                        <a:pt x="17136" y="12323"/>
                        <a:pt x="17027" y="12095"/>
                        <a:pt x="17259" y="11848"/>
                      </a:cubicBezTo>
                      <a:cubicBezTo>
                        <a:pt x="17336" y="11768"/>
                        <a:pt x="17492" y="11642"/>
                        <a:pt x="17651" y="11518"/>
                      </a:cubicBezTo>
                      <a:cubicBezTo>
                        <a:pt x="17763" y="11430"/>
                        <a:pt x="17878" y="11343"/>
                        <a:pt x="17926" y="11291"/>
                      </a:cubicBezTo>
                      <a:cubicBezTo>
                        <a:pt x="17917" y="11212"/>
                        <a:pt x="17924" y="11120"/>
                        <a:pt x="17999" y="11023"/>
                      </a:cubicBezTo>
                      <a:cubicBezTo>
                        <a:pt x="17870" y="10863"/>
                        <a:pt x="17722" y="10633"/>
                        <a:pt x="17760" y="10412"/>
                      </a:cubicBezTo>
                      <a:cubicBezTo>
                        <a:pt x="17789" y="10200"/>
                        <a:pt x="17934" y="9996"/>
                        <a:pt x="18177" y="9818"/>
                      </a:cubicBezTo>
                      <a:cubicBezTo>
                        <a:pt x="18167" y="9774"/>
                        <a:pt x="18166" y="9724"/>
                        <a:pt x="18181" y="9669"/>
                      </a:cubicBezTo>
                      <a:cubicBezTo>
                        <a:pt x="18182" y="9660"/>
                        <a:pt x="18184" y="9652"/>
                        <a:pt x="18186" y="9643"/>
                      </a:cubicBezTo>
                      <a:cubicBezTo>
                        <a:pt x="17917" y="9420"/>
                        <a:pt x="17915" y="9114"/>
                        <a:pt x="18076" y="8899"/>
                      </a:cubicBezTo>
                      <a:cubicBezTo>
                        <a:pt x="18112" y="8847"/>
                        <a:pt x="18155" y="8803"/>
                        <a:pt x="18200" y="8766"/>
                      </a:cubicBezTo>
                      <a:cubicBezTo>
                        <a:pt x="18210" y="8690"/>
                        <a:pt x="18237" y="8607"/>
                        <a:pt x="18306" y="8525"/>
                      </a:cubicBezTo>
                      <a:cubicBezTo>
                        <a:pt x="18308" y="8521"/>
                        <a:pt x="18308" y="8517"/>
                        <a:pt x="18310" y="8513"/>
                      </a:cubicBezTo>
                      <a:cubicBezTo>
                        <a:pt x="18064" y="8385"/>
                        <a:pt x="18037" y="8232"/>
                        <a:pt x="18037" y="8170"/>
                      </a:cubicBezTo>
                      <a:cubicBezTo>
                        <a:pt x="18035" y="8113"/>
                        <a:pt x="18044" y="8060"/>
                        <a:pt x="18063" y="8010"/>
                      </a:cubicBezTo>
                      <a:lnTo>
                        <a:pt x="17919" y="7919"/>
                      </a:lnTo>
                      <a:cubicBezTo>
                        <a:pt x="17228" y="7657"/>
                        <a:pt x="17381" y="7368"/>
                        <a:pt x="17501" y="7240"/>
                      </a:cubicBezTo>
                      <a:lnTo>
                        <a:pt x="17441" y="7199"/>
                      </a:lnTo>
                      <a:cubicBezTo>
                        <a:pt x="17258" y="7077"/>
                        <a:pt x="16934" y="6863"/>
                        <a:pt x="17140" y="6567"/>
                      </a:cubicBezTo>
                      <a:cubicBezTo>
                        <a:pt x="17170" y="6524"/>
                        <a:pt x="17215" y="6475"/>
                        <a:pt x="17265" y="6426"/>
                      </a:cubicBezTo>
                      <a:cubicBezTo>
                        <a:pt x="17199" y="6156"/>
                        <a:pt x="17477" y="5996"/>
                        <a:pt x="17658" y="5921"/>
                      </a:cubicBezTo>
                      <a:lnTo>
                        <a:pt x="17647" y="5863"/>
                      </a:lnTo>
                      <a:lnTo>
                        <a:pt x="18525" y="5618"/>
                      </a:lnTo>
                      <a:cubicBezTo>
                        <a:pt x="18583" y="5608"/>
                        <a:pt x="18656" y="5596"/>
                        <a:pt x="18774" y="5564"/>
                      </a:cubicBezTo>
                      <a:cubicBezTo>
                        <a:pt x="18839" y="5515"/>
                        <a:pt x="19076" y="5369"/>
                        <a:pt x="19518" y="5345"/>
                      </a:cubicBezTo>
                      <a:lnTo>
                        <a:pt x="19645" y="5346"/>
                      </a:lnTo>
                      <a:cubicBezTo>
                        <a:pt x="19666" y="5146"/>
                        <a:pt x="19787" y="4912"/>
                        <a:pt x="20225" y="4753"/>
                      </a:cubicBezTo>
                      <a:cubicBezTo>
                        <a:pt x="20474" y="4663"/>
                        <a:pt x="20675" y="4629"/>
                        <a:pt x="20805" y="4606"/>
                      </a:cubicBezTo>
                      <a:cubicBezTo>
                        <a:pt x="20890" y="4591"/>
                        <a:pt x="20900" y="4590"/>
                        <a:pt x="20986" y="4550"/>
                      </a:cubicBezTo>
                      <a:cubicBezTo>
                        <a:pt x="21079" y="4508"/>
                        <a:pt x="21137" y="4481"/>
                        <a:pt x="21172" y="4458"/>
                      </a:cubicBezTo>
                      <a:cubicBezTo>
                        <a:pt x="21175" y="4452"/>
                        <a:pt x="21176" y="4447"/>
                        <a:pt x="21176" y="4444"/>
                      </a:cubicBezTo>
                      <a:cubicBezTo>
                        <a:pt x="21003" y="4139"/>
                        <a:pt x="21263" y="3948"/>
                        <a:pt x="21444" y="3858"/>
                      </a:cubicBezTo>
                      <a:cubicBezTo>
                        <a:pt x="21493" y="3833"/>
                        <a:pt x="21545" y="3812"/>
                        <a:pt x="21600" y="3793"/>
                      </a:cubicBezTo>
                      <a:cubicBezTo>
                        <a:pt x="21354" y="3672"/>
                        <a:pt x="21289" y="3511"/>
                        <a:pt x="21300" y="3405"/>
                      </a:cubicBezTo>
                      <a:cubicBezTo>
                        <a:pt x="21313" y="3287"/>
                        <a:pt x="21403" y="3180"/>
                        <a:pt x="21551" y="3094"/>
                      </a:cubicBezTo>
                      <a:cubicBezTo>
                        <a:pt x="21536" y="3069"/>
                        <a:pt x="21523" y="3044"/>
                        <a:pt x="21509" y="3020"/>
                      </a:cubicBezTo>
                      <a:cubicBezTo>
                        <a:pt x="21345" y="2983"/>
                        <a:pt x="21164" y="2921"/>
                        <a:pt x="21027" y="2811"/>
                      </a:cubicBezTo>
                      <a:lnTo>
                        <a:pt x="20900" y="2672"/>
                      </a:lnTo>
                      <a:cubicBezTo>
                        <a:pt x="20838" y="2631"/>
                        <a:pt x="20769" y="2584"/>
                        <a:pt x="20705" y="2539"/>
                      </a:cubicBezTo>
                      <a:lnTo>
                        <a:pt x="20583" y="2454"/>
                      </a:lnTo>
                      <a:cubicBezTo>
                        <a:pt x="20459" y="2412"/>
                        <a:pt x="20289" y="2343"/>
                        <a:pt x="20158" y="2238"/>
                      </a:cubicBezTo>
                      <a:cubicBezTo>
                        <a:pt x="19699" y="1878"/>
                        <a:pt x="19882" y="1646"/>
                        <a:pt x="20111" y="1511"/>
                      </a:cubicBezTo>
                      <a:lnTo>
                        <a:pt x="20237" y="1442"/>
                      </a:lnTo>
                      <a:cubicBezTo>
                        <a:pt x="20259" y="1403"/>
                        <a:pt x="20288" y="1362"/>
                        <a:pt x="20325" y="1321"/>
                      </a:cubicBezTo>
                      <a:cubicBezTo>
                        <a:pt x="20303" y="1264"/>
                        <a:pt x="20289" y="1194"/>
                        <a:pt x="20311" y="1115"/>
                      </a:cubicBezTo>
                      <a:lnTo>
                        <a:pt x="20377" y="965"/>
                      </a:lnTo>
                      <a:cubicBezTo>
                        <a:pt x="20353" y="966"/>
                        <a:pt x="20255" y="803"/>
                        <a:pt x="20425" y="600"/>
                      </a:cubicBezTo>
                      <a:cubicBezTo>
                        <a:pt x="20456" y="566"/>
                        <a:pt x="20478" y="528"/>
                        <a:pt x="20502" y="488"/>
                      </a:cubicBezTo>
                      <a:lnTo>
                        <a:pt x="20527" y="455"/>
                      </a:lnTo>
                      <a:cubicBezTo>
                        <a:pt x="20504" y="438"/>
                        <a:pt x="20486" y="421"/>
                        <a:pt x="20466" y="402"/>
                      </a:cubicBezTo>
                      <a:lnTo>
                        <a:pt x="20388" y="320"/>
                      </a:lnTo>
                      <a:lnTo>
                        <a:pt x="20351" y="159"/>
                      </a:lnTo>
                      <a:cubicBezTo>
                        <a:pt x="20235" y="122"/>
                        <a:pt x="20128" y="74"/>
                        <a:pt x="20036" y="17"/>
                      </a:cubicBezTo>
                      <a:cubicBezTo>
                        <a:pt x="20025" y="10"/>
                        <a:pt x="20010" y="7"/>
                        <a:pt x="19999" y="0"/>
                      </a:cubicBezTo>
                      <a:lnTo>
                        <a:pt x="19082" y="155"/>
                      </a:lnTo>
                      <a:cubicBezTo>
                        <a:pt x="15371" y="784"/>
                        <a:pt x="11535" y="1433"/>
                        <a:pt x="7553" y="1860"/>
                      </a:cubicBezTo>
                      <a:close/>
                      <a:moveTo>
                        <a:pt x="7553" y="1860"/>
                      </a:moveTo>
                    </a:path>
                  </a:pathLst>
                </a:custGeom>
                <a:solidFill>
                  <a:schemeClr val="accent3">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30" name="Google Shape;449;p54">
                  <a:extLst>
                    <a:ext uri="{FF2B5EF4-FFF2-40B4-BE49-F238E27FC236}">
                      <a16:creationId xmlns:a16="http://schemas.microsoft.com/office/drawing/2014/main" id="{5CFFBA3E-3BA0-42E5-A3F3-CD73059ECB74}"/>
                    </a:ext>
                  </a:extLst>
                </p:cNvPr>
                <p:cNvSpPr/>
                <p:nvPr/>
              </p:nvSpPr>
              <p:spPr>
                <a:xfrm>
                  <a:off x="7380734" y="2020114"/>
                  <a:ext cx="192348" cy="412776"/>
                </a:xfrm>
                <a:custGeom>
                  <a:avLst/>
                  <a:gdLst/>
                  <a:ahLst/>
                  <a:cxnLst/>
                  <a:rect l="l" t="t" r="r" b="b"/>
                  <a:pathLst>
                    <a:path w="21600" h="21600" extrusionOk="0">
                      <a:moveTo>
                        <a:pt x="4327" y="6756"/>
                      </a:moveTo>
                      <a:cubicBezTo>
                        <a:pt x="4312" y="6867"/>
                        <a:pt x="4253" y="6959"/>
                        <a:pt x="4216" y="7009"/>
                      </a:cubicBezTo>
                      <a:cubicBezTo>
                        <a:pt x="4096" y="7186"/>
                        <a:pt x="3957" y="7301"/>
                        <a:pt x="3489" y="7497"/>
                      </a:cubicBezTo>
                      <a:cubicBezTo>
                        <a:pt x="3205" y="7616"/>
                        <a:pt x="2979" y="7671"/>
                        <a:pt x="2780" y="7708"/>
                      </a:cubicBezTo>
                      <a:cubicBezTo>
                        <a:pt x="2780" y="7712"/>
                        <a:pt x="2782" y="7715"/>
                        <a:pt x="2782" y="7718"/>
                      </a:cubicBezTo>
                      <a:lnTo>
                        <a:pt x="2801" y="7797"/>
                      </a:lnTo>
                      <a:lnTo>
                        <a:pt x="2770" y="7954"/>
                      </a:lnTo>
                      <a:cubicBezTo>
                        <a:pt x="2616" y="8303"/>
                        <a:pt x="1531" y="8482"/>
                        <a:pt x="1519" y="8483"/>
                      </a:cubicBezTo>
                      <a:lnTo>
                        <a:pt x="1189" y="8504"/>
                      </a:lnTo>
                      <a:cubicBezTo>
                        <a:pt x="1161" y="8504"/>
                        <a:pt x="1134" y="8504"/>
                        <a:pt x="1107" y="8504"/>
                      </a:cubicBezTo>
                      <a:cubicBezTo>
                        <a:pt x="1033" y="8530"/>
                        <a:pt x="948" y="8556"/>
                        <a:pt x="847" y="8581"/>
                      </a:cubicBezTo>
                      <a:cubicBezTo>
                        <a:pt x="788" y="8595"/>
                        <a:pt x="735" y="8607"/>
                        <a:pt x="686" y="8618"/>
                      </a:cubicBezTo>
                      <a:cubicBezTo>
                        <a:pt x="621" y="8676"/>
                        <a:pt x="513" y="8746"/>
                        <a:pt x="336" y="8800"/>
                      </a:cubicBezTo>
                      <a:cubicBezTo>
                        <a:pt x="323" y="8821"/>
                        <a:pt x="308" y="8841"/>
                        <a:pt x="291" y="8859"/>
                      </a:cubicBezTo>
                      <a:cubicBezTo>
                        <a:pt x="468" y="8967"/>
                        <a:pt x="515" y="9066"/>
                        <a:pt x="555" y="9174"/>
                      </a:cubicBezTo>
                      <a:cubicBezTo>
                        <a:pt x="585" y="9259"/>
                        <a:pt x="595" y="9342"/>
                        <a:pt x="585" y="9422"/>
                      </a:cubicBezTo>
                      <a:cubicBezTo>
                        <a:pt x="615" y="9438"/>
                        <a:pt x="644" y="9455"/>
                        <a:pt x="673" y="9474"/>
                      </a:cubicBezTo>
                      <a:cubicBezTo>
                        <a:pt x="802" y="9539"/>
                        <a:pt x="887" y="9586"/>
                        <a:pt x="961" y="9642"/>
                      </a:cubicBezTo>
                      <a:cubicBezTo>
                        <a:pt x="988" y="9663"/>
                        <a:pt x="1001" y="9675"/>
                        <a:pt x="1007" y="9681"/>
                      </a:cubicBezTo>
                      <a:lnTo>
                        <a:pt x="1316" y="9783"/>
                      </a:lnTo>
                      <a:lnTo>
                        <a:pt x="1346" y="10022"/>
                      </a:lnTo>
                      <a:lnTo>
                        <a:pt x="1472" y="10069"/>
                      </a:lnTo>
                      <a:lnTo>
                        <a:pt x="1544" y="10340"/>
                      </a:lnTo>
                      <a:cubicBezTo>
                        <a:pt x="1551" y="10442"/>
                        <a:pt x="1504" y="10540"/>
                        <a:pt x="1405" y="10626"/>
                      </a:cubicBezTo>
                      <a:lnTo>
                        <a:pt x="1385" y="10683"/>
                      </a:lnTo>
                      <a:cubicBezTo>
                        <a:pt x="1354" y="10770"/>
                        <a:pt x="1327" y="10845"/>
                        <a:pt x="1261" y="10918"/>
                      </a:cubicBezTo>
                      <a:lnTo>
                        <a:pt x="1221" y="11136"/>
                      </a:lnTo>
                      <a:lnTo>
                        <a:pt x="1544" y="11223"/>
                      </a:lnTo>
                      <a:lnTo>
                        <a:pt x="1379" y="11837"/>
                      </a:lnTo>
                      <a:cubicBezTo>
                        <a:pt x="1400" y="11956"/>
                        <a:pt x="1342" y="12122"/>
                        <a:pt x="984" y="12271"/>
                      </a:cubicBezTo>
                      <a:cubicBezTo>
                        <a:pt x="900" y="12316"/>
                        <a:pt x="863" y="12360"/>
                        <a:pt x="855" y="12410"/>
                      </a:cubicBezTo>
                      <a:cubicBezTo>
                        <a:pt x="856" y="12462"/>
                        <a:pt x="973" y="12604"/>
                        <a:pt x="1016" y="12657"/>
                      </a:cubicBezTo>
                      <a:cubicBezTo>
                        <a:pt x="1085" y="12740"/>
                        <a:pt x="1132" y="12799"/>
                        <a:pt x="1149" y="12876"/>
                      </a:cubicBezTo>
                      <a:cubicBezTo>
                        <a:pt x="1189" y="13016"/>
                        <a:pt x="1092" y="13137"/>
                        <a:pt x="1007" y="13219"/>
                      </a:cubicBezTo>
                      <a:cubicBezTo>
                        <a:pt x="996" y="13302"/>
                        <a:pt x="977" y="13390"/>
                        <a:pt x="906" y="13485"/>
                      </a:cubicBezTo>
                      <a:cubicBezTo>
                        <a:pt x="832" y="13583"/>
                        <a:pt x="689" y="13690"/>
                        <a:pt x="445" y="13869"/>
                      </a:cubicBezTo>
                      <a:cubicBezTo>
                        <a:pt x="380" y="13915"/>
                        <a:pt x="317" y="13960"/>
                        <a:pt x="265" y="14000"/>
                      </a:cubicBezTo>
                      <a:cubicBezTo>
                        <a:pt x="354" y="14108"/>
                        <a:pt x="379" y="14198"/>
                        <a:pt x="376" y="14269"/>
                      </a:cubicBezTo>
                      <a:cubicBezTo>
                        <a:pt x="375" y="14340"/>
                        <a:pt x="344" y="14391"/>
                        <a:pt x="327" y="14423"/>
                      </a:cubicBezTo>
                      <a:lnTo>
                        <a:pt x="348" y="14574"/>
                      </a:lnTo>
                      <a:cubicBezTo>
                        <a:pt x="338" y="14604"/>
                        <a:pt x="321" y="14632"/>
                        <a:pt x="305" y="14658"/>
                      </a:cubicBezTo>
                      <a:cubicBezTo>
                        <a:pt x="305" y="14660"/>
                        <a:pt x="306" y="14662"/>
                        <a:pt x="306" y="14663"/>
                      </a:cubicBezTo>
                      <a:cubicBezTo>
                        <a:pt x="418" y="14816"/>
                        <a:pt x="450" y="15036"/>
                        <a:pt x="0" y="15242"/>
                      </a:cubicBezTo>
                      <a:cubicBezTo>
                        <a:pt x="16" y="15262"/>
                        <a:pt x="29" y="15282"/>
                        <a:pt x="41" y="15303"/>
                      </a:cubicBezTo>
                      <a:cubicBezTo>
                        <a:pt x="75" y="15363"/>
                        <a:pt x="88" y="15419"/>
                        <a:pt x="84" y="15471"/>
                      </a:cubicBezTo>
                      <a:cubicBezTo>
                        <a:pt x="262" y="15584"/>
                        <a:pt x="336" y="15704"/>
                        <a:pt x="336" y="16038"/>
                      </a:cubicBezTo>
                      <a:cubicBezTo>
                        <a:pt x="340" y="16062"/>
                        <a:pt x="382" y="16160"/>
                        <a:pt x="405" y="16194"/>
                      </a:cubicBezTo>
                      <a:cubicBezTo>
                        <a:pt x="456" y="16258"/>
                        <a:pt x="472" y="16318"/>
                        <a:pt x="472" y="16372"/>
                      </a:cubicBezTo>
                      <a:lnTo>
                        <a:pt x="553" y="16463"/>
                      </a:lnTo>
                      <a:cubicBezTo>
                        <a:pt x="574" y="16498"/>
                        <a:pt x="589" y="16540"/>
                        <a:pt x="593" y="16586"/>
                      </a:cubicBezTo>
                      <a:lnTo>
                        <a:pt x="997" y="16782"/>
                      </a:lnTo>
                      <a:lnTo>
                        <a:pt x="942" y="17058"/>
                      </a:lnTo>
                      <a:cubicBezTo>
                        <a:pt x="1075" y="17209"/>
                        <a:pt x="1060" y="17396"/>
                        <a:pt x="1044" y="17590"/>
                      </a:cubicBezTo>
                      <a:cubicBezTo>
                        <a:pt x="1044" y="17707"/>
                        <a:pt x="993" y="17798"/>
                        <a:pt x="927" y="17869"/>
                      </a:cubicBezTo>
                      <a:lnTo>
                        <a:pt x="1005" y="18148"/>
                      </a:lnTo>
                      <a:cubicBezTo>
                        <a:pt x="1043" y="18220"/>
                        <a:pt x="1054" y="18291"/>
                        <a:pt x="1033" y="18360"/>
                      </a:cubicBezTo>
                      <a:cubicBezTo>
                        <a:pt x="1061" y="18401"/>
                        <a:pt x="1086" y="18437"/>
                        <a:pt x="1107" y="18470"/>
                      </a:cubicBezTo>
                      <a:cubicBezTo>
                        <a:pt x="1148" y="18490"/>
                        <a:pt x="1191" y="18514"/>
                        <a:pt x="1234" y="18541"/>
                      </a:cubicBezTo>
                      <a:cubicBezTo>
                        <a:pt x="1474" y="18693"/>
                        <a:pt x="1667" y="18888"/>
                        <a:pt x="1757" y="19067"/>
                      </a:cubicBezTo>
                      <a:cubicBezTo>
                        <a:pt x="1830" y="19205"/>
                        <a:pt x="1808" y="19335"/>
                        <a:pt x="1686" y="19456"/>
                      </a:cubicBezTo>
                      <a:cubicBezTo>
                        <a:pt x="1764" y="19484"/>
                        <a:pt x="1832" y="19517"/>
                        <a:pt x="1893" y="19556"/>
                      </a:cubicBezTo>
                      <a:lnTo>
                        <a:pt x="2144" y="19715"/>
                      </a:lnTo>
                      <a:lnTo>
                        <a:pt x="1907" y="20160"/>
                      </a:lnTo>
                      <a:cubicBezTo>
                        <a:pt x="1895" y="20188"/>
                        <a:pt x="1878" y="20218"/>
                        <a:pt x="1853" y="20248"/>
                      </a:cubicBezTo>
                      <a:cubicBezTo>
                        <a:pt x="1763" y="20366"/>
                        <a:pt x="1592" y="20451"/>
                        <a:pt x="1385" y="20535"/>
                      </a:cubicBezTo>
                      <a:cubicBezTo>
                        <a:pt x="1392" y="20551"/>
                        <a:pt x="1398" y="20567"/>
                        <a:pt x="1404" y="20584"/>
                      </a:cubicBezTo>
                      <a:cubicBezTo>
                        <a:pt x="1437" y="20706"/>
                        <a:pt x="1468" y="20833"/>
                        <a:pt x="1458" y="20922"/>
                      </a:cubicBezTo>
                      <a:cubicBezTo>
                        <a:pt x="1453" y="20984"/>
                        <a:pt x="1430" y="21038"/>
                        <a:pt x="1398" y="21086"/>
                      </a:cubicBezTo>
                      <a:cubicBezTo>
                        <a:pt x="1482" y="21141"/>
                        <a:pt x="1561" y="21208"/>
                        <a:pt x="1612" y="21290"/>
                      </a:cubicBezTo>
                      <a:lnTo>
                        <a:pt x="1588" y="21298"/>
                      </a:lnTo>
                      <a:cubicBezTo>
                        <a:pt x="1684" y="21322"/>
                        <a:pt x="1791" y="21352"/>
                        <a:pt x="1893" y="21392"/>
                      </a:cubicBezTo>
                      <a:cubicBezTo>
                        <a:pt x="2106" y="21410"/>
                        <a:pt x="2322" y="21451"/>
                        <a:pt x="2503" y="21510"/>
                      </a:cubicBezTo>
                      <a:cubicBezTo>
                        <a:pt x="2563" y="21530"/>
                        <a:pt x="2624" y="21557"/>
                        <a:pt x="2689" y="21589"/>
                      </a:cubicBezTo>
                      <a:cubicBezTo>
                        <a:pt x="2699" y="21594"/>
                        <a:pt x="2706" y="21595"/>
                        <a:pt x="2715" y="21600"/>
                      </a:cubicBezTo>
                      <a:lnTo>
                        <a:pt x="16480" y="19913"/>
                      </a:lnTo>
                      <a:cubicBezTo>
                        <a:pt x="16633" y="19743"/>
                        <a:pt x="16777" y="19621"/>
                        <a:pt x="16911" y="19549"/>
                      </a:cubicBezTo>
                      <a:cubicBezTo>
                        <a:pt x="16987" y="19507"/>
                        <a:pt x="17070" y="19471"/>
                        <a:pt x="17158" y="19440"/>
                      </a:cubicBezTo>
                      <a:cubicBezTo>
                        <a:pt x="17105" y="19312"/>
                        <a:pt x="17123" y="19177"/>
                        <a:pt x="17284" y="19044"/>
                      </a:cubicBezTo>
                      <a:cubicBezTo>
                        <a:pt x="17492" y="18872"/>
                        <a:pt x="17815" y="18601"/>
                        <a:pt x="18483" y="18545"/>
                      </a:cubicBezTo>
                      <a:cubicBezTo>
                        <a:pt x="18515" y="18542"/>
                        <a:pt x="18549" y="18540"/>
                        <a:pt x="18587" y="18538"/>
                      </a:cubicBezTo>
                      <a:cubicBezTo>
                        <a:pt x="18591" y="18366"/>
                        <a:pt x="18786" y="18241"/>
                        <a:pt x="18974" y="18166"/>
                      </a:cubicBezTo>
                      <a:cubicBezTo>
                        <a:pt x="19094" y="18116"/>
                        <a:pt x="19242" y="18080"/>
                        <a:pt x="19449" y="18030"/>
                      </a:cubicBezTo>
                      <a:cubicBezTo>
                        <a:pt x="19557" y="18004"/>
                        <a:pt x="19785" y="17949"/>
                        <a:pt x="19853" y="17923"/>
                      </a:cubicBezTo>
                      <a:cubicBezTo>
                        <a:pt x="20121" y="17774"/>
                        <a:pt x="20355" y="17641"/>
                        <a:pt x="20769" y="17583"/>
                      </a:cubicBezTo>
                      <a:lnTo>
                        <a:pt x="21223" y="17550"/>
                      </a:lnTo>
                      <a:cubicBezTo>
                        <a:pt x="21232" y="17452"/>
                        <a:pt x="21268" y="17308"/>
                        <a:pt x="21355" y="17095"/>
                      </a:cubicBezTo>
                      <a:cubicBezTo>
                        <a:pt x="21382" y="17032"/>
                        <a:pt x="21484" y="16819"/>
                        <a:pt x="21600" y="16600"/>
                      </a:cubicBezTo>
                      <a:cubicBezTo>
                        <a:pt x="21568" y="16595"/>
                        <a:pt x="21532" y="16587"/>
                        <a:pt x="21498" y="16581"/>
                      </a:cubicBezTo>
                      <a:cubicBezTo>
                        <a:pt x="21328" y="16555"/>
                        <a:pt x="21161" y="16523"/>
                        <a:pt x="20989" y="16486"/>
                      </a:cubicBezTo>
                      <a:cubicBezTo>
                        <a:pt x="20934" y="16474"/>
                        <a:pt x="20886" y="16465"/>
                        <a:pt x="20833" y="16452"/>
                      </a:cubicBezTo>
                      <a:cubicBezTo>
                        <a:pt x="20622" y="16403"/>
                        <a:pt x="20423" y="16351"/>
                        <a:pt x="20266" y="16297"/>
                      </a:cubicBezTo>
                      <a:cubicBezTo>
                        <a:pt x="19709" y="16104"/>
                        <a:pt x="19556" y="15747"/>
                        <a:pt x="19491" y="15399"/>
                      </a:cubicBezTo>
                      <a:cubicBezTo>
                        <a:pt x="19377" y="15376"/>
                        <a:pt x="19259" y="15353"/>
                        <a:pt x="19161" y="15336"/>
                      </a:cubicBezTo>
                      <a:cubicBezTo>
                        <a:pt x="18697" y="15254"/>
                        <a:pt x="18272" y="15058"/>
                        <a:pt x="18035" y="14929"/>
                      </a:cubicBezTo>
                      <a:cubicBezTo>
                        <a:pt x="17611" y="14868"/>
                        <a:pt x="17167" y="14739"/>
                        <a:pt x="16996" y="14654"/>
                      </a:cubicBezTo>
                      <a:cubicBezTo>
                        <a:pt x="16808" y="14559"/>
                        <a:pt x="16396" y="14224"/>
                        <a:pt x="16328" y="14122"/>
                      </a:cubicBezTo>
                      <a:cubicBezTo>
                        <a:pt x="16269" y="14033"/>
                        <a:pt x="16235" y="13911"/>
                        <a:pt x="16406" y="13715"/>
                      </a:cubicBezTo>
                      <a:cubicBezTo>
                        <a:pt x="16402" y="13711"/>
                        <a:pt x="16400" y="13708"/>
                        <a:pt x="16398" y="13705"/>
                      </a:cubicBezTo>
                      <a:cubicBezTo>
                        <a:pt x="16381" y="13696"/>
                        <a:pt x="16364" y="13685"/>
                        <a:pt x="16347" y="13674"/>
                      </a:cubicBezTo>
                      <a:cubicBezTo>
                        <a:pt x="16060" y="13478"/>
                        <a:pt x="16069" y="13340"/>
                        <a:pt x="16123" y="13155"/>
                      </a:cubicBezTo>
                      <a:cubicBezTo>
                        <a:pt x="16068" y="13090"/>
                        <a:pt x="16043" y="13043"/>
                        <a:pt x="16028" y="13005"/>
                      </a:cubicBezTo>
                      <a:lnTo>
                        <a:pt x="15644" y="12947"/>
                      </a:lnTo>
                      <a:lnTo>
                        <a:pt x="15610" y="12792"/>
                      </a:lnTo>
                      <a:lnTo>
                        <a:pt x="5611" y="9"/>
                      </a:lnTo>
                      <a:lnTo>
                        <a:pt x="4916" y="56"/>
                      </a:lnTo>
                      <a:cubicBezTo>
                        <a:pt x="4843" y="53"/>
                        <a:pt x="4783" y="50"/>
                        <a:pt x="4732" y="45"/>
                      </a:cubicBezTo>
                      <a:cubicBezTo>
                        <a:pt x="4614" y="66"/>
                        <a:pt x="4472" y="82"/>
                        <a:pt x="4307" y="83"/>
                      </a:cubicBezTo>
                      <a:cubicBezTo>
                        <a:pt x="4061" y="71"/>
                        <a:pt x="3835" y="52"/>
                        <a:pt x="3632" y="0"/>
                      </a:cubicBezTo>
                      <a:cubicBezTo>
                        <a:pt x="3593" y="39"/>
                        <a:pt x="3547" y="72"/>
                        <a:pt x="3505" y="98"/>
                      </a:cubicBezTo>
                      <a:cubicBezTo>
                        <a:pt x="3489" y="107"/>
                        <a:pt x="3475" y="116"/>
                        <a:pt x="3458" y="125"/>
                      </a:cubicBezTo>
                      <a:cubicBezTo>
                        <a:pt x="3489" y="170"/>
                        <a:pt x="3507" y="218"/>
                        <a:pt x="3507" y="274"/>
                      </a:cubicBezTo>
                      <a:cubicBezTo>
                        <a:pt x="3507" y="287"/>
                        <a:pt x="3496" y="354"/>
                        <a:pt x="3469" y="443"/>
                      </a:cubicBezTo>
                      <a:cubicBezTo>
                        <a:pt x="3450" y="503"/>
                        <a:pt x="3426" y="582"/>
                        <a:pt x="3408" y="650"/>
                      </a:cubicBezTo>
                      <a:lnTo>
                        <a:pt x="3597" y="758"/>
                      </a:lnTo>
                      <a:lnTo>
                        <a:pt x="3551" y="1061"/>
                      </a:lnTo>
                      <a:cubicBezTo>
                        <a:pt x="3493" y="1148"/>
                        <a:pt x="3118" y="1482"/>
                        <a:pt x="3114" y="1485"/>
                      </a:cubicBezTo>
                      <a:cubicBezTo>
                        <a:pt x="3116" y="1485"/>
                        <a:pt x="3116" y="1488"/>
                        <a:pt x="3114" y="1491"/>
                      </a:cubicBezTo>
                      <a:cubicBezTo>
                        <a:pt x="3145" y="1518"/>
                        <a:pt x="3171" y="1545"/>
                        <a:pt x="3196" y="1575"/>
                      </a:cubicBezTo>
                      <a:cubicBezTo>
                        <a:pt x="3334" y="1622"/>
                        <a:pt x="3473" y="1694"/>
                        <a:pt x="3556" y="1799"/>
                      </a:cubicBezTo>
                      <a:lnTo>
                        <a:pt x="3705" y="1987"/>
                      </a:lnTo>
                      <a:lnTo>
                        <a:pt x="3503" y="2177"/>
                      </a:lnTo>
                      <a:cubicBezTo>
                        <a:pt x="3455" y="2216"/>
                        <a:pt x="3405" y="2248"/>
                        <a:pt x="3349" y="2276"/>
                      </a:cubicBezTo>
                      <a:cubicBezTo>
                        <a:pt x="3383" y="2320"/>
                        <a:pt x="3408" y="2363"/>
                        <a:pt x="3426" y="2405"/>
                      </a:cubicBezTo>
                      <a:cubicBezTo>
                        <a:pt x="3520" y="2434"/>
                        <a:pt x="3613" y="2471"/>
                        <a:pt x="3695" y="2522"/>
                      </a:cubicBezTo>
                      <a:cubicBezTo>
                        <a:pt x="3858" y="2618"/>
                        <a:pt x="4090" y="2839"/>
                        <a:pt x="3661" y="3148"/>
                      </a:cubicBezTo>
                      <a:lnTo>
                        <a:pt x="3548" y="3277"/>
                      </a:lnTo>
                      <a:cubicBezTo>
                        <a:pt x="3538" y="3294"/>
                        <a:pt x="3526" y="3309"/>
                        <a:pt x="3514" y="3324"/>
                      </a:cubicBezTo>
                      <a:cubicBezTo>
                        <a:pt x="3505" y="3340"/>
                        <a:pt x="3493" y="3356"/>
                        <a:pt x="3483" y="3372"/>
                      </a:cubicBezTo>
                      <a:cubicBezTo>
                        <a:pt x="3496" y="3407"/>
                        <a:pt x="3507" y="3448"/>
                        <a:pt x="3507" y="3492"/>
                      </a:cubicBezTo>
                      <a:lnTo>
                        <a:pt x="3464" y="3648"/>
                      </a:lnTo>
                      <a:cubicBezTo>
                        <a:pt x="3492" y="3693"/>
                        <a:pt x="3514" y="3749"/>
                        <a:pt x="3514" y="3815"/>
                      </a:cubicBezTo>
                      <a:cubicBezTo>
                        <a:pt x="3514" y="4008"/>
                        <a:pt x="3328" y="4137"/>
                        <a:pt x="3251" y="4192"/>
                      </a:cubicBezTo>
                      <a:cubicBezTo>
                        <a:pt x="3239" y="4209"/>
                        <a:pt x="3228" y="4225"/>
                        <a:pt x="3217" y="4241"/>
                      </a:cubicBezTo>
                      <a:cubicBezTo>
                        <a:pt x="3245" y="4254"/>
                        <a:pt x="3272" y="4268"/>
                        <a:pt x="3296" y="4283"/>
                      </a:cubicBezTo>
                      <a:lnTo>
                        <a:pt x="3484" y="4402"/>
                      </a:lnTo>
                      <a:cubicBezTo>
                        <a:pt x="3552" y="4447"/>
                        <a:pt x="3629" y="4497"/>
                        <a:pt x="3676" y="4523"/>
                      </a:cubicBezTo>
                      <a:lnTo>
                        <a:pt x="3824" y="4606"/>
                      </a:lnTo>
                      <a:cubicBezTo>
                        <a:pt x="3949" y="4635"/>
                        <a:pt x="4084" y="4677"/>
                        <a:pt x="4208" y="4740"/>
                      </a:cubicBezTo>
                      <a:cubicBezTo>
                        <a:pt x="4403" y="4842"/>
                        <a:pt x="4492" y="4960"/>
                        <a:pt x="4551" y="5065"/>
                      </a:cubicBezTo>
                      <a:lnTo>
                        <a:pt x="4580" y="5069"/>
                      </a:lnTo>
                      <a:lnTo>
                        <a:pt x="4916" y="5243"/>
                      </a:lnTo>
                      <a:cubicBezTo>
                        <a:pt x="5112" y="5390"/>
                        <a:pt x="5140" y="5597"/>
                        <a:pt x="4893" y="5765"/>
                      </a:cubicBezTo>
                      <a:lnTo>
                        <a:pt x="4790" y="5861"/>
                      </a:lnTo>
                      <a:cubicBezTo>
                        <a:pt x="4796" y="5878"/>
                        <a:pt x="4800" y="5895"/>
                        <a:pt x="4804" y="5912"/>
                      </a:cubicBezTo>
                      <a:lnTo>
                        <a:pt x="4908" y="5943"/>
                      </a:lnTo>
                      <a:lnTo>
                        <a:pt x="5043" y="6366"/>
                      </a:lnTo>
                      <a:lnTo>
                        <a:pt x="4686" y="6577"/>
                      </a:lnTo>
                      <a:cubicBezTo>
                        <a:pt x="4583" y="6656"/>
                        <a:pt x="4454" y="6714"/>
                        <a:pt x="4327" y="6756"/>
                      </a:cubicBezTo>
                      <a:close/>
                      <a:moveTo>
                        <a:pt x="4327" y="6756"/>
                      </a:moveTo>
                    </a:path>
                  </a:pathLst>
                </a:custGeom>
                <a:solidFill>
                  <a:schemeClr val="accent3">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31" name="Google Shape;450;p54">
                  <a:extLst>
                    <a:ext uri="{FF2B5EF4-FFF2-40B4-BE49-F238E27FC236}">
                      <a16:creationId xmlns:a16="http://schemas.microsoft.com/office/drawing/2014/main" id="{B72C67F6-16AC-440E-BFBD-7B226944BEEE}"/>
                    </a:ext>
                  </a:extLst>
                </p:cNvPr>
                <p:cNvSpPr/>
                <p:nvPr/>
              </p:nvSpPr>
              <p:spPr>
                <a:xfrm>
                  <a:off x="7229696" y="2232383"/>
                  <a:ext cx="8154" cy="2052"/>
                </a:xfrm>
                <a:custGeom>
                  <a:avLst/>
                  <a:gdLst/>
                  <a:ahLst/>
                  <a:cxnLst/>
                  <a:rect l="l" t="t" r="r" b="b"/>
                  <a:pathLst>
                    <a:path w="21600" h="21600" extrusionOk="0">
                      <a:moveTo>
                        <a:pt x="0" y="8702"/>
                      </a:moveTo>
                      <a:cubicBezTo>
                        <a:pt x="171" y="12484"/>
                        <a:pt x="472" y="16847"/>
                        <a:pt x="944" y="21600"/>
                      </a:cubicBezTo>
                      <a:lnTo>
                        <a:pt x="21600" y="5569"/>
                      </a:lnTo>
                      <a:lnTo>
                        <a:pt x="1064" y="0"/>
                      </a:lnTo>
                      <a:cubicBezTo>
                        <a:pt x="643" y="2873"/>
                        <a:pt x="251" y="5828"/>
                        <a:pt x="0" y="8702"/>
                      </a:cubicBezTo>
                      <a:close/>
                      <a:moveTo>
                        <a:pt x="0" y="8702"/>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32" name="Google Shape;451;p54">
                  <a:extLst>
                    <a:ext uri="{FF2B5EF4-FFF2-40B4-BE49-F238E27FC236}">
                      <a16:creationId xmlns:a16="http://schemas.microsoft.com/office/drawing/2014/main" id="{3F20BA3B-82BB-4705-864F-E21130B58437}"/>
                    </a:ext>
                  </a:extLst>
                </p:cNvPr>
                <p:cNvSpPr/>
                <p:nvPr/>
              </p:nvSpPr>
              <p:spPr>
                <a:xfrm>
                  <a:off x="7388899" y="2428323"/>
                  <a:ext cx="7668" cy="4104"/>
                </a:xfrm>
                <a:custGeom>
                  <a:avLst/>
                  <a:gdLst/>
                  <a:ahLst/>
                  <a:cxnLst/>
                  <a:rect l="l" t="t" r="r" b="b"/>
                  <a:pathLst>
                    <a:path w="21600" h="21600" extrusionOk="0">
                      <a:moveTo>
                        <a:pt x="0" y="21600"/>
                      </a:moveTo>
                      <a:lnTo>
                        <a:pt x="4723" y="18399"/>
                      </a:lnTo>
                      <a:cubicBezTo>
                        <a:pt x="8884" y="11356"/>
                        <a:pt x="14934" y="6791"/>
                        <a:pt x="21600" y="6711"/>
                      </a:cubicBezTo>
                      <a:cubicBezTo>
                        <a:pt x="20570" y="3882"/>
                        <a:pt x="19573" y="1688"/>
                        <a:pt x="18713" y="0"/>
                      </a:cubicBezTo>
                      <a:cubicBezTo>
                        <a:pt x="18713" y="0"/>
                        <a:pt x="0" y="21600"/>
                        <a:pt x="0" y="21600"/>
                      </a:cubicBezTo>
                      <a:close/>
                      <a:moveTo>
                        <a:pt x="0" y="21600"/>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33" name="Google Shape;452;p54">
                  <a:extLst>
                    <a:ext uri="{FF2B5EF4-FFF2-40B4-BE49-F238E27FC236}">
                      <a16:creationId xmlns:a16="http://schemas.microsoft.com/office/drawing/2014/main" id="{7552470B-FC7A-42AD-8CDA-6C8AEA46E51B}"/>
                    </a:ext>
                  </a:extLst>
                </p:cNvPr>
                <p:cNvSpPr/>
                <p:nvPr/>
              </p:nvSpPr>
              <p:spPr>
                <a:xfrm>
                  <a:off x="7446047" y="1599658"/>
                  <a:ext cx="448524" cy="724572"/>
                </a:xfrm>
                <a:custGeom>
                  <a:avLst/>
                  <a:gdLst/>
                  <a:ahLst/>
                  <a:cxnLst/>
                  <a:rect l="l" t="t" r="r" b="b"/>
                  <a:pathLst>
                    <a:path w="21600" h="21600" extrusionOk="0">
                      <a:moveTo>
                        <a:pt x="21467" y="9527"/>
                      </a:moveTo>
                      <a:cubicBezTo>
                        <a:pt x="21265" y="9487"/>
                        <a:pt x="21058" y="9444"/>
                        <a:pt x="20966" y="9309"/>
                      </a:cubicBezTo>
                      <a:cubicBezTo>
                        <a:pt x="20940" y="9282"/>
                        <a:pt x="20779" y="9150"/>
                        <a:pt x="20730" y="9120"/>
                      </a:cubicBezTo>
                      <a:cubicBezTo>
                        <a:pt x="20417" y="9038"/>
                        <a:pt x="20337" y="8926"/>
                        <a:pt x="20332" y="8836"/>
                      </a:cubicBezTo>
                      <a:cubicBezTo>
                        <a:pt x="20269" y="8804"/>
                        <a:pt x="20158" y="8748"/>
                        <a:pt x="20079" y="8712"/>
                      </a:cubicBezTo>
                      <a:lnTo>
                        <a:pt x="19915" y="8732"/>
                      </a:lnTo>
                      <a:cubicBezTo>
                        <a:pt x="19909" y="8740"/>
                        <a:pt x="19902" y="8747"/>
                        <a:pt x="19894" y="8754"/>
                      </a:cubicBezTo>
                      <a:cubicBezTo>
                        <a:pt x="19776" y="8869"/>
                        <a:pt x="19627" y="9015"/>
                        <a:pt x="19351" y="9015"/>
                      </a:cubicBezTo>
                      <a:lnTo>
                        <a:pt x="19226" y="9004"/>
                      </a:lnTo>
                      <a:cubicBezTo>
                        <a:pt x="19144" y="9006"/>
                        <a:pt x="19003" y="9004"/>
                        <a:pt x="18881" y="8952"/>
                      </a:cubicBezTo>
                      <a:lnTo>
                        <a:pt x="18802" y="8936"/>
                      </a:lnTo>
                      <a:cubicBezTo>
                        <a:pt x="18670" y="8909"/>
                        <a:pt x="18594" y="8854"/>
                        <a:pt x="18552" y="8814"/>
                      </a:cubicBezTo>
                      <a:lnTo>
                        <a:pt x="18438" y="8793"/>
                      </a:lnTo>
                      <a:lnTo>
                        <a:pt x="18291" y="8647"/>
                      </a:lnTo>
                      <a:cubicBezTo>
                        <a:pt x="18282" y="8634"/>
                        <a:pt x="18261" y="8612"/>
                        <a:pt x="18249" y="8599"/>
                      </a:cubicBezTo>
                      <a:cubicBezTo>
                        <a:pt x="18263" y="8614"/>
                        <a:pt x="18225" y="8596"/>
                        <a:pt x="18186" y="8578"/>
                      </a:cubicBezTo>
                      <a:cubicBezTo>
                        <a:pt x="17950" y="8468"/>
                        <a:pt x="17819" y="8408"/>
                        <a:pt x="17781" y="8292"/>
                      </a:cubicBezTo>
                      <a:cubicBezTo>
                        <a:pt x="17714" y="8192"/>
                        <a:pt x="17747" y="8100"/>
                        <a:pt x="17820" y="8031"/>
                      </a:cubicBezTo>
                      <a:cubicBezTo>
                        <a:pt x="17810" y="7994"/>
                        <a:pt x="17808" y="7955"/>
                        <a:pt x="17823" y="7913"/>
                      </a:cubicBezTo>
                      <a:cubicBezTo>
                        <a:pt x="17827" y="7898"/>
                        <a:pt x="17833" y="7884"/>
                        <a:pt x="17840" y="7870"/>
                      </a:cubicBezTo>
                      <a:cubicBezTo>
                        <a:pt x="17840" y="7868"/>
                        <a:pt x="17838" y="7866"/>
                        <a:pt x="17837" y="7864"/>
                      </a:cubicBezTo>
                      <a:cubicBezTo>
                        <a:pt x="17774" y="7849"/>
                        <a:pt x="17703" y="7826"/>
                        <a:pt x="17634" y="7794"/>
                      </a:cubicBezTo>
                      <a:cubicBezTo>
                        <a:pt x="17476" y="7719"/>
                        <a:pt x="17406" y="7638"/>
                        <a:pt x="17369" y="7595"/>
                      </a:cubicBezTo>
                      <a:cubicBezTo>
                        <a:pt x="17248" y="7540"/>
                        <a:pt x="17095" y="7464"/>
                        <a:pt x="17095" y="7328"/>
                      </a:cubicBezTo>
                      <a:cubicBezTo>
                        <a:pt x="17095" y="7278"/>
                        <a:pt x="17120" y="7219"/>
                        <a:pt x="17151" y="7169"/>
                      </a:cubicBezTo>
                      <a:lnTo>
                        <a:pt x="17042" y="7173"/>
                      </a:lnTo>
                      <a:cubicBezTo>
                        <a:pt x="17033" y="7183"/>
                        <a:pt x="16943" y="7205"/>
                        <a:pt x="16830" y="7205"/>
                      </a:cubicBezTo>
                      <a:lnTo>
                        <a:pt x="16682" y="7191"/>
                      </a:lnTo>
                      <a:cubicBezTo>
                        <a:pt x="16640" y="7199"/>
                        <a:pt x="16597" y="7202"/>
                        <a:pt x="16551" y="7202"/>
                      </a:cubicBezTo>
                      <a:lnTo>
                        <a:pt x="16369" y="7184"/>
                      </a:lnTo>
                      <a:cubicBezTo>
                        <a:pt x="16216" y="7157"/>
                        <a:pt x="16072" y="7132"/>
                        <a:pt x="15960" y="7083"/>
                      </a:cubicBezTo>
                      <a:lnTo>
                        <a:pt x="15825" y="7066"/>
                      </a:lnTo>
                      <a:cubicBezTo>
                        <a:pt x="15818" y="7065"/>
                        <a:pt x="15806" y="7063"/>
                        <a:pt x="15793" y="7062"/>
                      </a:cubicBezTo>
                      <a:cubicBezTo>
                        <a:pt x="15749" y="7071"/>
                        <a:pt x="15694" y="7079"/>
                        <a:pt x="15630" y="7079"/>
                      </a:cubicBezTo>
                      <a:lnTo>
                        <a:pt x="15527" y="7079"/>
                      </a:lnTo>
                      <a:lnTo>
                        <a:pt x="15402" y="7044"/>
                      </a:lnTo>
                      <a:cubicBezTo>
                        <a:pt x="15244" y="7001"/>
                        <a:pt x="14915" y="6912"/>
                        <a:pt x="14946" y="6724"/>
                      </a:cubicBezTo>
                      <a:cubicBezTo>
                        <a:pt x="14918" y="6686"/>
                        <a:pt x="14894" y="6642"/>
                        <a:pt x="14889" y="6594"/>
                      </a:cubicBezTo>
                      <a:cubicBezTo>
                        <a:pt x="14834" y="6551"/>
                        <a:pt x="14785" y="6493"/>
                        <a:pt x="14785" y="6418"/>
                      </a:cubicBezTo>
                      <a:cubicBezTo>
                        <a:pt x="14771" y="6436"/>
                        <a:pt x="14763" y="6408"/>
                        <a:pt x="14757" y="6392"/>
                      </a:cubicBezTo>
                      <a:cubicBezTo>
                        <a:pt x="14729" y="6334"/>
                        <a:pt x="14701" y="6274"/>
                        <a:pt x="14726" y="6201"/>
                      </a:cubicBezTo>
                      <a:cubicBezTo>
                        <a:pt x="14729" y="6187"/>
                        <a:pt x="14741" y="6158"/>
                        <a:pt x="14760" y="6124"/>
                      </a:cubicBezTo>
                      <a:cubicBezTo>
                        <a:pt x="14702" y="6091"/>
                        <a:pt x="14655" y="6056"/>
                        <a:pt x="14624" y="6007"/>
                      </a:cubicBezTo>
                      <a:cubicBezTo>
                        <a:pt x="14623" y="6005"/>
                        <a:pt x="14548" y="5868"/>
                        <a:pt x="14597" y="5739"/>
                      </a:cubicBezTo>
                      <a:cubicBezTo>
                        <a:pt x="14558" y="5710"/>
                        <a:pt x="14531" y="5675"/>
                        <a:pt x="14516" y="5634"/>
                      </a:cubicBezTo>
                      <a:lnTo>
                        <a:pt x="14499" y="5572"/>
                      </a:lnTo>
                      <a:cubicBezTo>
                        <a:pt x="14477" y="5515"/>
                        <a:pt x="14390" y="5324"/>
                        <a:pt x="14390" y="5324"/>
                      </a:cubicBezTo>
                      <a:lnTo>
                        <a:pt x="11701" y="713"/>
                      </a:lnTo>
                      <a:cubicBezTo>
                        <a:pt x="11636" y="707"/>
                        <a:pt x="11590" y="699"/>
                        <a:pt x="11555" y="691"/>
                      </a:cubicBezTo>
                      <a:cubicBezTo>
                        <a:pt x="11203" y="676"/>
                        <a:pt x="11069" y="586"/>
                        <a:pt x="11020" y="505"/>
                      </a:cubicBezTo>
                      <a:cubicBezTo>
                        <a:pt x="11020" y="505"/>
                        <a:pt x="11018" y="505"/>
                        <a:pt x="11017" y="505"/>
                      </a:cubicBezTo>
                      <a:cubicBezTo>
                        <a:pt x="10961" y="494"/>
                        <a:pt x="10832" y="470"/>
                        <a:pt x="10717" y="381"/>
                      </a:cubicBezTo>
                      <a:cubicBezTo>
                        <a:pt x="10699" y="367"/>
                        <a:pt x="10672" y="346"/>
                        <a:pt x="10647" y="327"/>
                      </a:cubicBezTo>
                      <a:cubicBezTo>
                        <a:pt x="10525" y="313"/>
                        <a:pt x="10415" y="294"/>
                        <a:pt x="10322" y="235"/>
                      </a:cubicBezTo>
                      <a:cubicBezTo>
                        <a:pt x="10345" y="252"/>
                        <a:pt x="10289" y="240"/>
                        <a:pt x="10261" y="233"/>
                      </a:cubicBezTo>
                      <a:cubicBezTo>
                        <a:pt x="10202" y="231"/>
                        <a:pt x="10101" y="222"/>
                        <a:pt x="9992" y="192"/>
                      </a:cubicBezTo>
                      <a:lnTo>
                        <a:pt x="9879" y="165"/>
                      </a:lnTo>
                      <a:cubicBezTo>
                        <a:pt x="9617" y="105"/>
                        <a:pt x="9475" y="69"/>
                        <a:pt x="9378" y="21"/>
                      </a:cubicBezTo>
                      <a:cubicBezTo>
                        <a:pt x="9265" y="31"/>
                        <a:pt x="9150" y="21"/>
                        <a:pt x="9064" y="0"/>
                      </a:cubicBezTo>
                      <a:cubicBezTo>
                        <a:pt x="9042" y="4"/>
                        <a:pt x="9018" y="6"/>
                        <a:pt x="8993" y="8"/>
                      </a:cubicBezTo>
                      <a:cubicBezTo>
                        <a:pt x="9033" y="81"/>
                        <a:pt x="9043" y="160"/>
                        <a:pt x="8973" y="242"/>
                      </a:cubicBezTo>
                      <a:cubicBezTo>
                        <a:pt x="8877" y="360"/>
                        <a:pt x="8689" y="399"/>
                        <a:pt x="8552" y="427"/>
                      </a:cubicBezTo>
                      <a:cubicBezTo>
                        <a:pt x="8505" y="449"/>
                        <a:pt x="8384" y="524"/>
                        <a:pt x="8188" y="524"/>
                      </a:cubicBezTo>
                      <a:lnTo>
                        <a:pt x="8052" y="511"/>
                      </a:lnTo>
                      <a:cubicBezTo>
                        <a:pt x="8026" y="532"/>
                        <a:pt x="7997" y="551"/>
                        <a:pt x="7963" y="568"/>
                      </a:cubicBezTo>
                      <a:cubicBezTo>
                        <a:pt x="7950" y="616"/>
                        <a:pt x="7917" y="666"/>
                        <a:pt x="7847" y="711"/>
                      </a:cubicBezTo>
                      <a:cubicBezTo>
                        <a:pt x="7830" y="742"/>
                        <a:pt x="7748" y="830"/>
                        <a:pt x="7584" y="872"/>
                      </a:cubicBezTo>
                      <a:cubicBezTo>
                        <a:pt x="7516" y="891"/>
                        <a:pt x="7447" y="895"/>
                        <a:pt x="7360" y="901"/>
                      </a:cubicBezTo>
                      <a:cubicBezTo>
                        <a:pt x="7313" y="904"/>
                        <a:pt x="7203" y="912"/>
                        <a:pt x="7165" y="921"/>
                      </a:cubicBezTo>
                      <a:cubicBezTo>
                        <a:pt x="7165" y="924"/>
                        <a:pt x="7125" y="952"/>
                        <a:pt x="7093" y="976"/>
                      </a:cubicBezTo>
                      <a:cubicBezTo>
                        <a:pt x="7039" y="1014"/>
                        <a:pt x="6984" y="1054"/>
                        <a:pt x="6899" y="1083"/>
                      </a:cubicBezTo>
                      <a:cubicBezTo>
                        <a:pt x="6830" y="1106"/>
                        <a:pt x="6774" y="1122"/>
                        <a:pt x="6738" y="1141"/>
                      </a:cubicBezTo>
                      <a:cubicBezTo>
                        <a:pt x="6665" y="1232"/>
                        <a:pt x="6487" y="1424"/>
                        <a:pt x="6144" y="1424"/>
                      </a:cubicBezTo>
                      <a:lnTo>
                        <a:pt x="6016" y="1414"/>
                      </a:lnTo>
                      <a:cubicBezTo>
                        <a:pt x="5907" y="1397"/>
                        <a:pt x="5830" y="1374"/>
                        <a:pt x="5774" y="1358"/>
                      </a:cubicBezTo>
                      <a:cubicBezTo>
                        <a:pt x="5728" y="1344"/>
                        <a:pt x="5707" y="1338"/>
                        <a:pt x="5664" y="1332"/>
                      </a:cubicBezTo>
                      <a:lnTo>
                        <a:pt x="5546" y="1319"/>
                      </a:lnTo>
                      <a:cubicBezTo>
                        <a:pt x="5264" y="1290"/>
                        <a:pt x="4793" y="1241"/>
                        <a:pt x="4793" y="972"/>
                      </a:cubicBezTo>
                      <a:cubicBezTo>
                        <a:pt x="4784" y="983"/>
                        <a:pt x="4745" y="932"/>
                        <a:pt x="4702" y="875"/>
                      </a:cubicBezTo>
                      <a:cubicBezTo>
                        <a:pt x="4581" y="710"/>
                        <a:pt x="4510" y="610"/>
                        <a:pt x="4504" y="515"/>
                      </a:cubicBezTo>
                      <a:lnTo>
                        <a:pt x="4274" y="473"/>
                      </a:lnTo>
                      <a:cubicBezTo>
                        <a:pt x="4264" y="470"/>
                        <a:pt x="4253" y="466"/>
                        <a:pt x="4241" y="463"/>
                      </a:cubicBezTo>
                      <a:cubicBezTo>
                        <a:pt x="4223" y="469"/>
                        <a:pt x="4200" y="476"/>
                        <a:pt x="4172" y="483"/>
                      </a:cubicBezTo>
                      <a:lnTo>
                        <a:pt x="2205" y="4525"/>
                      </a:lnTo>
                      <a:lnTo>
                        <a:pt x="2645" y="6168"/>
                      </a:lnTo>
                      <a:lnTo>
                        <a:pt x="2328" y="6148"/>
                      </a:lnTo>
                      <a:cubicBezTo>
                        <a:pt x="2305" y="6212"/>
                        <a:pt x="2264" y="6275"/>
                        <a:pt x="2185" y="6328"/>
                      </a:cubicBezTo>
                      <a:cubicBezTo>
                        <a:pt x="2144" y="6356"/>
                        <a:pt x="2100" y="6377"/>
                        <a:pt x="2055" y="6392"/>
                      </a:cubicBezTo>
                      <a:cubicBezTo>
                        <a:pt x="2069" y="6422"/>
                        <a:pt x="2078" y="6453"/>
                        <a:pt x="2078" y="6487"/>
                      </a:cubicBezTo>
                      <a:cubicBezTo>
                        <a:pt x="2078" y="6565"/>
                        <a:pt x="2026" y="6631"/>
                        <a:pt x="1965" y="6706"/>
                      </a:cubicBezTo>
                      <a:cubicBezTo>
                        <a:pt x="1987" y="6851"/>
                        <a:pt x="1997" y="6944"/>
                        <a:pt x="1990" y="7011"/>
                      </a:cubicBezTo>
                      <a:cubicBezTo>
                        <a:pt x="2202" y="7110"/>
                        <a:pt x="2250" y="7192"/>
                        <a:pt x="2264" y="7262"/>
                      </a:cubicBezTo>
                      <a:cubicBezTo>
                        <a:pt x="2284" y="7339"/>
                        <a:pt x="2316" y="7464"/>
                        <a:pt x="2250" y="7568"/>
                      </a:cubicBezTo>
                      <a:cubicBezTo>
                        <a:pt x="2340" y="7671"/>
                        <a:pt x="2285" y="7769"/>
                        <a:pt x="2267" y="7797"/>
                      </a:cubicBezTo>
                      <a:cubicBezTo>
                        <a:pt x="2265" y="7803"/>
                        <a:pt x="2263" y="7809"/>
                        <a:pt x="2260" y="7815"/>
                      </a:cubicBezTo>
                      <a:cubicBezTo>
                        <a:pt x="2285" y="7835"/>
                        <a:pt x="2305" y="7858"/>
                        <a:pt x="2320" y="7882"/>
                      </a:cubicBezTo>
                      <a:lnTo>
                        <a:pt x="2464" y="7923"/>
                      </a:lnTo>
                      <a:cubicBezTo>
                        <a:pt x="2808" y="8051"/>
                        <a:pt x="2791" y="8215"/>
                        <a:pt x="2759" y="8292"/>
                      </a:cubicBezTo>
                      <a:cubicBezTo>
                        <a:pt x="2787" y="8341"/>
                        <a:pt x="2795" y="8399"/>
                        <a:pt x="2773" y="8465"/>
                      </a:cubicBezTo>
                      <a:cubicBezTo>
                        <a:pt x="2729" y="8599"/>
                        <a:pt x="2460" y="8845"/>
                        <a:pt x="2303" y="8918"/>
                      </a:cubicBezTo>
                      <a:cubicBezTo>
                        <a:pt x="2306" y="8919"/>
                        <a:pt x="2280" y="8947"/>
                        <a:pt x="2262" y="8970"/>
                      </a:cubicBezTo>
                      <a:cubicBezTo>
                        <a:pt x="2262" y="8987"/>
                        <a:pt x="2261" y="9005"/>
                        <a:pt x="2259" y="9023"/>
                      </a:cubicBezTo>
                      <a:cubicBezTo>
                        <a:pt x="2384" y="9092"/>
                        <a:pt x="2504" y="9178"/>
                        <a:pt x="2486" y="9305"/>
                      </a:cubicBezTo>
                      <a:cubicBezTo>
                        <a:pt x="2481" y="9351"/>
                        <a:pt x="2332" y="9656"/>
                        <a:pt x="2060" y="9725"/>
                      </a:cubicBezTo>
                      <a:lnTo>
                        <a:pt x="2005" y="9738"/>
                      </a:lnTo>
                      <a:cubicBezTo>
                        <a:pt x="1932" y="9819"/>
                        <a:pt x="1849" y="9896"/>
                        <a:pt x="1731" y="9943"/>
                      </a:cubicBezTo>
                      <a:cubicBezTo>
                        <a:pt x="1718" y="10006"/>
                        <a:pt x="1683" y="10071"/>
                        <a:pt x="1614" y="10124"/>
                      </a:cubicBezTo>
                      <a:lnTo>
                        <a:pt x="1561" y="10165"/>
                      </a:lnTo>
                      <a:cubicBezTo>
                        <a:pt x="1529" y="10190"/>
                        <a:pt x="1482" y="10224"/>
                        <a:pt x="1446" y="10253"/>
                      </a:cubicBezTo>
                      <a:cubicBezTo>
                        <a:pt x="1443" y="10337"/>
                        <a:pt x="1434" y="10370"/>
                        <a:pt x="1418" y="10401"/>
                      </a:cubicBezTo>
                      <a:lnTo>
                        <a:pt x="1388" y="10458"/>
                      </a:lnTo>
                      <a:cubicBezTo>
                        <a:pt x="1396" y="10481"/>
                        <a:pt x="1401" y="10505"/>
                        <a:pt x="1401" y="10527"/>
                      </a:cubicBezTo>
                      <a:lnTo>
                        <a:pt x="1401" y="10597"/>
                      </a:lnTo>
                      <a:cubicBezTo>
                        <a:pt x="1435" y="10606"/>
                        <a:pt x="1475" y="10619"/>
                        <a:pt x="1516" y="10639"/>
                      </a:cubicBezTo>
                      <a:cubicBezTo>
                        <a:pt x="1529" y="10642"/>
                        <a:pt x="1542" y="10645"/>
                        <a:pt x="1555" y="10649"/>
                      </a:cubicBezTo>
                      <a:cubicBezTo>
                        <a:pt x="1816" y="10718"/>
                        <a:pt x="1964" y="10905"/>
                        <a:pt x="1981" y="10927"/>
                      </a:cubicBezTo>
                      <a:cubicBezTo>
                        <a:pt x="2152" y="11155"/>
                        <a:pt x="2012" y="11294"/>
                        <a:pt x="1915" y="11356"/>
                      </a:cubicBezTo>
                      <a:cubicBezTo>
                        <a:pt x="1855" y="11395"/>
                        <a:pt x="1723" y="11481"/>
                        <a:pt x="1505" y="11481"/>
                      </a:cubicBezTo>
                      <a:lnTo>
                        <a:pt x="1449" y="11481"/>
                      </a:lnTo>
                      <a:cubicBezTo>
                        <a:pt x="1405" y="11498"/>
                        <a:pt x="1354" y="11512"/>
                        <a:pt x="1294" y="11518"/>
                      </a:cubicBezTo>
                      <a:cubicBezTo>
                        <a:pt x="1303" y="11533"/>
                        <a:pt x="1312" y="11547"/>
                        <a:pt x="1318" y="11564"/>
                      </a:cubicBezTo>
                      <a:cubicBezTo>
                        <a:pt x="1344" y="11629"/>
                        <a:pt x="1399" y="11773"/>
                        <a:pt x="1264" y="11886"/>
                      </a:cubicBezTo>
                      <a:cubicBezTo>
                        <a:pt x="1318" y="11941"/>
                        <a:pt x="1366" y="12013"/>
                        <a:pt x="1344" y="12099"/>
                      </a:cubicBezTo>
                      <a:lnTo>
                        <a:pt x="1314" y="12217"/>
                      </a:lnTo>
                      <a:lnTo>
                        <a:pt x="1142" y="12285"/>
                      </a:lnTo>
                      <a:cubicBezTo>
                        <a:pt x="1094" y="12304"/>
                        <a:pt x="844" y="12394"/>
                        <a:pt x="634" y="12394"/>
                      </a:cubicBezTo>
                      <a:lnTo>
                        <a:pt x="505" y="12394"/>
                      </a:lnTo>
                      <a:lnTo>
                        <a:pt x="370" y="12344"/>
                      </a:lnTo>
                      <a:cubicBezTo>
                        <a:pt x="271" y="12301"/>
                        <a:pt x="214" y="12246"/>
                        <a:pt x="182" y="12202"/>
                      </a:cubicBezTo>
                      <a:cubicBezTo>
                        <a:pt x="124" y="12177"/>
                        <a:pt x="65" y="12149"/>
                        <a:pt x="16" y="12114"/>
                      </a:cubicBezTo>
                      <a:cubicBezTo>
                        <a:pt x="11" y="12116"/>
                        <a:pt x="6" y="12119"/>
                        <a:pt x="0" y="12121"/>
                      </a:cubicBezTo>
                      <a:lnTo>
                        <a:pt x="4441" y="19654"/>
                      </a:lnTo>
                      <a:cubicBezTo>
                        <a:pt x="4489" y="19675"/>
                        <a:pt x="4539" y="19701"/>
                        <a:pt x="4580" y="19734"/>
                      </a:cubicBezTo>
                      <a:cubicBezTo>
                        <a:pt x="4676" y="19810"/>
                        <a:pt x="4698" y="19894"/>
                        <a:pt x="4711" y="19944"/>
                      </a:cubicBezTo>
                      <a:cubicBezTo>
                        <a:pt x="4746" y="19988"/>
                        <a:pt x="4785" y="20055"/>
                        <a:pt x="4768" y="20167"/>
                      </a:cubicBezTo>
                      <a:cubicBezTo>
                        <a:pt x="4809" y="20202"/>
                        <a:pt x="4838" y="20243"/>
                        <a:pt x="4849" y="20288"/>
                      </a:cubicBezTo>
                      <a:cubicBezTo>
                        <a:pt x="4897" y="20354"/>
                        <a:pt x="4964" y="20468"/>
                        <a:pt x="4875" y="20587"/>
                      </a:cubicBezTo>
                      <a:cubicBezTo>
                        <a:pt x="4896" y="20607"/>
                        <a:pt x="4917" y="20628"/>
                        <a:pt x="4933" y="20642"/>
                      </a:cubicBezTo>
                      <a:cubicBezTo>
                        <a:pt x="4918" y="20627"/>
                        <a:pt x="4977" y="20646"/>
                        <a:pt x="5002" y="20652"/>
                      </a:cubicBezTo>
                      <a:cubicBezTo>
                        <a:pt x="5004" y="20652"/>
                        <a:pt x="5004" y="20652"/>
                        <a:pt x="5006" y="20652"/>
                      </a:cubicBezTo>
                      <a:cubicBezTo>
                        <a:pt x="5007" y="20652"/>
                        <a:pt x="5009" y="20652"/>
                        <a:pt x="5011" y="20652"/>
                      </a:cubicBezTo>
                      <a:cubicBezTo>
                        <a:pt x="5043" y="20651"/>
                        <a:pt x="5100" y="20657"/>
                        <a:pt x="5166" y="20678"/>
                      </a:cubicBezTo>
                      <a:cubicBezTo>
                        <a:pt x="5185" y="20684"/>
                        <a:pt x="5205" y="20694"/>
                        <a:pt x="5224" y="20702"/>
                      </a:cubicBezTo>
                      <a:cubicBezTo>
                        <a:pt x="5239" y="20709"/>
                        <a:pt x="5253" y="20713"/>
                        <a:pt x="5268" y="20721"/>
                      </a:cubicBezTo>
                      <a:cubicBezTo>
                        <a:pt x="5304" y="20740"/>
                        <a:pt x="5339" y="20764"/>
                        <a:pt x="5372" y="20795"/>
                      </a:cubicBezTo>
                      <a:cubicBezTo>
                        <a:pt x="5402" y="20820"/>
                        <a:pt x="5500" y="20880"/>
                        <a:pt x="5544" y="20894"/>
                      </a:cubicBezTo>
                      <a:cubicBezTo>
                        <a:pt x="6048" y="21014"/>
                        <a:pt x="6103" y="21080"/>
                        <a:pt x="6147" y="21133"/>
                      </a:cubicBezTo>
                      <a:cubicBezTo>
                        <a:pt x="6192" y="21186"/>
                        <a:pt x="6196" y="21229"/>
                        <a:pt x="6202" y="21293"/>
                      </a:cubicBezTo>
                      <a:cubicBezTo>
                        <a:pt x="6220" y="21459"/>
                        <a:pt x="6244" y="21520"/>
                        <a:pt x="6262" y="21542"/>
                      </a:cubicBezTo>
                      <a:cubicBezTo>
                        <a:pt x="6302" y="21552"/>
                        <a:pt x="6436" y="21583"/>
                        <a:pt x="6521" y="21600"/>
                      </a:cubicBezTo>
                      <a:cubicBezTo>
                        <a:pt x="6525" y="21599"/>
                        <a:pt x="6529" y="21598"/>
                        <a:pt x="6533" y="21597"/>
                      </a:cubicBezTo>
                      <a:cubicBezTo>
                        <a:pt x="6548" y="21562"/>
                        <a:pt x="6560" y="21532"/>
                        <a:pt x="6562" y="21517"/>
                      </a:cubicBezTo>
                      <a:cubicBezTo>
                        <a:pt x="6529" y="21396"/>
                        <a:pt x="6495" y="21262"/>
                        <a:pt x="6601" y="21140"/>
                      </a:cubicBezTo>
                      <a:cubicBezTo>
                        <a:pt x="6608" y="21131"/>
                        <a:pt x="6612" y="21124"/>
                        <a:pt x="6614" y="21116"/>
                      </a:cubicBezTo>
                      <a:cubicBezTo>
                        <a:pt x="6546" y="21067"/>
                        <a:pt x="6473" y="20992"/>
                        <a:pt x="6473" y="20890"/>
                      </a:cubicBezTo>
                      <a:lnTo>
                        <a:pt x="6467" y="20821"/>
                      </a:lnTo>
                      <a:cubicBezTo>
                        <a:pt x="6441" y="20562"/>
                        <a:pt x="6441" y="20471"/>
                        <a:pt x="6530" y="20382"/>
                      </a:cubicBezTo>
                      <a:cubicBezTo>
                        <a:pt x="6536" y="20376"/>
                        <a:pt x="6798" y="20168"/>
                        <a:pt x="7021" y="20086"/>
                      </a:cubicBezTo>
                      <a:cubicBezTo>
                        <a:pt x="7035" y="20009"/>
                        <a:pt x="7055" y="19954"/>
                        <a:pt x="7117" y="19900"/>
                      </a:cubicBezTo>
                      <a:lnTo>
                        <a:pt x="7172" y="19860"/>
                      </a:lnTo>
                      <a:cubicBezTo>
                        <a:pt x="7173" y="19851"/>
                        <a:pt x="7175" y="19842"/>
                        <a:pt x="7177" y="19833"/>
                      </a:cubicBezTo>
                      <a:cubicBezTo>
                        <a:pt x="7145" y="19808"/>
                        <a:pt x="7117" y="19781"/>
                        <a:pt x="7097" y="19751"/>
                      </a:cubicBezTo>
                      <a:cubicBezTo>
                        <a:pt x="6941" y="19595"/>
                        <a:pt x="6933" y="19461"/>
                        <a:pt x="7069" y="19350"/>
                      </a:cubicBezTo>
                      <a:cubicBezTo>
                        <a:pt x="7079" y="19288"/>
                        <a:pt x="7117" y="19200"/>
                        <a:pt x="7228" y="19131"/>
                      </a:cubicBezTo>
                      <a:cubicBezTo>
                        <a:pt x="7307" y="19082"/>
                        <a:pt x="7399" y="19056"/>
                        <a:pt x="7476" y="19038"/>
                      </a:cubicBezTo>
                      <a:cubicBezTo>
                        <a:pt x="7521" y="18994"/>
                        <a:pt x="7571" y="18954"/>
                        <a:pt x="7638" y="18924"/>
                      </a:cubicBezTo>
                      <a:cubicBezTo>
                        <a:pt x="7634" y="18915"/>
                        <a:pt x="7630" y="18903"/>
                        <a:pt x="7626" y="18894"/>
                      </a:cubicBezTo>
                      <a:cubicBezTo>
                        <a:pt x="7614" y="18881"/>
                        <a:pt x="7605" y="18869"/>
                        <a:pt x="7598" y="18861"/>
                      </a:cubicBezTo>
                      <a:cubicBezTo>
                        <a:pt x="7091" y="18707"/>
                        <a:pt x="7227" y="18484"/>
                        <a:pt x="7281" y="18420"/>
                      </a:cubicBezTo>
                      <a:cubicBezTo>
                        <a:pt x="7325" y="18367"/>
                        <a:pt x="7372" y="18334"/>
                        <a:pt x="7397" y="18317"/>
                      </a:cubicBezTo>
                      <a:lnTo>
                        <a:pt x="7402" y="18276"/>
                      </a:lnTo>
                      <a:cubicBezTo>
                        <a:pt x="7267" y="18103"/>
                        <a:pt x="7443" y="17973"/>
                        <a:pt x="7525" y="17927"/>
                      </a:cubicBezTo>
                      <a:cubicBezTo>
                        <a:pt x="7540" y="17918"/>
                        <a:pt x="7591" y="17881"/>
                        <a:pt x="7639" y="17839"/>
                      </a:cubicBezTo>
                      <a:lnTo>
                        <a:pt x="7687" y="17791"/>
                      </a:lnTo>
                      <a:cubicBezTo>
                        <a:pt x="7801" y="17677"/>
                        <a:pt x="7876" y="17605"/>
                        <a:pt x="7971" y="17559"/>
                      </a:cubicBezTo>
                      <a:cubicBezTo>
                        <a:pt x="7987" y="17551"/>
                        <a:pt x="8003" y="17544"/>
                        <a:pt x="8019" y="17538"/>
                      </a:cubicBezTo>
                      <a:cubicBezTo>
                        <a:pt x="8046" y="17481"/>
                        <a:pt x="8085" y="17415"/>
                        <a:pt x="8136" y="17372"/>
                      </a:cubicBezTo>
                      <a:cubicBezTo>
                        <a:pt x="8216" y="17302"/>
                        <a:pt x="8400" y="17222"/>
                        <a:pt x="8601" y="17222"/>
                      </a:cubicBezTo>
                      <a:lnTo>
                        <a:pt x="8949" y="17222"/>
                      </a:lnTo>
                      <a:lnTo>
                        <a:pt x="9047" y="17452"/>
                      </a:lnTo>
                      <a:cubicBezTo>
                        <a:pt x="9053" y="17473"/>
                        <a:pt x="9057" y="17505"/>
                        <a:pt x="9054" y="17541"/>
                      </a:cubicBezTo>
                      <a:cubicBezTo>
                        <a:pt x="9058" y="17541"/>
                        <a:pt x="9061" y="17540"/>
                        <a:pt x="9066" y="17539"/>
                      </a:cubicBezTo>
                      <a:cubicBezTo>
                        <a:pt x="9183" y="17450"/>
                        <a:pt x="9326" y="17433"/>
                        <a:pt x="9415" y="17433"/>
                      </a:cubicBezTo>
                      <a:lnTo>
                        <a:pt x="9535" y="17433"/>
                      </a:lnTo>
                      <a:lnTo>
                        <a:pt x="9654" y="17476"/>
                      </a:lnTo>
                      <a:cubicBezTo>
                        <a:pt x="9692" y="17492"/>
                        <a:pt x="9726" y="17508"/>
                        <a:pt x="9755" y="17526"/>
                      </a:cubicBezTo>
                      <a:cubicBezTo>
                        <a:pt x="9772" y="17517"/>
                        <a:pt x="9789" y="17510"/>
                        <a:pt x="9805" y="17504"/>
                      </a:cubicBezTo>
                      <a:cubicBezTo>
                        <a:pt x="9813" y="17480"/>
                        <a:pt x="9822" y="17457"/>
                        <a:pt x="9835" y="17435"/>
                      </a:cubicBezTo>
                      <a:cubicBezTo>
                        <a:pt x="9801" y="17353"/>
                        <a:pt x="9822" y="17273"/>
                        <a:pt x="9897" y="17198"/>
                      </a:cubicBezTo>
                      <a:lnTo>
                        <a:pt x="9998" y="17028"/>
                      </a:lnTo>
                      <a:lnTo>
                        <a:pt x="10213" y="17012"/>
                      </a:lnTo>
                      <a:lnTo>
                        <a:pt x="10352" y="16943"/>
                      </a:lnTo>
                      <a:cubicBezTo>
                        <a:pt x="10399" y="16893"/>
                        <a:pt x="10452" y="16855"/>
                        <a:pt x="10513" y="16828"/>
                      </a:cubicBezTo>
                      <a:cubicBezTo>
                        <a:pt x="10527" y="16796"/>
                        <a:pt x="10553" y="16766"/>
                        <a:pt x="10589" y="16738"/>
                      </a:cubicBezTo>
                      <a:cubicBezTo>
                        <a:pt x="10680" y="16660"/>
                        <a:pt x="10817" y="16630"/>
                        <a:pt x="10920" y="16618"/>
                      </a:cubicBezTo>
                      <a:cubicBezTo>
                        <a:pt x="10922" y="16610"/>
                        <a:pt x="10924" y="16600"/>
                        <a:pt x="10925" y="16592"/>
                      </a:cubicBezTo>
                      <a:cubicBezTo>
                        <a:pt x="10883" y="16527"/>
                        <a:pt x="10842" y="16431"/>
                        <a:pt x="10902" y="16330"/>
                      </a:cubicBezTo>
                      <a:cubicBezTo>
                        <a:pt x="11014" y="16082"/>
                        <a:pt x="11269" y="16045"/>
                        <a:pt x="11411" y="16045"/>
                      </a:cubicBezTo>
                      <a:lnTo>
                        <a:pt x="11540" y="16048"/>
                      </a:lnTo>
                      <a:cubicBezTo>
                        <a:pt x="11736" y="15963"/>
                        <a:pt x="11851" y="15950"/>
                        <a:pt x="11939" y="15950"/>
                      </a:cubicBezTo>
                      <a:lnTo>
                        <a:pt x="12061" y="15950"/>
                      </a:lnTo>
                      <a:lnTo>
                        <a:pt x="12160" y="15986"/>
                      </a:lnTo>
                      <a:lnTo>
                        <a:pt x="12161" y="15986"/>
                      </a:lnTo>
                      <a:lnTo>
                        <a:pt x="12221" y="15899"/>
                      </a:lnTo>
                      <a:cubicBezTo>
                        <a:pt x="12257" y="15806"/>
                        <a:pt x="12347" y="15749"/>
                        <a:pt x="12425" y="15717"/>
                      </a:cubicBezTo>
                      <a:cubicBezTo>
                        <a:pt x="12437" y="15688"/>
                        <a:pt x="12457" y="15659"/>
                        <a:pt x="12488" y="15630"/>
                      </a:cubicBezTo>
                      <a:cubicBezTo>
                        <a:pt x="12452" y="15603"/>
                        <a:pt x="12422" y="15571"/>
                        <a:pt x="12402" y="15535"/>
                      </a:cubicBezTo>
                      <a:cubicBezTo>
                        <a:pt x="12361" y="15474"/>
                        <a:pt x="12302" y="15388"/>
                        <a:pt x="12344" y="15294"/>
                      </a:cubicBezTo>
                      <a:lnTo>
                        <a:pt x="12334" y="15290"/>
                      </a:lnTo>
                      <a:lnTo>
                        <a:pt x="12328" y="15092"/>
                      </a:lnTo>
                      <a:cubicBezTo>
                        <a:pt x="12330" y="15069"/>
                        <a:pt x="12337" y="15000"/>
                        <a:pt x="12414" y="14932"/>
                      </a:cubicBezTo>
                      <a:cubicBezTo>
                        <a:pt x="12409" y="14915"/>
                        <a:pt x="12402" y="14890"/>
                        <a:pt x="12395" y="14867"/>
                      </a:cubicBezTo>
                      <a:cubicBezTo>
                        <a:pt x="12381" y="14815"/>
                        <a:pt x="12371" y="14769"/>
                        <a:pt x="12371" y="14748"/>
                      </a:cubicBezTo>
                      <a:cubicBezTo>
                        <a:pt x="12370" y="14721"/>
                        <a:pt x="12374" y="14688"/>
                        <a:pt x="12381" y="14650"/>
                      </a:cubicBezTo>
                      <a:cubicBezTo>
                        <a:pt x="12385" y="14631"/>
                        <a:pt x="12390" y="14610"/>
                        <a:pt x="12390" y="14586"/>
                      </a:cubicBezTo>
                      <a:cubicBezTo>
                        <a:pt x="12371" y="14480"/>
                        <a:pt x="12343" y="14328"/>
                        <a:pt x="12535" y="14219"/>
                      </a:cubicBezTo>
                      <a:cubicBezTo>
                        <a:pt x="12535" y="14217"/>
                        <a:pt x="12535" y="14215"/>
                        <a:pt x="12535" y="14213"/>
                      </a:cubicBezTo>
                      <a:cubicBezTo>
                        <a:pt x="12412" y="14191"/>
                        <a:pt x="12336" y="14144"/>
                        <a:pt x="12290" y="14100"/>
                      </a:cubicBezTo>
                      <a:lnTo>
                        <a:pt x="12280" y="14098"/>
                      </a:lnTo>
                      <a:lnTo>
                        <a:pt x="12163" y="13989"/>
                      </a:lnTo>
                      <a:cubicBezTo>
                        <a:pt x="12120" y="13937"/>
                        <a:pt x="12106" y="13879"/>
                        <a:pt x="12122" y="13822"/>
                      </a:cubicBezTo>
                      <a:cubicBezTo>
                        <a:pt x="12124" y="13651"/>
                        <a:pt x="12256" y="13572"/>
                        <a:pt x="12369" y="13535"/>
                      </a:cubicBezTo>
                      <a:lnTo>
                        <a:pt x="12468" y="13510"/>
                      </a:lnTo>
                      <a:cubicBezTo>
                        <a:pt x="12556" y="13409"/>
                        <a:pt x="12716" y="13297"/>
                        <a:pt x="12954" y="13297"/>
                      </a:cubicBezTo>
                      <a:lnTo>
                        <a:pt x="12980" y="13297"/>
                      </a:lnTo>
                      <a:cubicBezTo>
                        <a:pt x="12994" y="13284"/>
                        <a:pt x="13011" y="13270"/>
                        <a:pt x="13024" y="13257"/>
                      </a:cubicBezTo>
                      <a:cubicBezTo>
                        <a:pt x="13110" y="13041"/>
                        <a:pt x="13393" y="13029"/>
                        <a:pt x="13452" y="13029"/>
                      </a:cubicBezTo>
                      <a:lnTo>
                        <a:pt x="13631" y="13029"/>
                      </a:lnTo>
                      <a:lnTo>
                        <a:pt x="13768" y="13114"/>
                      </a:lnTo>
                      <a:cubicBezTo>
                        <a:pt x="13863" y="13179"/>
                        <a:pt x="13953" y="13295"/>
                        <a:pt x="13953" y="13398"/>
                      </a:cubicBezTo>
                      <a:cubicBezTo>
                        <a:pt x="13964" y="13480"/>
                        <a:pt x="13974" y="13554"/>
                        <a:pt x="13917" y="13630"/>
                      </a:cubicBezTo>
                      <a:cubicBezTo>
                        <a:pt x="13923" y="13641"/>
                        <a:pt x="13926" y="13652"/>
                        <a:pt x="13928" y="13662"/>
                      </a:cubicBezTo>
                      <a:cubicBezTo>
                        <a:pt x="13946" y="13675"/>
                        <a:pt x="13961" y="13689"/>
                        <a:pt x="13975" y="13702"/>
                      </a:cubicBezTo>
                      <a:cubicBezTo>
                        <a:pt x="14179" y="13675"/>
                        <a:pt x="14375" y="13693"/>
                        <a:pt x="14510" y="13757"/>
                      </a:cubicBezTo>
                      <a:lnTo>
                        <a:pt x="14513" y="13758"/>
                      </a:lnTo>
                      <a:cubicBezTo>
                        <a:pt x="14531" y="13761"/>
                        <a:pt x="14549" y="13764"/>
                        <a:pt x="14566" y="13767"/>
                      </a:cubicBezTo>
                      <a:cubicBezTo>
                        <a:pt x="14564" y="13749"/>
                        <a:pt x="14564" y="13731"/>
                        <a:pt x="14565" y="13712"/>
                      </a:cubicBezTo>
                      <a:lnTo>
                        <a:pt x="14569" y="13686"/>
                      </a:lnTo>
                      <a:cubicBezTo>
                        <a:pt x="14404" y="13567"/>
                        <a:pt x="14375" y="13457"/>
                        <a:pt x="14459" y="13346"/>
                      </a:cubicBezTo>
                      <a:cubicBezTo>
                        <a:pt x="14518" y="13267"/>
                        <a:pt x="14615" y="13223"/>
                        <a:pt x="14701" y="13199"/>
                      </a:cubicBezTo>
                      <a:cubicBezTo>
                        <a:pt x="14734" y="13138"/>
                        <a:pt x="14798" y="13050"/>
                        <a:pt x="14914" y="12993"/>
                      </a:cubicBezTo>
                      <a:cubicBezTo>
                        <a:pt x="14949" y="12954"/>
                        <a:pt x="14999" y="12921"/>
                        <a:pt x="15062" y="12894"/>
                      </a:cubicBezTo>
                      <a:cubicBezTo>
                        <a:pt x="15219" y="12830"/>
                        <a:pt x="15394" y="12825"/>
                        <a:pt x="15445" y="12825"/>
                      </a:cubicBezTo>
                      <a:lnTo>
                        <a:pt x="15580" y="12825"/>
                      </a:lnTo>
                      <a:cubicBezTo>
                        <a:pt x="15623" y="12816"/>
                        <a:pt x="15667" y="12811"/>
                        <a:pt x="15714" y="12809"/>
                      </a:cubicBezTo>
                      <a:cubicBezTo>
                        <a:pt x="15735" y="12781"/>
                        <a:pt x="15763" y="12755"/>
                        <a:pt x="15796" y="12732"/>
                      </a:cubicBezTo>
                      <a:cubicBezTo>
                        <a:pt x="15806" y="12634"/>
                        <a:pt x="15854" y="12558"/>
                        <a:pt x="15977" y="12501"/>
                      </a:cubicBezTo>
                      <a:lnTo>
                        <a:pt x="16137" y="12448"/>
                      </a:lnTo>
                      <a:cubicBezTo>
                        <a:pt x="16238" y="12389"/>
                        <a:pt x="16373" y="12338"/>
                        <a:pt x="16531" y="12338"/>
                      </a:cubicBezTo>
                      <a:lnTo>
                        <a:pt x="16636" y="12345"/>
                      </a:lnTo>
                      <a:cubicBezTo>
                        <a:pt x="16750" y="12308"/>
                        <a:pt x="16870" y="12289"/>
                        <a:pt x="16943" y="12289"/>
                      </a:cubicBezTo>
                      <a:lnTo>
                        <a:pt x="17060" y="12289"/>
                      </a:lnTo>
                      <a:lnTo>
                        <a:pt x="17168" y="12328"/>
                      </a:lnTo>
                      <a:cubicBezTo>
                        <a:pt x="17274" y="12367"/>
                        <a:pt x="17445" y="12451"/>
                        <a:pt x="17466" y="12582"/>
                      </a:cubicBezTo>
                      <a:cubicBezTo>
                        <a:pt x="17488" y="12568"/>
                        <a:pt x="17511" y="12557"/>
                        <a:pt x="17534" y="12546"/>
                      </a:cubicBezTo>
                      <a:cubicBezTo>
                        <a:pt x="17545" y="12526"/>
                        <a:pt x="17561" y="12507"/>
                        <a:pt x="17580" y="12489"/>
                      </a:cubicBezTo>
                      <a:lnTo>
                        <a:pt x="17704" y="12373"/>
                      </a:lnTo>
                      <a:lnTo>
                        <a:pt x="17868" y="12372"/>
                      </a:lnTo>
                      <a:cubicBezTo>
                        <a:pt x="17875" y="12368"/>
                        <a:pt x="17881" y="12365"/>
                        <a:pt x="17889" y="12362"/>
                      </a:cubicBezTo>
                      <a:cubicBezTo>
                        <a:pt x="17884" y="12331"/>
                        <a:pt x="17883" y="12300"/>
                        <a:pt x="17891" y="12269"/>
                      </a:cubicBezTo>
                      <a:lnTo>
                        <a:pt x="17834" y="12237"/>
                      </a:lnTo>
                      <a:lnTo>
                        <a:pt x="17829" y="12062"/>
                      </a:lnTo>
                      <a:cubicBezTo>
                        <a:pt x="17800" y="11944"/>
                        <a:pt x="17767" y="11752"/>
                        <a:pt x="18060" y="11666"/>
                      </a:cubicBezTo>
                      <a:cubicBezTo>
                        <a:pt x="18166" y="11635"/>
                        <a:pt x="18293" y="11625"/>
                        <a:pt x="18372" y="11625"/>
                      </a:cubicBezTo>
                      <a:lnTo>
                        <a:pt x="18479" y="11625"/>
                      </a:lnTo>
                      <a:cubicBezTo>
                        <a:pt x="18614" y="11594"/>
                        <a:pt x="18739" y="11593"/>
                        <a:pt x="18741" y="11593"/>
                      </a:cubicBezTo>
                      <a:lnTo>
                        <a:pt x="18864" y="11593"/>
                      </a:lnTo>
                      <a:cubicBezTo>
                        <a:pt x="18933" y="11558"/>
                        <a:pt x="19018" y="11533"/>
                        <a:pt x="19115" y="11524"/>
                      </a:cubicBezTo>
                      <a:lnTo>
                        <a:pt x="19168" y="11521"/>
                      </a:lnTo>
                      <a:cubicBezTo>
                        <a:pt x="19168" y="11513"/>
                        <a:pt x="19168" y="11505"/>
                        <a:pt x="19168" y="11497"/>
                      </a:cubicBezTo>
                      <a:cubicBezTo>
                        <a:pt x="19124" y="11442"/>
                        <a:pt x="19069" y="11347"/>
                        <a:pt x="19136" y="11235"/>
                      </a:cubicBezTo>
                      <a:cubicBezTo>
                        <a:pt x="19184" y="11150"/>
                        <a:pt x="19288" y="11098"/>
                        <a:pt x="19366" y="11067"/>
                      </a:cubicBezTo>
                      <a:cubicBezTo>
                        <a:pt x="19428" y="10992"/>
                        <a:pt x="19549" y="10888"/>
                        <a:pt x="19788" y="10888"/>
                      </a:cubicBezTo>
                      <a:lnTo>
                        <a:pt x="19926" y="10888"/>
                      </a:lnTo>
                      <a:cubicBezTo>
                        <a:pt x="19916" y="10860"/>
                        <a:pt x="19913" y="10831"/>
                        <a:pt x="19917" y="10800"/>
                      </a:cubicBezTo>
                      <a:cubicBezTo>
                        <a:pt x="19883" y="10522"/>
                        <a:pt x="20181" y="10452"/>
                        <a:pt x="20290" y="10436"/>
                      </a:cubicBezTo>
                      <a:cubicBezTo>
                        <a:pt x="20394" y="10391"/>
                        <a:pt x="20540" y="10340"/>
                        <a:pt x="20689" y="10340"/>
                      </a:cubicBezTo>
                      <a:lnTo>
                        <a:pt x="21063" y="10340"/>
                      </a:lnTo>
                      <a:lnTo>
                        <a:pt x="21097" y="10479"/>
                      </a:lnTo>
                      <a:lnTo>
                        <a:pt x="21151" y="10433"/>
                      </a:lnTo>
                      <a:cubicBezTo>
                        <a:pt x="21153" y="10402"/>
                        <a:pt x="21167" y="10366"/>
                        <a:pt x="21197" y="10330"/>
                      </a:cubicBezTo>
                      <a:cubicBezTo>
                        <a:pt x="21184" y="10279"/>
                        <a:pt x="21185" y="10184"/>
                        <a:pt x="21305" y="10089"/>
                      </a:cubicBezTo>
                      <a:cubicBezTo>
                        <a:pt x="21315" y="10024"/>
                        <a:pt x="21342" y="9946"/>
                        <a:pt x="21430" y="9882"/>
                      </a:cubicBezTo>
                      <a:lnTo>
                        <a:pt x="21585" y="9803"/>
                      </a:lnTo>
                      <a:cubicBezTo>
                        <a:pt x="21589" y="9789"/>
                        <a:pt x="21595" y="9774"/>
                        <a:pt x="21600" y="9759"/>
                      </a:cubicBezTo>
                      <a:cubicBezTo>
                        <a:pt x="21530" y="9715"/>
                        <a:pt x="21464" y="9651"/>
                        <a:pt x="21464" y="9560"/>
                      </a:cubicBezTo>
                      <a:cubicBezTo>
                        <a:pt x="21464" y="9560"/>
                        <a:pt x="21467" y="9527"/>
                        <a:pt x="21467" y="9527"/>
                      </a:cubicBezTo>
                      <a:close/>
                      <a:moveTo>
                        <a:pt x="21467" y="9527"/>
                      </a:moveTo>
                    </a:path>
                  </a:pathLst>
                </a:custGeom>
                <a:solidFill>
                  <a:schemeClr val="accent3">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34" name="Google Shape;453;p54">
                  <a:extLst>
                    <a:ext uri="{FF2B5EF4-FFF2-40B4-BE49-F238E27FC236}">
                      <a16:creationId xmlns:a16="http://schemas.microsoft.com/office/drawing/2014/main" id="{BFF4035C-6C22-428F-B277-D1BE749FEAED}"/>
                    </a:ext>
                  </a:extLst>
                </p:cNvPr>
                <p:cNvSpPr/>
                <p:nvPr/>
              </p:nvSpPr>
              <p:spPr>
                <a:xfrm>
                  <a:off x="7323585" y="2701823"/>
                  <a:ext cx="183168" cy="119394"/>
                </a:xfrm>
                <a:custGeom>
                  <a:avLst/>
                  <a:gdLst/>
                  <a:ahLst/>
                  <a:cxnLst/>
                  <a:rect l="l" t="t" r="r" b="b"/>
                  <a:pathLst>
                    <a:path w="21600" h="21600" extrusionOk="0">
                      <a:moveTo>
                        <a:pt x="18646" y="5079"/>
                      </a:moveTo>
                      <a:cubicBezTo>
                        <a:pt x="19865" y="3598"/>
                        <a:pt x="20592" y="2545"/>
                        <a:pt x="21600" y="1043"/>
                      </a:cubicBezTo>
                      <a:lnTo>
                        <a:pt x="21518" y="1032"/>
                      </a:lnTo>
                      <a:cubicBezTo>
                        <a:pt x="21414" y="1079"/>
                        <a:pt x="21299" y="1113"/>
                        <a:pt x="21167" y="1124"/>
                      </a:cubicBezTo>
                      <a:lnTo>
                        <a:pt x="21164" y="1124"/>
                      </a:lnTo>
                      <a:cubicBezTo>
                        <a:pt x="20570" y="1124"/>
                        <a:pt x="20195" y="609"/>
                        <a:pt x="19972" y="174"/>
                      </a:cubicBezTo>
                      <a:cubicBezTo>
                        <a:pt x="19845" y="141"/>
                        <a:pt x="19714" y="88"/>
                        <a:pt x="19582" y="0"/>
                      </a:cubicBezTo>
                      <a:cubicBezTo>
                        <a:pt x="19444" y="234"/>
                        <a:pt x="19303" y="407"/>
                        <a:pt x="19179" y="533"/>
                      </a:cubicBezTo>
                      <a:cubicBezTo>
                        <a:pt x="19107" y="881"/>
                        <a:pt x="18991" y="1260"/>
                        <a:pt x="18772" y="1565"/>
                      </a:cubicBezTo>
                      <a:cubicBezTo>
                        <a:pt x="18553" y="1870"/>
                        <a:pt x="18386" y="2098"/>
                        <a:pt x="18247" y="2349"/>
                      </a:cubicBezTo>
                      <a:cubicBezTo>
                        <a:pt x="18071" y="2668"/>
                        <a:pt x="17817" y="3252"/>
                        <a:pt x="17758" y="3456"/>
                      </a:cubicBezTo>
                      <a:cubicBezTo>
                        <a:pt x="17474" y="4417"/>
                        <a:pt x="16788" y="4704"/>
                        <a:pt x="16123" y="4981"/>
                      </a:cubicBezTo>
                      <a:cubicBezTo>
                        <a:pt x="16005" y="5030"/>
                        <a:pt x="15898" y="5073"/>
                        <a:pt x="15822" y="5115"/>
                      </a:cubicBezTo>
                      <a:cubicBezTo>
                        <a:pt x="15692" y="5186"/>
                        <a:pt x="15397" y="5556"/>
                        <a:pt x="15299" y="5677"/>
                      </a:cubicBezTo>
                      <a:cubicBezTo>
                        <a:pt x="14884" y="6175"/>
                        <a:pt x="14517" y="6404"/>
                        <a:pt x="14138" y="6456"/>
                      </a:cubicBezTo>
                      <a:cubicBezTo>
                        <a:pt x="14098" y="6493"/>
                        <a:pt x="14054" y="6537"/>
                        <a:pt x="14009" y="6580"/>
                      </a:cubicBezTo>
                      <a:cubicBezTo>
                        <a:pt x="13838" y="6744"/>
                        <a:pt x="13657" y="6912"/>
                        <a:pt x="13481" y="7028"/>
                      </a:cubicBezTo>
                      <a:cubicBezTo>
                        <a:pt x="13321" y="7137"/>
                        <a:pt x="12843" y="7331"/>
                        <a:pt x="12329" y="7519"/>
                      </a:cubicBezTo>
                      <a:cubicBezTo>
                        <a:pt x="11912" y="7672"/>
                        <a:pt x="11465" y="7824"/>
                        <a:pt x="11274" y="7944"/>
                      </a:cubicBezTo>
                      <a:cubicBezTo>
                        <a:pt x="11206" y="8024"/>
                        <a:pt x="10967" y="8224"/>
                        <a:pt x="10653" y="8224"/>
                      </a:cubicBezTo>
                      <a:lnTo>
                        <a:pt x="10524" y="8224"/>
                      </a:lnTo>
                      <a:cubicBezTo>
                        <a:pt x="10515" y="8953"/>
                        <a:pt x="10246" y="9516"/>
                        <a:pt x="9719" y="9898"/>
                      </a:cubicBezTo>
                      <a:lnTo>
                        <a:pt x="9526" y="10087"/>
                      </a:lnTo>
                      <a:cubicBezTo>
                        <a:pt x="9286" y="10382"/>
                        <a:pt x="8887" y="10875"/>
                        <a:pt x="8328" y="10912"/>
                      </a:cubicBezTo>
                      <a:cubicBezTo>
                        <a:pt x="7899" y="10881"/>
                        <a:pt x="7717" y="10869"/>
                        <a:pt x="7512" y="10797"/>
                      </a:cubicBezTo>
                      <a:cubicBezTo>
                        <a:pt x="7370" y="10906"/>
                        <a:pt x="7185" y="11011"/>
                        <a:pt x="6949" y="11037"/>
                      </a:cubicBezTo>
                      <a:lnTo>
                        <a:pt x="6869" y="11043"/>
                      </a:lnTo>
                      <a:cubicBezTo>
                        <a:pt x="6831" y="11121"/>
                        <a:pt x="6792" y="11188"/>
                        <a:pt x="6756" y="11243"/>
                      </a:cubicBezTo>
                      <a:lnTo>
                        <a:pt x="6456" y="11702"/>
                      </a:lnTo>
                      <a:lnTo>
                        <a:pt x="5927" y="11764"/>
                      </a:lnTo>
                      <a:cubicBezTo>
                        <a:pt x="5797" y="11764"/>
                        <a:pt x="5673" y="11733"/>
                        <a:pt x="5558" y="11681"/>
                      </a:cubicBezTo>
                      <a:cubicBezTo>
                        <a:pt x="5265" y="12271"/>
                        <a:pt x="4758" y="12444"/>
                        <a:pt x="4368" y="12534"/>
                      </a:cubicBezTo>
                      <a:cubicBezTo>
                        <a:pt x="4321" y="12593"/>
                        <a:pt x="4279" y="12658"/>
                        <a:pt x="4259" y="12687"/>
                      </a:cubicBezTo>
                      <a:cubicBezTo>
                        <a:pt x="4183" y="12806"/>
                        <a:pt x="4099" y="12897"/>
                        <a:pt x="4015" y="12976"/>
                      </a:cubicBezTo>
                      <a:cubicBezTo>
                        <a:pt x="3998" y="13575"/>
                        <a:pt x="3842" y="14094"/>
                        <a:pt x="3538" y="14556"/>
                      </a:cubicBezTo>
                      <a:lnTo>
                        <a:pt x="3239" y="15015"/>
                      </a:lnTo>
                      <a:lnTo>
                        <a:pt x="2822" y="15067"/>
                      </a:lnTo>
                      <a:cubicBezTo>
                        <a:pt x="2842" y="15532"/>
                        <a:pt x="2826" y="15938"/>
                        <a:pt x="2662" y="16342"/>
                      </a:cubicBezTo>
                      <a:cubicBezTo>
                        <a:pt x="2341" y="17201"/>
                        <a:pt x="1673" y="17281"/>
                        <a:pt x="1271" y="17279"/>
                      </a:cubicBezTo>
                      <a:cubicBezTo>
                        <a:pt x="1250" y="17308"/>
                        <a:pt x="1229" y="17339"/>
                        <a:pt x="1207" y="17366"/>
                      </a:cubicBezTo>
                      <a:cubicBezTo>
                        <a:pt x="1041" y="17594"/>
                        <a:pt x="852" y="17853"/>
                        <a:pt x="601" y="18003"/>
                      </a:cubicBezTo>
                      <a:cubicBezTo>
                        <a:pt x="589" y="18012"/>
                        <a:pt x="566" y="18037"/>
                        <a:pt x="535" y="18073"/>
                      </a:cubicBezTo>
                      <a:cubicBezTo>
                        <a:pt x="516" y="18235"/>
                        <a:pt x="499" y="18428"/>
                        <a:pt x="481" y="18616"/>
                      </a:cubicBezTo>
                      <a:cubicBezTo>
                        <a:pt x="371" y="19700"/>
                        <a:pt x="327" y="20149"/>
                        <a:pt x="54" y="20576"/>
                      </a:cubicBezTo>
                      <a:lnTo>
                        <a:pt x="0" y="20660"/>
                      </a:lnTo>
                      <a:cubicBezTo>
                        <a:pt x="16" y="20777"/>
                        <a:pt x="26" y="20869"/>
                        <a:pt x="29" y="20948"/>
                      </a:cubicBezTo>
                      <a:cubicBezTo>
                        <a:pt x="38" y="21054"/>
                        <a:pt x="38" y="21160"/>
                        <a:pt x="33" y="21261"/>
                      </a:cubicBezTo>
                      <a:cubicBezTo>
                        <a:pt x="74" y="21294"/>
                        <a:pt x="114" y="21331"/>
                        <a:pt x="156" y="21371"/>
                      </a:cubicBezTo>
                      <a:cubicBezTo>
                        <a:pt x="165" y="21380"/>
                        <a:pt x="176" y="21389"/>
                        <a:pt x="185" y="21398"/>
                      </a:cubicBezTo>
                      <a:lnTo>
                        <a:pt x="335" y="21383"/>
                      </a:lnTo>
                      <a:cubicBezTo>
                        <a:pt x="557" y="21383"/>
                        <a:pt x="744" y="21470"/>
                        <a:pt x="902" y="21600"/>
                      </a:cubicBezTo>
                      <a:cubicBezTo>
                        <a:pt x="1658" y="20643"/>
                        <a:pt x="1862" y="20402"/>
                        <a:pt x="2091" y="20264"/>
                      </a:cubicBezTo>
                      <a:cubicBezTo>
                        <a:pt x="2153" y="20226"/>
                        <a:pt x="2491" y="20079"/>
                        <a:pt x="2948" y="19894"/>
                      </a:cubicBezTo>
                      <a:cubicBezTo>
                        <a:pt x="3694" y="19594"/>
                        <a:pt x="4946" y="19091"/>
                        <a:pt x="5476" y="18767"/>
                      </a:cubicBezTo>
                      <a:cubicBezTo>
                        <a:pt x="6021" y="18435"/>
                        <a:pt x="7192" y="17219"/>
                        <a:pt x="7691" y="16697"/>
                      </a:cubicBezTo>
                      <a:cubicBezTo>
                        <a:pt x="7989" y="16390"/>
                        <a:pt x="8198" y="16200"/>
                        <a:pt x="8240" y="16171"/>
                      </a:cubicBezTo>
                      <a:lnTo>
                        <a:pt x="8693" y="16030"/>
                      </a:lnTo>
                      <a:cubicBezTo>
                        <a:pt x="8839" y="16030"/>
                        <a:pt x="8971" y="16071"/>
                        <a:pt x="9087" y="16128"/>
                      </a:cubicBezTo>
                      <a:cubicBezTo>
                        <a:pt x="9456" y="15832"/>
                        <a:pt x="10072" y="15300"/>
                        <a:pt x="10723" y="14656"/>
                      </a:cubicBezTo>
                      <a:cubicBezTo>
                        <a:pt x="11493" y="13899"/>
                        <a:pt x="12543" y="12528"/>
                        <a:pt x="13469" y="11319"/>
                      </a:cubicBezTo>
                      <a:lnTo>
                        <a:pt x="14291" y="10249"/>
                      </a:lnTo>
                      <a:cubicBezTo>
                        <a:pt x="14920" y="9448"/>
                        <a:pt x="15820" y="8398"/>
                        <a:pt x="16736" y="7333"/>
                      </a:cubicBezTo>
                      <a:cubicBezTo>
                        <a:pt x="17401" y="6559"/>
                        <a:pt x="18071" y="5776"/>
                        <a:pt x="18646" y="5079"/>
                      </a:cubicBezTo>
                      <a:close/>
                      <a:moveTo>
                        <a:pt x="18646" y="5079"/>
                      </a:moveTo>
                    </a:path>
                  </a:pathLst>
                </a:custGeom>
                <a:solidFill>
                  <a:schemeClr val="accent3">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35" name="Google Shape;454;p54">
                  <a:extLst>
                    <a:ext uri="{FF2B5EF4-FFF2-40B4-BE49-F238E27FC236}">
                      <a16:creationId xmlns:a16="http://schemas.microsoft.com/office/drawing/2014/main" id="{0EA20A78-6E60-4B1A-984E-2BB7564D0415}"/>
                    </a:ext>
                  </a:extLst>
                </p:cNvPr>
                <p:cNvSpPr/>
                <p:nvPr/>
              </p:nvSpPr>
              <p:spPr>
                <a:xfrm>
                  <a:off x="7666481" y="2530375"/>
                  <a:ext cx="22950" cy="22464"/>
                </a:xfrm>
                <a:custGeom>
                  <a:avLst/>
                  <a:gdLst/>
                  <a:ahLst/>
                  <a:cxnLst/>
                  <a:rect l="l" t="t" r="r" b="b"/>
                  <a:pathLst>
                    <a:path w="21600" h="21600" extrusionOk="0">
                      <a:moveTo>
                        <a:pt x="10450" y="19407"/>
                      </a:moveTo>
                      <a:cubicBezTo>
                        <a:pt x="11117" y="14853"/>
                        <a:pt x="12154" y="11028"/>
                        <a:pt x="15500" y="8789"/>
                      </a:cubicBezTo>
                      <a:cubicBezTo>
                        <a:pt x="16804" y="7901"/>
                        <a:pt x="18142" y="7424"/>
                        <a:pt x="19228" y="7148"/>
                      </a:cubicBezTo>
                      <a:cubicBezTo>
                        <a:pt x="19738" y="5531"/>
                        <a:pt x="20547" y="4124"/>
                        <a:pt x="21600" y="2982"/>
                      </a:cubicBezTo>
                      <a:cubicBezTo>
                        <a:pt x="19655" y="3405"/>
                        <a:pt x="17647" y="3680"/>
                        <a:pt x="15661" y="3680"/>
                      </a:cubicBezTo>
                      <a:lnTo>
                        <a:pt x="11802" y="3507"/>
                      </a:lnTo>
                      <a:cubicBezTo>
                        <a:pt x="7647" y="3315"/>
                        <a:pt x="3346" y="3121"/>
                        <a:pt x="0" y="0"/>
                      </a:cubicBezTo>
                      <a:lnTo>
                        <a:pt x="2469" y="4133"/>
                      </a:lnTo>
                      <a:cubicBezTo>
                        <a:pt x="3631" y="6638"/>
                        <a:pt x="3440" y="8967"/>
                        <a:pt x="2866" y="10842"/>
                      </a:cubicBezTo>
                      <a:cubicBezTo>
                        <a:pt x="4204" y="12557"/>
                        <a:pt x="5380" y="15080"/>
                        <a:pt x="4650" y="18129"/>
                      </a:cubicBezTo>
                      <a:cubicBezTo>
                        <a:pt x="5047" y="19108"/>
                        <a:pt x="5335" y="20272"/>
                        <a:pt x="5335" y="21591"/>
                      </a:cubicBezTo>
                      <a:lnTo>
                        <a:pt x="5369" y="21600"/>
                      </a:lnTo>
                      <a:lnTo>
                        <a:pt x="7834" y="20514"/>
                      </a:lnTo>
                      <a:cubicBezTo>
                        <a:pt x="8872" y="20094"/>
                        <a:pt x="9749" y="19725"/>
                        <a:pt x="10450" y="19407"/>
                      </a:cubicBezTo>
                      <a:close/>
                      <a:moveTo>
                        <a:pt x="10450" y="19407"/>
                      </a:moveTo>
                    </a:path>
                  </a:pathLst>
                </a:custGeom>
                <a:solidFill>
                  <a:srgbClr val="F2F2F2"/>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36" name="Google Shape;455;p54">
                  <a:extLst>
                    <a:ext uri="{FF2B5EF4-FFF2-40B4-BE49-F238E27FC236}">
                      <a16:creationId xmlns:a16="http://schemas.microsoft.com/office/drawing/2014/main" id="{CA14084B-C9C4-4FF2-9D79-19F9782839DB}"/>
                    </a:ext>
                  </a:extLst>
                </p:cNvPr>
                <p:cNvSpPr/>
                <p:nvPr/>
              </p:nvSpPr>
              <p:spPr>
                <a:xfrm>
                  <a:off x="7319503" y="2375256"/>
                  <a:ext cx="344412" cy="200016"/>
                </a:xfrm>
                <a:custGeom>
                  <a:avLst/>
                  <a:gdLst/>
                  <a:ahLst/>
                  <a:cxnLst/>
                  <a:rect l="l" t="t" r="r" b="b"/>
                  <a:pathLst>
                    <a:path w="21600" h="21600" extrusionOk="0">
                      <a:moveTo>
                        <a:pt x="21019" y="15418"/>
                      </a:moveTo>
                      <a:cubicBezTo>
                        <a:pt x="20990" y="15187"/>
                        <a:pt x="21004" y="14958"/>
                        <a:pt x="21018" y="14757"/>
                      </a:cubicBezTo>
                      <a:cubicBezTo>
                        <a:pt x="21021" y="14692"/>
                        <a:pt x="21028" y="14625"/>
                        <a:pt x="21026" y="14565"/>
                      </a:cubicBezTo>
                      <a:cubicBezTo>
                        <a:pt x="21027" y="14586"/>
                        <a:pt x="21007" y="14552"/>
                        <a:pt x="20986" y="14510"/>
                      </a:cubicBezTo>
                      <a:cubicBezTo>
                        <a:pt x="20912" y="14572"/>
                        <a:pt x="20822" y="14617"/>
                        <a:pt x="20716" y="14617"/>
                      </a:cubicBezTo>
                      <a:lnTo>
                        <a:pt x="20425" y="14511"/>
                      </a:lnTo>
                      <a:lnTo>
                        <a:pt x="20341" y="14404"/>
                      </a:lnTo>
                      <a:cubicBezTo>
                        <a:pt x="20339" y="14404"/>
                        <a:pt x="20338" y="14404"/>
                        <a:pt x="20337" y="14404"/>
                      </a:cubicBezTo>
                      <a:cubicBezTo>
                        <a:pt x="20189" y="14404"/>
                        <a:pt x="19961" y="14371"/>
                        <a:pt x="19765" y="14105"/>
                      </a:cubicBezTo>
                      <a:cubicBezTo>
                        <a:pt x="19510" y="13801"/>
                        <a:pt x="19290" y="13540"/>
                        <a:pt x="19257" y="13038"/>
                      </a:cubicBezTo>
                      <a:lnTo>
                        <a:pt x="19229" y="12615"/>
                      </a:lnTo>
                      <a:lnTo>
                        <a:pt x="19404" y="12262"/>
                      </a:lnTo>
                      <a:cubicBezTo>
                        <a:pt x="19439" y="12166"/>
                        <a:pt x="19477" y="12081"/>
                        <a:pt x="19519" y="12009"/>
                      </a:cubicBezTo>
                      <a:cubicBezTo>
                        <a:pt x="19520" y="11994"/>
                        <a:pt x="19522" y="11978"/>
                        <a:pt x="19525" y="11963"/>
                      </a:cubicBezTo>
                      <a:cubicBezTo>
                        <a:pt x="19531" y="11924"/>
                        <a:pt x="19538" y="11888"/>
                        <a:pt x="19544" y="11852"/>
                      </a:cubicBezTo>
                      <a:cubicBezTo>
                        <a:pt x="19541" y="11820"/>
                        <a:pt x="19537" y="11789"/>
                        <a:pt x="19534" y="11760"/>
                      </a:cubicBezTo>
                      <a:cubicBezTo>
                        <a:pt x="19451" y="11676"/>
                        <a:pt x="19370" y="11591"/>
                        <a:pt x="19321" y="11526"/>
                      </a:cubicBezTo>
                      <a:cubicBezTo>
                        <a:pt x="19212" y="11377"/>
                        <a:pt x="19147" y="11221"/>
                        <a:pt x="19108" y="11104"/>
                      </a:cubicBezTo>
                      <a:cubicBezTo>
                        <a:pt x="19037" y="11047"/>
                        <a:pt x="18914" y="10912"/>
                        <a:pt x="18826" y="10664"/>
                      </a:cubicBezTo>
                      <a:cubicBezTo>
                        <a:pt x="18791" y="10568"/>
                        <a:pt x="18731" y="10421"/>
                        <a:pt x="18693" y="10325"/>
                      </a:cubicBezTo>
                      <a:cubicBezTo>
                        <a:pt x="18622" y="10295"/>
                        <a:pt x="18568" y="10235"/>
                        <a:pt x="18531" y="10189"/>
                      </a:cubicBezTo>
                      <a:lnTo>
                        <a:pt x="18380" y="9908"/>
                      </a:lnTo>
                      <a:cubicBezTo>
                        <a:pt x="18369" y="9902"/>
                        <a:pt x="18358" y="9895"/>
                        <a:pt x="18348" y="9887"/>
                      </a:cubicBezTo>
                      <a:cubicBezTo>
                        <a:pt x="18275" y="9953"/>
                        <a:pt x="18179" y="10008"/>
                        <a:pt x="18062" y="10008"/>
                      </a:cubicBezTo>
                      <a:lnTo>
                        <a:pt x="18013" y="10008"/>
                      </a:lnTo>
                      <a:cubicBezTo>
                        <a:pt x="17946" y="10155"/>
                        <a:pt x="17785" y="10427"/>
                        <a:pt x="17528" y="10427"/>
                      </a:cubicBezTo>
                      <a:lnTo>
                        <a:pt x="16898" y="10552"/>
                      </a:lnTo>
                      <a:lnTo>
                        <a:pt x="16727" y="10348"/>
                      </a:lnTo>
                      <a:cubicBezTo>
                        <a:pt x="16580" y="10164"/>
                        <a:pt x="16365" y="9896"/>
                        <a:pt x="16307" y="9434"/>
                      </a:cubicBezTo>
                      <a:lnTo>
                        <a:pt x="16278" y="9201"/>
                      </a:lnTo>
                      <a:lnTo>
                        <a:pt x="16281" y="9178"/>
                      </a:lnTo>
                      <a:cubicBezTo>
                        <a:pt x="16232" y="9007"/>
                        <a:pt x="16187" y="8793"/>
                        <a:pt x="16187" y="8537"/>
                      </a:cubicBezTo>
                      <a:cubicBezTo>
                        <a:pt x="16152" y="8292"/>
                        <a:pt x="16162" y="8088"/>
                        <a:pt x="16198" y="7921"/>
                      </a:cubicBezTo>
                      <a:cubicBezTo>
                        <a:pt x="16189" y="7898"/>
                        <a:pt x="16180" y="7874"/>
                        <a:pt x="16172" y="7849"/>
                      </a:cubicBezTo>
                      <a:cubicBezTo>
                        <a:pt x="16070" y="7545"/>
                        <a:pt x="15976" y="7165"/>
                        <a:pt x="16059" y="6695"/>
                      </a:cubicBezTo>
                      <a:cubicBezTo>
                        <a:pt x="16057" y="6699"/>
                        <a:pt x="16057" y="6701"/>
                        <a:pt x="16057" y="6701"/>
                      </a:cubicBezTo>
                      <a:cubicBezTo>
                        <a:pt x="16059" y="6701"/>
                        <a:pt x="16136" y="6197"/>
                        <a:pt x="16334" y="5843"/>
                      </a:cubicBezTo>
                      <a:cubicBezTo>
                        <a:pt x="16383" y="5620"/>
                        <a:pt x="16464" y="5397"/>
                        <a:pt x="16586" y="5247"/>
                      </a:cubicBezTo>
                      <a:cubicBezTo>
                        <a:pt x="16505" y="5065"/>
                        <a:pt x="16389" y="4738"/>
                        <a:pt x="16435" y="4321"/>
                      </a:cubicBezTo>
                      <a:lnTo>
                        <a:pt x="16481" y="3915"/>
                      </a:lnTo>
                      <a:lnTo>
                        <a:pt x="16699" y="3666"/>
                      </a:lnTo>
                      <a:cubicBezTo>
                        <a:pt x="16799" y="3562"/>
                        <a:pt x="16898" y="3521"/>
                        <a:pt x="16985" y="3486"/>
                      </a:cubicBezTo>
                      <a:lnTo>
                        <a:pt x="16986" y="3490"/>
                      </a:lnTo>
                      <a:cubicBezTo>
                        <a:pt x="17087" y="3293"/>
                        <a:pt x="17227" y="3044"/>
                        <a:pt x="17384" y="2841"/>
                      </a:cubicBezTo>
                      <a:cubicBezTo>
                        <a:pt x="17331" y="2793"/>
                        <a:pt x="17283" y="2732"/>
                        <a:pt x="17241" y="2657"/>
                      </a:cubicBezTo>
                      <a:lnTo>
                        <a:pt x="17231" y="2733"/>
                      </a:lnTo>
                      <a:cubicBezTo>
                        <a:pt x="16703" y="2574"/>
                        <a:pt x="16634" y="1972"/>
                        <a:pt x="16634" y="1660"/>
                      </a:cubicBezTo>
                      <a:cubicBezTo>
                        <a:pt x="16608" y="1607"/>
                        <a:pt x="16571" y="1532"/>
                        <a:pt x="16535" y="1455"/>
                      </a:cubicBezTo>
                      <a:cubicBezTo>
                        <a:pt x="16347" y="1064"/>
                        <a:pt x="16261" y="884"/>
                        <a:pt x="16227" y="612"/>
                      </a:cubicBezTo>
                      <a:lnTo>
                        <a:pt x="16189" y="320"/>
                      </a:lnTo>
                      <a:cubicBezTo>
                        <a:pt x="16165" y="266"/>
                        <a:pt x="16140" y="212"/>
                        <a:pt x="16117" y="157"/>
                      </a:cubicBezTo>
                      <a:cubicBezTo>
                        <a:pt x="16083" y="152"/>
                        <a:pt x="16063" y="123"/>
                        <a:pt x="16034" y="109"/>
                      </a:cubicBezTo>
                      <a:cubicBezTo>
                        <a:pt x="15960" y="87"/>
                        <a:pt x="15892" y="53"/>
                        <a:pt x="15842" y="0"/>
                      </a:cubicBezTo>
                      <a:cubicBezTo>
                        <a:pt x="15825" y="33"/>
                        <a:pt x="15807" y="63"/>
                        <a:pt x="15789" y="94"/>
                      </a:cubicBezTo>
                      <a:cubicBezTo>
                        <a:pt x="15693" y="254"/>
                        <a:pt x="15572" y="383"/>
                        <a:pt x="15435" y="511"/>
                      </a:cubicBezTo>
                      <a:cubicBezTo>
                        <a:pt x="15427" y="817"/>
                        <a:pt x="15396" y="1121"/>
                        <a:pt x="15295" y="1373"/>
                      </a:cubicBezTo>
                      <a:cubicBezTo>
                        <a:pt x="15138" y="1768"/>
                        <a:pt x="14890" y="1836"/>
                        <a:pt x="14680" y="1852"/>
                      </a:cubicBezTo>
                      <a:cubicBezTo>
                        <a:pt x="14719" y="1998"/>
                        <a:pt x="14755" y="2139"/>
                        <a:pt x="14772" y="2297"/>
                      </a:cubicBezTo>
                      <a:lnTo>
                        <a:pt x="14818" y="2723"/>
                      </a:lnTo>
                      <a:lnTo>
                        <a:pt x="14491" y="3471"/>
                      </a:lnTo>
                      <a:lnTo>
                        <a:pt x="14186" y="3498"/>
                      </a:lnTo>
                      <a:cubicBezTo>
                        <a:pt x="14181" y="3498"/>
                        <a:pt x="14176" y="3498"/>
                        <a:pt x="14171" y="3498"/>
                      </a:cubicBezTo>
                      <a:cubicBezTo>
                        <a:pt x="14141" y="3623"/>
                        <a:pt x="14102" y="3792"/>
                        <a:pt x="14070" y="3943"/>
                      </a:cubicBezTo>
                      <a:lnTo>
                        <a:pt x="13974" y="4406"/>
                      </a:lnTo>
                      <a:lnTo>
                        <a:pt x="1021" y="10261"/>
                      </a:lnTo>
                      <a:lnTo>
                        <a:pt x="0" y="10722"/>
                      </a:lnTo>
                      <a:lnTo>
                        <a:pt x="133" y="21358"/>
                      </a:lnTo>
                      <a:cubicBezTo>
                        <a:pt x="597" y="21167"/>
                        <a:pt x="1057" y="20974"/>
                        <a:pt x="1514" y="20776"/>
                      </a:cubicBezTo>
                      <a:cubicBezTo>
                        <a:pt x="1737" y="20680"/>
                        <a:pt x="1964" y="20588"/>
                        <a:pt x="2187" y="20491"/>
                      </a:cubicBezTo>
                      <a:cubicBezTo>
                        <a:pt x="2957" y="20151"/>
                        <a:pt x="3725" y="19800"/>
                        <a:pt x="4500" y="19432"/>
                      </a:cubicBezTo>
                      <a:lnTo>
                        <a:pt x="4874" y="19254"/>
                      </a:lnTo>
                      <a:cubicBezTo>
                        <a:pt x="4902" y="19227"/>
                        <a:pt x="4929" y="19203"/>
                        <a:pt x="4956" y="19183"/>
                      </a:cubicBezTo>
                      <a:cubicBezTo>
                        <a:pt x="5152" y="19039"/>
                        <a:pt x="5643" y="18706"/>
                        <a:pt x="5984" y="18706"/>
                      </a:cubicBezTo>
                      <a:lnTo>
                        <a:pt x="6116" y="18705"/>
                      </a:lnTo>
                      <a:cubicBezTo>
                        <a:pt x="6252" y="18634"/>
                        <a:pt x="6386" y="18538"/>
                        <a:pt x="6529" y="18440"/>
                      </a:cubicBezTo>
                      <a:cubicBezTo>
                        <a:pt x="6705" y="18319"/>
                        <a:pt x="6892" y="18193"/>
                        <a:pt x="7019" y="18125"/>
                      </a:cubicBezTo>
                      <a:cubicBezTo>
                        <a:pt x="7261" y="17994"/>
                        <a:pt x="11401" y="16103"/>
                        <a:pt x="11872" y="15888"/>
                      </a:cubicBezTo>
                      <a:lnTo>
                        <a:pt x="12369" y="15661"/>
                      </a:lnTo>
                      <a:lnTo>
                        <a:pt x="12391" y="15778"/>
                      </a:lnTo>
                      <a:lnTo>
                        <a:pt x="15350" y="14031"/>
                      </a:lnTo>
                      <a:lnTo>
                        <a:pt x="15813" y="16375"/>
                      </a:lnTo>
                      <a:cubicBezTo>
                        <a:pt x="15895" y="16442"/>
                        <a:pt x="15971" y="16538"/>
                        <a:pt x="16037" y="16660"/>
                      </a:cubicBezTo>
                      <a:cubicBezTo>
                        <a:pt x="16240" y="17028"/>
                        <a:pt x="16394" y="17726"/>
                        <a:pt x="16419" y="17995"/>
                      </a:cubicBezTo>
                      <a:lnTo>
                        <a:pt x="16449" y="18190"/>
                      </a:lnTo>
                      <a:cubicBezTo>
                        <a:pt x="16795" y="18199"/>
                        <a:pt x="16958" y="18409"/>
                        <a:pt x="17047" y="18522"/>
                      </a:cubicBezTo>
                      <a:cubicBezTo>
                        <a:pt x="17166" y="18652"/>
                        <a:pt x="17342" y="18892"/>
                        <a:pt x="17481" y="19085"/>
                      </a:cubicBezTo>
                      <a:cubicBezTo>
                        <a:pt x="17578" y="19222"/>
                        <a:pt x="17643" y="19325"/>
                        <a:pt x="17690" y="19404"/>
                      </a:cubicBezTo>
                      <a:cubicBezTo>
                        <a:pt x="17892" y="19409"/>
                        <a:pt x="18138" y="19465"/>
                        <a:pt x="18305" y="19794"/>
                      </a:cubicBezTo>
                      <a:cubicBezTo>
                        <a:pt x="18476" y="20111"/>
                        <a:pt x="18463" y="20519"/>
                        <a:pt x="18454" y="20790"/>
                      </a:cubicBezTo>
                      <a:cubicBezTo>
                        <a:pt x="18463" y="20809"/>
                        <a:pt x="18474" y="20829"/>
                        <a:pt x="18483" y="20846"/>
                      </a:cubicBezTo>
                      <a:lnTo>
                        <a:pt x="18602" y="21104"/>
                      </a:lnTo>
                      <a:cubicBezTo>
                        <a:pt x="18617" y="21141"/>
                        <a:pt x="18635" y="21206"/>
                        <a:pt x="18655" y="21281"/>
                      </a:cubicBezTo>
                      <a:cubicBezTo>
                        <a:pt x="18660" y="21305"/>
                        <a:pt x="18666" y="21331"/>
                        <a:pt x="18672" y="21357"/>
                      </a:cubicBezTo>
                      <a:cubicBezTo>
                        <a:pt x="18688" y="21423"/>
                        <a:pt x="18703" y="21493"/>
                        <a:pt x="18721" y="21572"/>
                      </a:cubicBezTo>
                      <a:cubicBezTo>
                        <a:pt x="18723" y="21582"/>
                        <a:pt x="18725" y="21589"/>
                        <a:pt x="18727" y="21600"/>
                      </a:cubicBezTo>
                      <a:cubicBezTo>
                        <a:pt x="18742" y="21598"/>
                        <a:pt x="18757" y="21597"/>
                        <a:pt x="18771" y="21597"/>
                      </a:cubicBezTo>
                      <a:lnTo>
                        <a:pt x="18809" y="21597"/>
                      </a:lnTo>
                      <a:cubicBezTo>
                        <a:pt x="18856" y="21489"/>
                        <a:pt x="18897" y="21399"/>
                        <a:pt x="18932" y="21323"/>
                      </a:cubicBezTo>
                      <a:cubicBezTo>
                        <a:pt x="18888" y="21124"/>
                        <a:pt x="18869" y="20903"/>
                        <a:pt x="18911" y="20674"/>
                      </a:cubicBezTo>
                      <a:cubicBezTo>
                        <a:pt x="18876" y="20431"/>
                        <a:pt x="18869" y="20108"/>
                        <a:pt x="19002" y="19804"/>
                      </a:cubicBezTo>
                      <a:lnTo>
                        <a:pt x="19083" y="19618"/>
                      </a:lnTo>
                      <a:cubicBezTo>
                        <a:pt x="19099" y="19551"/>
                        <a:pt x="19122" y="19482"/>
                        <a:pt x="19149" y="19415"/>
                      </a:cubicBezTo>
                      <a:cubicBezTo>
                        <a:pt x="19238" y="19183"/>
                        <a:pt x="19406" y="18926"/>
                        <a:pt x="19619" y="18840"/>
                      </a:cubicBezTo>
                      <a:lnTo>
                        <a:pt x="19625" y="18687"/>
                      </a:lnTo>
                      <a:lnTo>
                        <a:pt x="19851" y="18401"/>
                      </a:lnTo>
                      <a:cubicBezTo>
                        <a:pt x="19871" y="18376"/>
                        <a:pt x="19892" y="18353"/>
                        <a:pt x="19915" y="18333"/>
                      </a:cubicBezTo>
                      <a:cubicBezTo>
                        <a:pt x="19922" y="18145"/>
                        <a:pt x="19942" y="17945"/>
                        <a:pt x="19995" y="17762"/>
                      </a:cubicBezTo>
                      <a:cubicBezTo>
                        <a:pt x="19972" y="17579"/>
                        <a:pt x="19973" y="17381"/>
                        <a:pt x="20020" y="17169"/>
                      </a:cubicBezTo>
                      <a:lnTo>
                        <a:pt x="20116" y="16738"/>
                      </a:lnTo>
                      <a:lnTo>
                        <a:pt x="20402" y="16565"/>
                      </a:lnTo>
                      <a:cubicBezTo>
                        <a:pt x="20640" y="16445"/>
                        <a:pt x="20826" y="16450"/>
                        <a:pt x="21021" y="16577"/>
                      </a:cubicBezTo>
                      <a:cubicBezTo>
                        <a:pt x="21110" y="16526"/>
                        <a:pt x="21203" y="16490"/>
                        <a:pt x="21302" y="16490"/>
                      </a:cubicBezTo>
                      <a:lnTo>
                        <a:pt x="21600" y="16490"/>
                      </a:lnTo>
                      <a:cubicBezTo>
                        <a:pt x="21383" y="16338"/>
                        <a:pt x="21092" y="16071"/>
                        <a:pt x="21019" y="15418"/>
                      </a:cubicBezTo>
                      <a:close/>
                      <a:moveTo>
                        <a:pt x="21019" y="15418"/>
                      </a:moveTo>
                    </a:path>
                  </a:pathLst>
                </a:custGeom>
                <a:solidFill>
                  <a:schemeClr val="accent3">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37" name="Google Shape;456;p54">
                  <a:extLst>
                    <a:ext uri="{FF2B5EF4-FFF2-40B4-BE49-F238E27FC236}">
                      <a16:creationId xmlns:a16="http://schemas.microsoft.com/office/drawing/2014/main" id="{68DFC532-4B07-4CB9-B1EE-67F60EB342BB}"/>
                    </a:ext>
                  </a:extLst>
                </p:cNvPr>
                <p:cNvSpPr/>
                <p:nvPr/>
              </p:nvSpPr>
              <p:spPr>
                <a:xfrm>
                  <a:off x="7156218" y="3007980"/>
                  <a:ext cx="120906" cy="202599"/>
                </a:xfrm>
                <a:custGeom>
                  <a:avLst/>
                  <a:gdLst/>
                  <a:ahLst/>
                  <a:cxnLst/>
                  <a:rect l="l" t="t" r="r" b="b"/>
                  <a:pathLst>
                    <a:path w="21600" h="21599" extrusionOk="0">
                      <a:moveTo>
                        <a:pt x="2388" y="1468"/>
                      </a:moveTo>
                      <a:cubicBezTo>
                        <a:pt x="2426" y="1455"/>
                        <a:pt x="2466" y="1442"/>
                        <a:pt x="2503" y="1431"/>
                      </a:cubicBezTo>
                      <a:cubicBezTo>
                        <a:pt x="2707" y="1125"/>
                        <a:pt x="2832" y="961"/>
                        <a:pt x="2988" y="828"/>
                      </a:cubicBezTo>
                      <a:cubicBezTo>
                        <a:pt x="3151" y="668"/>
                        <a:pt x="3297" y="528"/>
                        <a:pt x="3469" y="407"/>
                      </a:cubicBezTo>
                      <a:cubicBezTo>
                        <a:pt x="3471" y="349"/>
                        <a:pt x="3487" y="297"/>
                        <a:pt x="3493" y="241"/>
                      </a:cubicBezTo>
                      <a:cubicBezTo>
                        <a:pt x="3501" y="160"/>
                        <a:pt x="3501" y="76"/>
                        <a:pt x="3523" y="0"/>
                      </a:cubicBezTo>
                      <a:cubicBezTo>
                        <a:pt x="3082" y="-1"/>
                        <a:pt x="2624" y="14"/>
                        <a:pt x="2237" y="65"/>
                      </a:cubicBezTo>
                      <a:cubicBezTo>
                        <a:pt x="2068" y="94"/>
                        <a:pt x="1887" y="117"/>
                        <a:pt x="1750" y="159"/>
                      </a:cubicBezTo>
                      <a:cubicBezTo>
                        <a:pt x="1597" y="206"/>
                        <a:pt x="1434" y="291"/>
                        <a:pt x="1271" y="399"/>
                      </a:cubicBezTo>
                      <a:cubicBezTo>
                        <a:pt x="1216" y="436"/>
                        <a:pt x="1159" y="490"/>
                        <a:pt x="1101" y="534"/>
                      </a:cubicBezTo>
                      <a:cubicBezTo>
                        <a:pt x="996" y="617"/>
                        <a:pt x="888" y="702"/>
                        <a:pt x="782" y="807"/>
                      </a:cubicBezTo>
                      <a:cubicBezTo>
                        <a:pt x="719" y="868"/>
                        <a:pt x="662" y="941"/>
                        <a:pt x="601" y="1008"/>
                      </a:cubicBezTo>
                      <a:cubicBezTo>
                        <a:pt x="503" y="1116"/>
                        <a:pt x="407" y="1225"/>
                        <a:pt x="317" y="1345"/>
                      </a:cubicBezTo>
                      <a:cubicBezTo>
                        <a:pt x="259" y="1424"/>
                        <a:pt x="209" y="1508"/>
                        <a:pt x="151" y="1591"/>
                      </a:cubicBezTo>
                      <a:cubicBezTo>
                        <a:pt x="99" y="1672"/>
                        <a:pt x="48" y="1756"/>
                        <a:pt x="0" y="1841"/>
                      </a:cubicBezTo>
                      <a:lnTo>
                        <a:pt x="10757" y="21599"/>
                      </a:lnTo>
                      <a:cubicBezTo>
                        <a:pt x="12679" y="21333"/>
                        <a:pt x="14641" y="21053"/>
                        <a:pt x="16594" y="20761"/>
                      </a:cubicBezTo>
                      <a:cubicBezTo>
                        <a:pt x="17137" y="20678"/>
                        <a:pt x="17666" y="20589"/>
                        <a:pt x="18206" y="20505"/>
                      </a:cubicBezTo>
                      <a:cubicBezTo>
                        <a:pt x="19351" y="20326"/>
                        <a:pt x="20479" y="20140"/>
                        <a:pt x="21600" y="19949"/>
                      </a:cubicBezTo>
                      <a:cubicBezTo>
                        <a:pt x="21452" y="19700"/>
                        <a:pt x="21291" y="19439"/>
                        <a:pt x="21134" y="19182"/>
                      </a:cubicBezTo>
                      <a:lnTo>
                        <a:pt x="20485" y="18095"/>
                      </a:lnTo>
                      <a:cubicBezTo>
                        <a:pt x="20193" y="17596"/>
                        <a:pt x="19897" y="17059"/>
                        <a:pt x="19643" y="16603"/>
                      </a:cubicBezTo>
                      <a:cubicBezTo>
                        <a:pt x="19577" y="16481"/>
                        <a:pt x="19513" y="16366"/>
                        <a:pt x="19453" y="16259"/>
                      </a:cubicBezTo>
                      <a:cubicBezTo>
                        <a:pt x="19281" y="16266"/>
                        <a:pt x="19142" y="16267"/>
                        <a:pt x="19067" y="16267"/>
                      </a:cubicBezTo>
                      <a:cubicBezTo>
                        <a:pt x="18572" y="16267"/>
                        <a:pt x="18166" y="16227"/>
                        <a:pt x="17835" y="16142"/>
                      </a:cubicBezTo>
                      <a:cubicBezTo>
                        <a:pt x="17355" y="16020"/>
                        <a:pt x="15339" y="15299"/>
                        <a:pt x="14617" y="14818"/>
                      </a:cubicBezTo>
                      <a:cubicBezTo>
                        <a:pt x="14433" y="14695"/>
                        <a:pt x="14278" y="14650"/>
                        <a:pt x="14098" y="14599"/>
                      </a:cubicBezTo>
                      <a:lnTo>
                        <a:pt x="13747" y="14482"/>
                      </a:lnTo>
                      <a:cubicBezTo>
                        <a:pt x="12971" y="14218"/>
                        <a:pt x="12784" y="13853"/>
                        <a:pt x="12760" y="13588"/>
                      </a:cubicBezTo>
                      <a:cubicBezTo>
                        <a:pt x="12561" y="13389"/>
                        <a:pt x="12507" y="13170"/>
                        <a:pt x="12537" y="12978"/>
                      </a:cubicBezTo>
                      <a:cubicBezTo>
                        <a:pt x="12383" y="12913"/>
                        <a:pt x="12220" y="12846"/>
                        <a:pt x="12065" y="12780"/>
                      </a:cubicBezTo>
                      <a:lnTo>
                        <a:pt x="11658" y="12609"/>
                      </a:lnTo>
                      <a:cubicBezTo>
                        <a:pt x="11354" y="12603"/>
                        <a:pt x="10448" y="12531"/>
                        <a:pt x="9998" y="11963"/>
                      </a:cubicBezTo>
                      <a:cubicBezTo>
                        <a:pt x="9783" y="11692"/>
                        <a:pt x="9742" y="11419"/>
                        <a:pt x="9708" y="11219"/>
                      </a:cubicBezTo>
                      <a:cubicBezTo>
                        <a:pt x="9364" y="10958"/>
                        <a:pt x="8661" y="10476"/>
                        <a:pt x="8951" y="9836"/>
                      </a:cubicBezTo>
                      <a:cubicBezTo>
                        <a:pt x="8863" y="9686"/>
                        <a:pt x="8848" y="9528"/>
                        <a:pt x="8905" y="9376"/>
                      </a:cubicBezTo>
                      <a:cubicBezTo>
                        <a:pt x="8682" y="9183"/>
                        <a:pt x="8522" y="8975"/>
                        <a:pt x="8480" y="8743"/>
                      </a:cubicBezTo>
                      <a:cubicBezTo>
                        <a:pt x="8166" y="8609"/>
                        <a:pt x="7876" y="8466"/>
                        <a:pt x="7670" y="8283"/>
                      </a:cubicBezTo>
                      <a:cubicBezTo>
                        <a:pt x="7218" y="8243"/>
                        <a:pt x="6662" y="8156"/>
                        <a:pt x="6246" y="7865"/>
                      </a:cubicBezTo>
                      <a:cubicBezTo>
                        <a:pt x="6058" y="7734"/>
                        <a:pt x="5120" y="7024"/>
                        <a:pt x="4929" y="6871"/>
                      </a:cubicBezTo>
                      <a:cubicBezTo>
                        <a:pt x="4926" y="6871"/>
                        <a:pt x="4926" y="6871"/>
                        <a:pt x="4926" y="6871"/>
                      </a:cubicBezTo>
                      <a:cubicBezTo>
                        <a:pt x="4912" y="6871"/>
                        <a:pt x="4725" y="6795"/>
                        <a:pt x="4634" y="6765"/>
                      </a:cubicBezTo>
                      <a:cubicBezTo>
                        <a:pt x="4332" y="6667"/>
                        <a:pt x="2813" y="6134"/>
                        <a:pt x="2656" y="5289"/>
                      </a:cubicBezTo>
                      <a:cubicBezTo>
                        <a:pt x="2618" y="5066"/>
                        <a:pt x="2566" y="4791"/>
                        <a:pt x="2693" y="4520"/>
                      </a:cubicBezTo>
                      <a:cubicBezTo>
                        <a:pt x="2663" y="4480"/>
                        <a:pt x="2638" y="4440"/>
                        <a:pt x="2618" y="4398"/>
                      </a:cubicBezTo>
                      <a:lnTo>
                        <a:pt x="2596" y="4397"/>
                      </a:lnTo>
                      <a:lnTo>
                        <a:pt x="1929" y="4083"/>
                      </a:lnTo>
                      <a:cubicBezTo>
                        <a:pt x="1566" y="3862"/>
                        <a:pt x="926" y="3470"/>
                        <a:pt x="1071" y="2914"/>
                      </a:cubicBezTo>
                      <a:cubicBezTo>
                        <a:pt x="1113" y="2750"/>
                        <a:pt x="1207" y="2615"/>
                        <a:pt x="1299" y="2513"/>
                      </a:cubicBezTo>
                      <a:cubicBezTo>
                        <a:pt x="1370" y="1902"/>
                        <a:pt x="1992" y="1600"/>
                        <a:pt x="2388" y="1468"/>
                      </a:cubicBezTo>
                      <a:close/>
                      <a:moveTo>
                        <a:pt x="2388" y="1468"/>
                      </a:moveTo>
                    </a:path>
                  </a:pathLst>
                </a:custGeom>
                <a:solidFill>
                  <a:schemeClr val="tx1">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38" name="Google Shape;457;p54">
                  <a:extLst>
                    <a:ext uri="{FF2B5EF4-FFF2-40B4-BE49-F238E27FC236}">
                      <a16:creationId xmlns:a16="http://schemas.microsoft.com/office/drawing/2014/main" id="{22C3D2C9-1C3B-424B-AEE4-D9270D46EB49}"/>
                    </a:ext>
                  </a:extLst>
                </p:cNvPr>
                <p:cNvSpPr/>
                <p:nvPr/>
              </p:nvSpPr>
              <p:spPr>
                <a:xfrm>
                  <a:off x="6845979" y="3105950"/>
                  <a:ext cx="73980" cy="57132"/>
                </a:xfrm>
                <a:custGeom>
                  <a:avLst/>
                  <a:gdLst/>
                  <a:ahLst/>
                  <a:cxnLst/>
                  <a:rect l="l" t="t" r="r" b="b"/>
                  <a:pathLst>
                    <a:path w="21600" h="21600" extrusionOk="0">
                      <a:moveTo>
                        <a:pt x="109" y="8836"/>
                      </a:moveTo>
                      <a:lnTo>
                        <a:pt x="0" y="10128"/>
                      </a:lnTo>
                      <a:cubicBezTo>
                        <a:pt x="128" y="10000"/>
                        <a:pt x="261" y="9889"/>
                        <a:pt x="389" y="9791"/>
                      </a:cubicBezTo>
                      <a:lnTo>
                        <a:pt x="1570" y="8905"/>
                      </a:lnTo>
                      <a:lnTo>
                        <a:pt x="21019" y="21600"/>
                      </a:lnTo>
                      <a:lnTo>
                        <a:pt x="21600" y="16388"/>
                      </a:lnTo>
                      <a:lnTo>
                        <a:pt x="21407" y="16315"/>
                      </a:lnTo>
                      <a:lnTo>
                        <a:pt x="21475" y="15936"/>
                      </a:lnTo>
                      <a:cubicBezTo>
                        <a:pt x="21441" y="15891"/>
                        <a:pt x="21447" y="15821"/>
                        <a:pt x="21417" y="15773"/>
                      </a:cubicBezTo>
                      <a:cubicBezTo>
                        <a:pt x="21038" y="15235"/>
                        <a:pt x="20787" y="14608"/>
                        <a:pt x="20724" y="13955"/>
                      </a:cubicBezTo>
                      <a:lnTo>
                        <a:pt x="20659" y="13210"/>
                      </a:lnTo>
                      <a:lnTo>
                        <a:pt x="20694" y="13054"/>
                      </a:lnTo>
                      <a:lnTo>
                        <a:pt x="20311" y="12417"/>
                      </a:lnTo>
                      <a:lnTo>
                        <a:pt x="20369" y="11580"/>
                      </a:lnTo>
                      <a:cubicBezTo>
                        <a:pt x="19514" y="11315"/>
                        <a:pt x="18702" y="10736"/>
                        <a:pt x="18307" y="9409"/>
                      </a:cubicBezTo>
                      <a:cubicBezTo>
                        <a:pt x="18161" y="8863"/>
                        <a:pt x="18077" y="8335"/>
                        <a:pt x="18051" y="7838"/>
                      </a:cubicBezTo>
                      <a:cubicBezTo>
                        <a:pt x="17709" y="7709"/>
                        <a:pt x="17414" y="7540"/>
                        <a:pt x="17156" y="7333"/>
                      </a:cubicBezTo>
                      <a:lnTo>
                        <a:pt x="16729" y="7333"/>
                      </a:lnTo>
                      <a:lnTo>
                        <a:pt x="15897" y="6166"/>
                      </a:lnTo>
                      <a:cubicBezTo>
                        <a:pt x="15750" y="5961"/>
                        <a:pt x="15622" y="5721"/>
                        <a:pt x="15505" y="5451"/>
                      </a:cubicBezTo>
                      <a:lnTo>
                        <a:pt x="15269" y="5428"/>
                      </a:lnTo>
                      <a:lnTo>
                        <a:pt x="13941" y="3509"/>
                      </a:lnTo>
                      <a:cubicBezTo>
                        <a:pt x="13773" y="3544"/>
                        <a:pt x="13646" y="3546"/>
                        <a:pt x="13601" y="3546"/>
                      </a:cubicBezTo>
                      <a:lnTo>
                        <a:pt x="13272" y="3546"/>
                      </a:lnTo>
                      <a:cubicBezTo>
                        <a:pt x="12820" y="3792"/>
                        <a:pt x="12337" y="3935"/>
                        <a:pt x="11894" y="3935"/>
                      </a:cubicBezTo>
                      <a:lnTo>
                        <a:pt x="11289" y="3855"/>
                      </a:lnTo>
                      <a:cubicBezTo>
                        <a:pt x="10118" y="3538"/>
                        <a:pt x="9184" y="2342"/>
                        <a:pt x="8603" y="1398"/>
                      </a:cubicBezTo>
                      <a:cubicBezTo>
                        <a:pt x="8358" y="1139"/>
                        <a:pt x="7054" y="114"/>
                        <a:pt x="6576" y="0"/>
                      </a:cubicBezTo>
                      <a:cubicBezTo>
                        <a:pt x="6109" y="2"/>
                        <a:pt x="5765" y="47"/>
                        <a:pt x="5584" y="98"/>
                      </a:cubicBezTo>
                      <a:cubicBezTo>
                        <a:pt x="5558" y="124"/>
                        <a:pt x="5539" y="150"/>
                        <a:pt x="5519" y="175"/>
                      </a:cubicBezTo>
                      <a:cubicBezTo>
                        <a:pt x="5396" y="773"/>
                        <a:pt x="5198" y="1433"/>
                        <a:pt x="4948" y="2213"/>
                      </a:cubicBezTo>
                      <a:cubicBezTo>
                        <a:pt x="4068" y="5052"/>
                        <a:pt x="2569" y="5483"/>
                        <a:pt x="1752" y="5483"/>
                      </a:cubicBezTo>
                      <a:cubicBezTo>
                        <a:pt x="1451" y="5470"/>
                        <a:pt x="1088" y="5400"/>
                        <a:pt x="649" y="5275"/>
                      </a:cubicBezTo>
                      <a:cubicBezTo>
                        <a:pt x="625" y="5329"/>
                        <a:pt x="595" y="5388"/>
                        <a:pt x="572" y="5441"/>
                      </a:cubicBezTo>
                      <a:lnTo>
                        <a:pt x="669" y="6661"/>
                      </a:lnTo>
                      <a:lnTo>
                        <a:pt x="79" y="7540"/>
                      </a:lnTo>
                      <a:cubicBezTo>
                        <a:pt x="139" y="7877"/>
                        <a:pt x="156" y="8242"/>
                        <a:pt x="124" y="8638"/>
                      </a:cubicBezTo>
                      <a:cubicBezTo>
                        <a:pt x="124" y="8641"/>
                        <a:pt x="124" y="8641"/>
                        <a:pt x="124" y="8641"/>
                      </a:cubicBezTo>
                      <a:cubicBezTo>
                        <a:pt x="124" y="8641"/>
                        <a:pt x="109" y="8836"/>
                        <a:pt x="109" y="8836"/>
                      </a:cubicBezTo>
                      <a:close/>
                      <a:moveTo>
                        <a:pt x="109" y="8836"/>
                      </a:moveTo>
                    </a:path>
                  </a:pathLst>
                </a:custGeom>
                <a:solidFill>
                  <a:schemeClr val="tx1">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39" name="Google Shape;458;p54">
                  <a:extLst>
                    <a:ext uri="{FF2B5EF4-FFF2-40B4-BE49-F238E27FC236}">
                      <a16:creationId xmlns:a16="http://schemas.microsoft.com/office/drawing/2014/main" id="{630120EA-969A-4438-BDF4-06FD5D6099A0}"/>
                    </a:ext>
                  </a:extLst>
                </p:cNvPr>
                <p:cNvSpPr/>
                <p:nvPr/>
              </p:nvSpPr>
              <p:spPr>
                <a:xfrm>
                  <a:off x="7225614" y="3285562"/>
                  <a:ext cx="44388" cy="138780"/>
                </a:xfrm>
                <a:custGeom>
                  <a:avLst/>
                  <a:gdLst/>
                  <a:ahLst/>
                  <a:cxnLst/>
                  <a:rect l="l" t="t" r="r" b="b"/>
                  <a:pathLst>
                    <a:path w="21600" h="21600" extrusionOk="0">
                      <a:moveTo>
                        <a:pt x="551" y="19392"/>
                      </a:moveTo>
                      <a:cubicBezTo>
                        <a:pt x="856" y="19598"/>
                        <a:pt x="920" y="19821"/>
                        <a:pt x="945" y="19997"/>
                      </a:cubicBezTo>
                      <a:cubicBezTo>
                        <a:pt x="1759" y="20342"/>
                        <a:pt x="2244" y="20634"/>
                        <a:pt x="2467" y="20918"/>
                      </a:cubicBezTo>
                      <a:cubicBezTo>
                        <a:pt x="2919" y="21045"/>
                        <a:pt x="3336" y="21216"/>
                        <a:pt x="3642" y="21445"/>
                      </a:cubicBezTo>
                      <a:cubicBezTo>
                        <a:pt x="3642" y="21445"/>
                        <a:pt x="3665" y="21453"/>
                        <a:pt x="3700" y="21466"/>
                      </a:cubicBezTo>
                      <a:cubicBezTo>
                        <a:pt x="3887" y="21502"/>
                        <a:pt x="4092" y="21547"/>
                        <a:pt x="4297" y="21600"/>
                      </a:cubicBezTo>
                      <a:cubicBezTo>
                        <a:pt x="4438" y="21595"/>
                        <a:pt x="4585" y="21592"/>
                        <a:pt x="4736" y="21592"/>
                      </a:cubicBezTo>
                      <a:cubicBezTo>
                        <a:pt x="5171" y="21369"/>
                        <a:pt x="5581" y="21161"/>
                        <a:pt x="5793" y="21061"/>
                      </a:cubicBezTo>
                      <a:cubicBezTo>
                        <a:pt x="5965" y="20976"/>
                        <a:pt x="6238" y="20853"/>
                        <a:pt x="6483" y="20729"/>
                      </a:cubicBezTo>
                      <a:lnTo>
                        <a:pt x="6393" y="20548"/>
                      </a:lnTo>
                      <a:cubicBezTo>
                        <a:pt x="6393" y="20458"/>
                        <a:pt x="6420" y="20374"/>
                        <a:pt x="6458" y="20298"/>
                      </a:cubicBezTo>
                      <a:cubicBezTo>
                        <a:pt x="6166" y="20111"/>
                        <a:pt x="5950" y="19892"/>
                        <a:pt x="5950" y="19632"/>
                      </a:cubicBezTo>
                      <a:cubicBezTo>
                        <a:pt x="5950" y="19579"/>
                        <a:pt x="5944" y="19382"/>
                        <a:pt x="5933" y="19195"/>
                      </a:cubicBezTo>
                      <a:cubicBezTo>
                        <a:pt x="4956" y="18650"/>
                        <a:pt x="5343" y="18164"/>
                        <a:pt x="5598" y="17953"/>
                      </a:cubicBezTo>
                      <a:cubicBezTo>
                        <a:pt x="5677" y="17822"/>
                        <a:pt x="6049" y="17361"/>
                        <a:pt x="7390" y="17035"/>
                      </a:cubicBezTo>
                      <a:lnTo>
                        <a:pt x="7929" y="16898"/>
                      </a:lnTo>
                      <a:cubicBezTo>
                        <a:pt x="8030" y="16811"/>
                        <a:pt x="8127" y="16724"/>
                        <a:pt x="8227" y="16635"/>
                      </a:cubicBezTo>
                      <a:cubicBezTo>
                        <a:pt x="8343" y="16151"/>
                        <a:pt x="8875" y="15143"/>
                        <a:pt x="9025" y="14948"/>
                      </a:cubicBezTo>
                      <a:cubicBezTo>
                        <a:pt x="9248" y="14645"/>
                        <a:pt x="9731" y="14401"/>
                        <a:pt x="10191" y="14182"/>
                      </a:cubicBezTo>
                      <a:cubicBezTo>
                        <a:pt x="9789" y="13793"/>
                        <a:pt x="9534" y="13446"/>
                        <a:pt x="9681" y="13072"/>
                      </a:cubicBezTo>
                      <a:cubicBezTo>
                        <a:pt x="9795" y="12743"/>
                        <a:pt x="10166" y="12490"/>
                        <a:pt x="10527" y="12309"/>
                      </a:cubicBezTo>
                      <a:cubicBezTo>
                        <a:pt x="10585" y="11970"/>
                        <a:pt x="10727" y="11475"/>
                        <a:pt x="11061" y="11096"/>
                      </a:cubicBezTo>
                      <a:cubicBezTo>
                        <a:pt x="10381" y="10791"/>
                        <a:pt x="9886" y="10412"/>
                        <a:pt x="10166" y="9936"/>
                      </a:cubicBezTo>
                      <a:lnTo>
                        <a:pt x="10158" y="9617"/>
                      </a:lnTo>
                      <a:cubicBezTo>
                        <a:pt x="10249" y="8599"/>
                        <a:pt x="10421" y="6478"/>
                        <a:pt x="11457" y="5105"/>
                      </a:cubicBezTo>
                      <a:cubicBezTo>
                        <a:pt x="12615" y="3576"/>
                        <a:pt x="14745" y="1642"/>
                        <a:pt x="18335" y="1111"/>
                      </a:cubicBezTo>
                      <a:cubicBezTo>
                        <a:pt x="19439" y="948"/>
                        <a:pt x="20316" y="851"/>
                        <a:pt x="21113" y="812"/>
                      </a:cubicBezTo>
                      <a:cubicBezTo>
                        <a:pt x="21254" y="575"/>
                        <a:pt x="21416" y="299"/>
                        <a:pt x="21600" y="0"/>
                      </a:cubicBezTo>
                      <a:lnTo>
                        <a:pt x="20170" y="186"/>
                      </a:lnTo>
                      <a:lnTo>
                        <a:pt x="9607" y="1554"/>
                      </a:lnTo>
                      <a:lnTo>
                        <a:pt x="9795" y="2220"/>
                      </a:lnTo>
                      <a:lnTo>
                        <a:pt x="9008" y="2447"/>
                      </a:lnTo>
                      <a:lnTo>
                        <a:pt x="8587" y="3078"/>
                      </a:lnTo>
                      <a:cubicBezTo>
                        <a:pt x="9213" y="3566"/>
                        <a:pt x="9895" y="4571"/>
                        <a:pt x="7964" y="5213"/>
                      </a:cubicBezTo>
                      <a:cubicBezTo>
                        <a:pt x="7616" y="5618"/>
                        <a:pt x="7011" y="6097"/>
                        <a:pt x="5960" y="6386"/>
                      </a:cubicBezTo>
                      <a:cubicBezTo>
                        <a:pt x="5944" y="6389"/>
                        <a:pt x="5128" y="6613"/>
                        <a:pt x="4075" y="6826"/>
                      </a:cubicBezTo>
                      <a:cubicBezTo>
                        <a:pt x="4218" y="7009"/>
                        <a:pt x="4241" y="7202"/>
                        <a:pt x="4117" y="7415"/>
                      </a:cubicBezTo>
                      <a:lnTo>
                        <a:pt x="3362" y="8033"/>
                      </a:lnTo>
                      <a:cubicBezTo>
                        <a:pt x="3420" y="8620"/>
                        <a:pt x="3205" y="9141"/>
                        <a:pt x="1726" y="9536"/>
                      </a:cubicBezTo>
                      <a:lnTo>
                        <a:pt x="1659" y="9554"/>
                      </a:lnTo>
                      <a:cubicBezTo>
                        <a:pt x="1718" y="9897"/>
                        <a:pt x="1693" y="10162"/>
                        <a:pt x="1463" y="10417"/>
                      </a:cubicBezTo>
                      <a:lnTo>
                        <a:pt x="1069" y="10748"/>
                      </a:lnTo>
                      <a:cubicBezTo>
                        <a:pt x="889" y="10877"/>
                        <a:pt x="551" y="11120"/>
                        <a:pt x="493" y="11980"/>
                      </a:cubicBezTo>
                      <a:cubicBezTo>
                        <a:pt x="443" y="12622"/>
                        <a:pt x="346" y="13191"/>
                        <a:pt x="271" y="13643"/>
                      </a:cubicBezTo>
                      <a:cubicBezTo>
                        <a:pt x="220" y="13906"/>
                        <a:pt x="180" y="14122"/>
                        <a:pt x="162" y="14275"/>
                      </a:cubicBezTo>
                      <a:cubicBezTo>
                        <a:pt x="561" y="14546"/>
                        <a:pt x="1127" y="15077"/>
                        <a:pt x="271" y="15690"/>
                      </a:cubicBezTo>
                      <a:cubicBezTo>
                        <a:pt x="657" y="15995"/>
                        <a:pt x="1028" y="16345"/>
                        <a:pt x="961" y="16753"/>
                      </a:cubicBezTo>
                      <a:cubicBezTo>
                        <a:pt x="1011" y="17537"/>
                        <a:pt x="1061" y="18203"/>
                        <a:pt x="0" y="18732"/>
                      </a:cubicBezTo>
                      <a:cubicBezTo>
                        <a:pt x="141" y="18924"/>
                        <a:pt x="418" y="19274"/>
                        <a:pt x="551" y="19392"/>
                      </a:cubicBezTo>
                      <a:close/>
                      <a:moveTo>
                        <a:pt x="551" y="19392"/>
                      </a:moveTo>
                    </a:path>
                  </a:pathLst>
                </a:custGeom>
                <a:solidFill>
                  <a:schemeClr val="tx1">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40" name="Google Shape;459;p54">
                  <a:extLst>
                    <a:ext uri="{FF2B5EF4-FFF2-40B4-BE49-F238E27FC236}">
                      <a16:creationId xmlns:a16="http://schemas.microsoft.com/office/drawing/2014/main" id="{4B393CBA-E98A-4AB1-993B-98FD1ECF0B0A}"/>
                    </a:ext>
                  </a:extLst>
                </p:cNvPr>
                <p:cNvSpPr/>
                <p:nvPr/>
              </p:nvSpPr>
              <p:spPr>
                <a:xfrm>
                  <a:off x="7197039" y="3326382"/>
                  <a:ext cx="0" cy="1512"/>
                </a:xfrm>
                <a:custGeom>
                  <a:avLst/>
                  <a:gdLst/>
                  <a:ahLst/>
                  <a:cxnLst/>
                  <a:rect l="l" t="t" r="r" b="b"/>
                  <a:pathLst>
                    <a:path w="16296" h="21600" extrusionOk="0">
                      <a:moveTo>
                        <a:pt x="0" y="210"/>
                      </a:moveTo>
                      <a:cubicBezTo>
                        <a:pt x="0" y="450"/>
                        <a:pt x="0" y="0"/>
                        <a:pt x="0" y="0"/>
                      </a:cubicBezTo>
                      <a:cubicBezTo>
                        <a:pt x="0" y="1772"/>
                        <a:pt x="0" y="10136"/>
                        <a:pt x="0" y="10136"/>
                      </a:cubicBezTo>
                      <a:cubicBezTo>
                        <a:pt x="0" y="11459"/>
                        <a:pt x="0" y="16652"/>
                        <a:pt x="0" y="21600"/>
                      </a:cubicBezTo>
                      <a:cubicBezTo>
                        <a:pt x="0" y="21600"/>
                        <a:pt x="0" y="210"/>
                        <a:pt x="0" y="210"/>
                      </a:cubicBezTo>
                      <a:close/>
                      <a:moveTo>
                        <a:pt x="0" y="210"/>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41" name="Google Shape;460;p54">
                  <a:extLst>
                    <a:ext uri="{FF2B5EF4-FFF2-40B4-BE49-F238E27FC236}">
                      <a16:creationId xmlns:a16="http://schemas.microsoft.com/office/drawing/2014/main" id="{D82939C3-022F-4422-8E12-9C5F184A5F83}"/>
                    </a:ext>
                  </a:extLst>
                </p:cNvPr>
                <p:cNvSpPr/>
                <p:nvPr/>
              </p:nvSpPr>
              <p:spPr>
                <a:xfrm>
                  <a:off x="7523607" y="2530375"/>
                  <a:ext cx="47952" cy="100008"/>
                </a:xfrm>
                <a:custGeom>
                  <a:avLst/>
                  <a:gdLst/>
                  <a:ahLst/>
                  <a:cxnLst/>
                  <a:rect l="l" t="t" r="r" b="b"/>
                  <a:pathLst>
                    <a:path w="21600" h="21600" extrusionOk="0">
                      <a:moveTo>
                        <a:pt x="20610" y="18589"/>
                      </a:moveTo>
                      <a:lnTo>
                        <a:pt x="20341" y="18460"/>
                      </a:lnTo>
                      <a:lnTo>
                        <a:pt x="21600" y="16935"/>
                      </a:lnTo>
                      <a:cubicBezTo>
                        <a:pt x="21401" y="16590"/>
                        <a:pt x="21410" y="16248"/>
                        <a:pt x="21537" y="15952"/>
                      </a:cubicBezTo>
                      <a:cubicBezTo>
                        <a:pt x="21333" y="15668"/>
                        <a:pt x="21279" y="15389"/>
                        <a:pt x="21310" y="15139"/>
                      </a:cubicBezTo>
                      <a:cubicBezTo>
                        <a:pt x="19825" y="14485"/>
                        <a:pt x="17472" y="13303"/>
                        <a:pt x="19338" y="11923"/>
                      </a:cubicBezTo>
                      <a:cubicBezTo>
                        <a:pt x="19369" y="11903"/>
                        <a:pt x="19397" y="11882"/>
                        <a:pt x="19422" y="11864"/>
                      </a:cubicBezTo>
                      <a:lnTo>
                        <a:pt x="18385" y="11442"/>
                      </a:lnTo>
                      <a:cubicBezTo>
                        <a:pt x="17809" y="11225"/>
                        <a:pt x="15781" y="10370"/>
                        <a:pt x="15943" y="9176"/>
                      </a:cubicBezTo>
                      <a:lnTo>
                        <a:pt x="16070" y="8192"/>
                      </a:lnTo>
                      <a:lnTo>
                        <a:pt x="17975" y="7583"/>
                      </a:lnTo>
                      <a:cubicBezTo>
                        <a:pt x="18455" y="7452"/>
                        <a:pt x="18919" y="7374"/>
                        <a:pt x="19338" y="7326"/>
                      </a:cubicBezTo>
                      <a:cubicBezTo>
                        <a:pt x="19299" y="6936"/>
                        <a:pt x="19428" y="6544"/>
                        <a:pt x="19900" y="6160"/>
                      </a:cubicBezTo>
                      <a:lnTo>
                        <a:pt x="20395" y="5755"/>
                      </a:lnTo>
                      <a:cubicBezTo>
                        <a:pt x="20337" y="5715"/>
                        <a:pt x="20321" y="5670"/>
                        <a:pt x="20259" y="5629"/>
                      </a:cubicBezTo>
                      <a:cubicBezTo>
                        <a:pt x="19870" y="5355"/>
                        <a:pt x="19582" y="5076"/>
                        <a:pt x="19369" y="4799"/>
                      </a:cubicBezTo>
                      <a:cubicBezTo>
                        <a:pt x="19338" y="4766"/>
                        <a:pt x="19284" y="4733"/>
                        <a:pt x="19261" y="4700"/>
                      </a:cubicBezTo>
                      <a:lnTo>
                        <a:pt x="17846" y="5500"/>
                      </a:lnTo>
                      <a:lnTo>
                        <a:pt x="13948" y="0"/>
                      </a:lnTo>
                      <a:lnTo>
                        <a:pt x="0" y="2294"/>
                      </a:lnTo>
                      <a:cubicBezTo>
                        <a:pt x="190" y="2581"/>
                        <a:pt x="394" y="2887"/>
                        <a:pt x="623" y="3215"/>
                      </a:cubicBezTo>
                      <a:cubicBezTo>
                        <a:pt x="2033" y="5307"/>
                        <a:pt x="4010" y="8259"/>
                        <a:pt x="5756" y="10927"/>
                      </a:cubicBezTo>
                      <a:cubicBezTo>
                        <a:pt x="5899" y="11140"/>
                        <a:pt x="6042" y="11357"/>
                        <a:pt x="6182" y="11565"/>
                      </a:cubicBezTo>
                      <a:cubicBezTo>
                        <a:pt x="6347" y="11831"/>
                        <a:pt x="6515" y="12081"/>
                        <a:pt x="6684" y="12336"/>
                      </a:cubicBezTo>
                      <a:cubicBezTo>
                        <a:pt x="6920" y="12710"/>
                        <a:pt x="7156" y="13063"/>
                        <a:pt x="7368" y="13408"/>
                      </a:cubicBezTo>
                      <a:cubicBezTo>
                        <a:pt x="7468" y="13555"/>
                        <a:pt x="7568" y="13712"/>
                        <a:pt x="7658" y="13852"/>
                      </a:cubicBezTo>
                      <a:cubicBezTo>
                        <a:pt x="7962" y="14334"/>
                        <a:pt x="8229" y="14758"/>
                        <a:pt x="8466" y="15143"/>
                      </a:cubicBezTo>
                      <a:cubicBezTo>
                        <a:pt x="8518" y="15229"/>
                        <a:pt x="8571" y="15309"/>
                        <a:pt x="8618" y="15389"/>
                      </a:cubicBezTo>
                      <a:cubicBezTo>
                        <a:pt x="8854" y="15773"/>
                        <a:pt x="9058" y="16116"/>
                        <a:pt x="9191" y="16355"/>
                      </a:cubicBezTo>
                      <a:cubicBezTo>
                        <a:pt x="10681" y="19077"/>
                        <a:pt x="11336" y="20539"/>
                        <a:pt x="11336" y="20539"/>
                      </a:cubicBezTo>
                      <a:lnTo>
                        <a:pt x="11809" y="21600"/>
                      </a:lnTo>
                      <a:cubicBezTo>
                        <a:pt x="12851" y="21126"/>
                        <a:pt x="15744" y="19903"/>
                        <a:pt x="17479" y="19377"/>
                      </a:cubicBezTo>
                      <a:cubicBezTo>
                        <a:pt x="18781" y="18985"/>
                        <a:pt x="19725" y="18754"/>
                        <a:pt x="20610" y="18589"/>
                      </a:cubicBezTo>
                      <a:close/>
                      <a:moveTo>
                        <a:pt x="20610" y="18589"/>
                      </a:moveTo>
                    </a:path>
                  </a:pathLst>
                </a:custGeom>
                <a:solidFill>
                  <a:schemeClr val="accent3">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42" name="Google Shape;461;p54">
                  <a:extLst>
                    <a:ext uri="{FF2B5EF4-FFF2-40B4-BE49-F238E27FC236}">
                      <a16:creationId xmlns:a16="http://schemas.microsoft.com/office/drawing/2014/main" id="{89DC828C-5A73-49BA-A9A8-633F8C11BB4A}"/>
                    </a:ext>
                  </a:extLst>
                </p:cNvPr>
                <p:cNvSpPr/>
                <p:nvPr/>
              </p:nvSpPr>
              <p:spPr>
                <a:xfrm>
                  <a:off x="7156218" y="3444764"/>
                  <a:ext cx="29106" cy="18360"/>
                </a:xfrm>
                <a:custGeom>
                  <a:avLst/>
                  <a:gdLst/>
                  <a:ahLst/>
                  <a:cxnLst/>
                  <a:rect l="l" t="t" r="r" b="b"/>
                  <a:pathLst>
                    <a:path w="21600" h="21600" extrusionOk="0">
                      <a:moveTo>
                        <a:pt x="4595" y="3072"/>
                      </a:moveTo>
                      <a:cubicBezTo>
                        <a:pt x="4130" y="2878"/>
                        <a:pt x="2005" y="1978"/>
                        <a:pt x="0" y="0"/>
                      </a:cubicBezTo>
                      <a:cubicBezTo>
                        <a:pt x="789" y="2171"/>
                        <a:pt x="2049" y="5932"/>
                        <a:pt x="1616" y="10241"/>
                      </a:cubicBezTo>
                      <a:cubicBezTo>
                        <a:pt x="3827" y="9751"/>
                        <a:pt x="6170" y="10693"/>
                        <a:pt x="7809" y="12530"/>
                      </a:cubicBezTo>
                      <a:lnTo>
                        <a:pt x="8860" y="13905"/>
                      </a:lnTo>
                      <a:cubicBezTo>
                        <a:pt x="9046" y="14179"/>
                        <a:pt x="9287" y="14529"/>
                        <a:pt x="9522" y="14861"/>
                      </a:cubicBezTo>
                      <a:cubicBezTo>
                        <a:pt x="11498" y="15939"/>
                        <a:pt x="14877" y="18194"/>
                        <a:pt x="16443" y="20169"/>
                      </a:cubicBezTo>
                      <a:cubicBezTo>
                        <a:pt x="16781" y="20561"/>
                        <a:pt x="17120" y="21051"/>
                        <a:pt x="17444" y="21600"/>
                      </a:cubicBezTo>
                      <a:cubicBezTo>
                        <a:pt x="17556" y="21462"/>
                        <a:pt x="17659" y="21326"/>
                        <a:pt x="17759" y="21187"/>
                      </a:cubicBezTo>
                      <a:cubicBezTo>
                        <a:pt x="18807" y="18155"/>
                        <a:pt x="20264" y="16565"/>
                        <a:pt x="21574" y="15724"/>
                      </a:cubicBezTo>
                      <a:cubicBezTo>
                        <a:pt x="21588" y="14746"/>
                        <a:pt x="21600" y="13806"/>
                        <a:pt x="21600" y="12963"/>
                      </a:cubicBezTo>
                      <a:cubicBezTo>
                        <a:pt x="21235" y="12475"/>
                        <a:pt x="20911" y="11943"/>
                        <a:pt x="20646" y="11416"/>
                      </a:cubicBezTo>
                      <a:cubicBezTo>
                        <a:pt x="19746" y="11220"/>
                        <a:pt x="18683" y="10808"/>
                        <a:pt x="17659" y="9831"/>
                      </a:cubicBezTo>
                      <a:cubicBezTo>
                        <a:pt x="16717" y="10439"/>
                        <a:pt x="15719" y="10787"/>
                        <a:pt x="14756" y="10787"/>
                      </a:cubicBezTo>
                      <a:lnTo>
                        <a:pt x="12089" y="10787"/>
                      </a:lnTo>
                      <a:lnTo>
                        <a:pt x="10088" y="7793"/>
                      </a:lnTo>
                      <a:cubicBezTo>
                        <a:pt x="9122" y="6285"/>
                        <a:pt x="8645" y="4721"/>
                        <a:pt x="8333" y="2878"/>
                      </a:cubicBezTo>
                      <a:cubicBezTo>
                        <a:pt x="7695" y="3192"/>
                        <a:pt x="6994" y="3367"/>
                        <a:pt x="6246" y="3367"/>
                      </a:cubicBezTo>
                      <a:cubicBezTo>
                        <a:pt x="6246" y="3367"/>
                        <a:pt x="4595" y="3072"/>
                        <a:pt x="4595" y="3072"/>
                      </a:cubicBezTo>
                      <a:close/>
                      <a:moveTo>
                        <a:pt x="4595" y="3072"/>
                      </a:moveTo>
                    </a:path>
                  </a:pathLst>
                </a:custGeom>
                <a:solidFill>
                  <a:schemeClr val="tx1">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2400"/>
                    <a:buFontTx/>
                    <a:buNone/>
                    <a:tabLst/>
                    <a:defRPr/>
                  </a:pPr>
                  <a:endParaRPr kumimoji="0" sz="18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43" name="Google Shape;462;p54">
                  <a:extLst>
                    <a:ext uri="{FF2B5EF4-FFF2-40B4-BE49-F238E27FC236}">
                      <a16:creationId xmlns:a16="http://schemas.microsoft.com/office/drawing/2014/main" id="{E141AE63-1E88-4DD4-A3E0-FDEAEC7D271C}"/>
                    </a:ext>
                  </a:extLst>
                </p:cNvPr>
                <p:cNvSpPr/>
                <p:nvPr/>
              </p:nvSpPr>
              <p:spPr>
                <a:xfrm>
                  <a:off x="6890882" y="3032473"/>
                  <a:ext cx="392364" cy="255150"/>
                </a:xfrm>
                <a:custGeom>
                  <a:avLst/>
                  <a:gdLst/>
                  <a:ahLst/>
                  <a:cxnLst/>
                  <a:rect l="l" t="t" r="r" b="b"/>
                  <a:pathLst>
                    <a:path w="21600" h="21600" extrusionOk="0">
                      <a:moveTo>
                        <a:pt x="14173" y="1779"/>
                      </a:moveTo>
                      <a:lnTo>
                        <a:pt x="13855" y="0"/>
                      </a:lnTo>
                      <a:cubicBezTo>
                        <a:pt x="11742" y="848"/>
                        <a:pt x="9597" y="1687"/>
                        <a:pt x="7430" y="2517"/>
                      </a:cubicBezTo>
                      <a:cubicBezTo>
                        <a:pt x="7229" y="2594"/>
                        <a:pt x="7032" y="2671"/>
                        <a:pt x="6830" y="2749"/>
                      </a:cubicBezTo>
                      <a:cubicBezTo>
                        <a:pt x="4782" y="3530"/>
                        <a:pt x="2707" y="4302"/>
                        <a:pt x="615" y="5065"/>
                      </a:cubicBezTo>
                      <a:cubicBezTo>
                        <a:pt x="409" y="5140"/>
                        <a:pt x="207" y="5219"/>
                        <a:pt x="0" y="5295"/>
                      </a:cubicBezTo>
                      <a:lnTo>
                        <a:pt x="317" y="5282"/>
                      </a:lnTo>
                      <a:cubicBezTo>
                        <a:pt x="483" y="5059"/>
                        <a:pt x="781" y="5019"/>
                        <a:pt x="1071" y="5138"/>
                      </a:cubicBezTo>
                      <a:cubicBezTo>
                        <a:pt x="1252" y="5213"/>
                        <a:pt x="1399" y="5406"/>
                        <a:pt x="1476" y="5670"/>
                      </a:cubicBezTo>
                      <a:cubicBezTo>
                        <a:pt x="1544" y="5908"/>
                        <a:pt x="1545" y="6162"/>
                        <a:pt x="1524" y="6366"/>
                      </a:cubicBezTo>
                      <a:cubicBezTo>
                        <a:pt x="1529" y="6373"/>
                        <a:pt x="1535" y="6382"/>
                        <a:pt x="1539" y="6390"/>
                      </a:cubicBezTo>
                      <a:lnTo>
                        <a:pt x="1564" y="6388"/>
                      </a:lnTo>
                      <a:cubicBezTo>
                        <a:pt x="1823" y="6388"/>
                        <a:pt x="2043" y="6649"/>
                        <a:pt x="2097" y="7025"/>
                      </a:cubicBezTo>
                      <a:cubicBezTo>
                        <a:pt x="2110" y="7137"/>
                        <a:pt x="2108" y="7238"/>
                        <a:pt x="2098" y="7329"/>
                      </a:cubicBezTo>
                      <a:lnTo>
                        <a:pt x="2111" y="7441"/>
                      </a:lnTo>
                      <a:cubicBezTo>
                        <a:pt x="2291" y="7586"/>
                        <a:pt x="2388" y="7870"/>
                        <a:pt x="2441" y="8026"/>
                      </a:cubicBezTo>
                      <a:cubicBezTo>
                        <a:pt x="2497" y="8143"/>
                        <a:pt x="2517" y="8280"/>
                        <a:pt x="2519" y="8425"/>
                      </a:cubicBezTo>
                      <a:cubicBezTo>
                        <a:pt x="2520" y="8443"/>
                        <a:pt x="2530" y="8457"/>
                        <a:pt x="2529" y="8476"/>
                      </a:cubicBezTo>
                      <a:cubicBezTo>
                        <a:pt x="2550" y="8473"/>
                        <a:pt x="2571" y="8470"/>
                        <a:pt x="2592" y="8470"/>
                      </a:cubicBezTo>
                      <a:lnTo>
                        <a:pt x="2739" y="8499"/>
                      </a:lnTo>
                      <a:cubicBezTo>
                        <a:pt x="2788" y="8519"/>
                        <a:pt x="2844" y="8554"/>
                        <a:pt x="2904" y="8596"/>
                      </a:cubicBezTo>
                      <a:cubicBezTo>
                        <a:pt x="2907" y="8612"/>
                        <a:pt x="2942" y="8590"/>
                        <a:pt x="2973" y="8574"/>
                      </a:cubicBezTo>
                      <a:cubicBezTo>
                        <a:pt x="3069" y="8523"/>
                        <a:pt x="3177" y="8465"/>
                        <a:pt x="3300" y="8465"/>
                      </a:cubicBezTo>
                      <a:lnTo>
                        <a:pt x="3498" y="8465"/>
                      </a:lnTo>
                      <a:lnTo>
                        <a:pt x="3679" y="8700"/>
                      </a:lnTo>
                      <a:cubicBezTo>
                        <a:pt x="3703" y="8738"/>
                        <a:pt x="3736" y="8798"/>
                        <a:pt x="3773" y="8869"/>
                      </a:cubicBezTo>
                      <a:cubicBezTo>
                        <a:pt x="3781" y="8886"/>
                        <a:pt x="3792" y="8908"/>
                        <a:pt x="3804" y="8930"/>
                      </a:cubicBezTo>
                      <a:lnTo>
                        <a:pt x="3816" y="8929"/>
                      </a:lnTo>
                      <a:cubicBezTo>
                        <a:pt x="3978" y="8929"/>
                        <a:pt x="4130" y="8998"/>
                        <a:pt x="4280" y="9139"/>
                      </a:cubicBezTo>
                      <a:cubicBezTo>
                        <a:pt x="4496" y="9346"/>
                        <a:pt x="4656" y="9691"/>
                        <a:pt x="4710" y="10066"/>
                      </a:cubicBezTo>
                      <a:cubicBezTo>
                        <a:pt x="4753" y="10368"/>
                        <a:pt x="4724" y="10659"/>
                        <a:pt x="4627" y="10885"/>
                      </a:cubicBezTo>
                      <a:cubicBezTo>
                        <a:pt x="4607" y="10929"/>
                        <a:pt x="4587" y="10968"/>
                        <a:pt x="4566" y="11004"/>
                      </a:cubicBezTo>
                      <a:cubicBezTo>
                        <a:pt x="4588" y="11024"/>
                        <a:pt x="4610" y="11048"/>
                        <a:pt x="4633" y="11074"/>
                      </a:cubicBezTo>
                      <a:lnTo>
                        <a:pt x="4742" y="11237"/>
                      </a:lnTo>
                      <a:cubicBezTo>
                        <a:pt x="4759" y="11239"/>
                        <a:pt x="4777" y="11241"/>
                        <a:pt x="4795" y="11244"/>
                      </a:cubicBezTo>
                      <a:cubicBezTo>
                        <a:pt x="4840" y="11250"/>
                        <a:pt x="4891" y="11258"/>
                        <a:pt x="4941" y="11258"/>
                      </a:cubicBezTo>
                      <a:cubicBezTo>
                        <a:pt x="5308" y="11121"/>
                        <a:pt x="5575" y="11127"/>
                        <a:pt x="5843" y="11247"/>
                      </a:cubicBezTo>
                      <a:cubicBezTo>
                        <a:pt x="6085" y="11347"/>
                        <a:pt x="6474" y="11508"/>
                        <a:pt x="6577" y="11980"/>
                      </a:cubicBezTo>
                      <a:cubicBezTo>
                        <a:pt x="6621" y="11981"/>
                        <a:pt x="6659" y="11981"/>
                        <a:pt x="6686" y="11981"/>
                      </a:cubicBezTo>
                      <a:lnTo>
                        <a:pt x="6898" y="11966"/>
                      </a:lnTo>
                      <a:cubicBezTo>
                        <a:pt x="6933" y="11966"/>
                        <a:pt x="6967" y="11970"/>
                        <a:pt x="6999" y="11977"/>
                      </a:cubicBezTo>
                      <a:lnTo>
                        <a:pt x="7384" y="11091"/>
                      </a:lnTo>
                      <a:lnTo>
                        <a:pt x="9274" y="12844"/>
                      </a:lnTo>
                      <a:lnTo>
                        <a:pt x="8422" y="14860"/>
                      </a:lnTo>
                      <a:lnTo>
                        <a:pt x="8422" y="14861"/>
                      </a:lnTo>
                      <a:lnTo>
                        <a:pt x="8458" y="15001"/>
                      </a:lnTo>
                      <a:cubicBezTo>
                        <a:pt x="8547" y="15345"/>
                        <a:pt x="8732" y="16061"/>
                        <a:pt x="8335" y="16455"/>
                      </a:cubicBezTo>
                      <a:lnTo>
                        <a:pt x="8131" y="16585"/>
                      </a:lnTo>
                      <a:cubicBezTo>
                        <a:pt x="8126" y="16597"/>
                        <a:pt x="8121" y="16608"/>
                        <a:pt x="8117" y="16619"/>
                      </a:cubicBezTo>
                      <a:lnTo>
                        <a:pt x="8117" y="16632"/>
                      </a:lnTo>
                      <a:cubicBezTo>
                        <a:pt x="8237" y="16946"/>
                        <a:pt x="8253" y="17418"/>
                        <a:pt x="8141" y="17717"/>
                      </a:cubicBezTo>
                      <a:cubicBezTo>
                        <a:pt x="8125" y="17760"/>
                        <a:pt x="8012" y="18048"/>
                        <a:pt x="7825" y="18212"/>
                      </a:cubicBezTo>
                      <a:cubicBezTo>
                        <a:pt x="7777" y="18466"/>
                        <a:pt x="7732" y="18631"/>
                        <a:pt x="7649" y="18765"/>
                      </a:cubicBezTo>
                      <a:cubicBezTo>
                        <a:pt x="7645" y="18823"/>
                        <a:pt x="7639" y="18891"/>
                        <a:pt x="7632" y="18965"/>
                      </a:cubicBezTo>
                      <a:cubicBezTo>
                        <a:pt x="7618" y="19105"/>
                        <a:pt x="7600" y="19280"/>
                        <a:pt x="7592" y="19403"/>
                      </a:cubicBezTo>
                      <a:cubicBezTo>
                        <a:pt x="7645" y="19606"/>
                        <a:pt x="7684" y="19757"/>
                        <a:pt x="7710" y="19876"/>
                      </a:cubicBezTo>
                      <a:cubicBezTo>
                        <a:pt x="7770" y="19521"/>
                        <a:pt x="7949" y="19371"/>
                        <a:pt x="8017" y="19328"/>
                      </a:cubicBezTo>
                      <a:lnTo>
                        <a:pt x="8106" y="19278"/>
                      </a:lnTo>
                      <a:cubicBezTo>
                        <a:pt x="8156" y="19143"/>
                        <a:pt x="8202" y="19026"/>
                        <a:pt x="8279" y="18925"/>
                      </a:cubicBezTo>
                      <a:cubicBezTo>
                        <a:pt x="8377" y="18791"/>
                        <a:pt x="8644" y="18590"/>
                        <a:pt x="8866" y="18590"/>
                      </a:cubicBezTo>
                      <a:lnTo>
                        <a:pt x="9023" y="18590"/>
                      </a:lnTo>
                      <a:lnTo>
                        <a:pt x="9197" y="18751"/>
                      </a:lnTo>
                      <a:cubicBezTo>
                        <a:pt x="9307" y="18877"/>
                        <a:pt x="9387" y="19062"/>
                        <a:pt x="9571" y="19523"/>
                      </a:cubicBezTo>
                      <a:lnTo>
                        <a:pt x="9643" y="19704"/>
                      </a:lnTo>
                      <a:cubicBezTo>
                        <a:pt x="9671" y="19764"/>
                        <a:pt x="9698" y="19840"/>
                        <a:pt x="9725" y="19920"/>
                      </a:cubicBezTo>
                      <a:cubicBezTo>
                        <a:pt x="9820" y="19957"/>
                        <a:pt x="9933" y="20026"/>
                        <a:pt x="10034" y="20186"/>
                      </a:cubicBezTo>
                      <a:cubicBezTo>
                        <a:pt x="10043" y="20199"/>
                        <a:pt x="10050" y="20212"/>
                        <a:pt x="10058" y="20226"/>
                      </a:cubicBezTo>
                      <a:cubicBezTo>
                        <a:pt x="10240" y="20034"/>
                        <a:pt x="10468" y="20027"/>
                        <a:pt x="10502" y="20027"/>
                      </a:cubicBezTo>
                      <a:lnTo>
                        <a:pt x="10687" y="20027"/>
                      </a:lnTo>
                      <a:lnTo>
                        <a:pt x="10877" y="20239"/>
                      </a:lnTo>
                      <a:cubicBezTo>
                        <a:pt x="10880" y="20244"/>
                        <a:pt x="10998" y="20414"/>
                        <a:pt x="11084" y="20658"/>
                      </a:cubicBezTo>
                      <a:cubicBezTo>
                        <a:pt x="11140" y="20633"/>
                        <a:pt x="11194" y="20625"/>
                        <a:pt x="11240" y="20625"/>
                      </a:cubicBezTo>
                      <a:cubicBezTo>
                        <a:pt x="11361" y="20545"/>
                        <a:pt x="11470" y="20489"/>
                        <a:pt x="11589" y="20489"/>
                      </a:cubicBezTo>
                      <a:lnTo>
                        <a:pt x="11771" y="20489"/>
                      </a:lnTo>
                      <a:lnTo>
                        <a:pt x="11885" y="20623"/>
                      </a:lnTo>
                      <a:cubicBezTo>
                        <a:pt x="12126" y="20584"/>
                        <a:pt x="12440" y="20617"/>
                        <a:pt x="12622" y="20784"/>
                      </a:cubicBezTo>
                      <a:cubicBezTo>
                        <a:pt x="12760" y="20913"/>
                        <a:pt x="12897" y="21114"/>
                        <a:pt x="13001" y="21312"/>
                      </a:cubicBezTo>
                      <a:lnTo>
                        <a:pt x="13023" y="21312"/>
                      </a:lnTo>
                      <a:cubicBezTo>
                        <a:pt x="13108" y="21238"/>
                        <a:pt x="13186" y="21214"/>
                        <a:pt x="13205" y="21209"/>
                      </a:cubicBezTo>
                      <a:lnTo>
                        <a:pt x="13234" y="21201"/>
                      </a:lnTo>
                      <a:cubicBezTo>
                        <a:pt x="13136" y="21032"/>
                        <a:pt x="13075" y="20913"/>
                        <a:pt x="13034" y="20779"/>
                      </a:cubicBezTo>
                      <a:cubicBezTo>
                        <a:pt x="12939" y="20609"/>
                        <a:pt x="12891" y="20422"/>
                        <a:pt x="12891" y="20217"/>
                      </a:cubicBezTo>
                      <a:cubicBezTo>
                        <a:pt x="12887" y="20141"/>
                        <a:pt x="12882" y="20059"/>
                        <a:pt x="12881" y="19975"/>
                      </a:cubicBezTo>
                      <a:cubicBezTo>
                        <a:pt x="12799" y="19833"/>
                        <a:pt x="12768" y="19677"/>
                        <a:pt x="12758" y="19606"/>
                      </a:cubicBezTo>
                      <a:cubicBezTo>
                        <a:pt x="12724" y="19439"/>
                        <a:pt x="12672" y="19176"/>
                        <a:pt x="12704" y="18912"/>
                      </a:cubicBezTo>
                      <a:cubicBezTo>
                        <a:pt x="12662" y="18856"/>
                        <a:pt x="12619" y="18788"/>
                        <a:pt x="12583" y="18703"/>
                      </a:cubicBezTo>
                      <a:cubicBezTo>
                        <a:pt x="12560" y="18689"/>
                        <a:pt x="12536" y="18674"/>
                        <a:pt x="12515" y="18661"/>
                      </a:cubicBezTo>
                      <a:cubicBezTo>
                        <a:pt x="12343" y="18556"/>
                        <a:pt x="11902" y="18024"/>
                        <a:pt x="11737" y="17644"/>
                      </a:cubicBezTo>
                      <a:cubicBezTo>
                        <a:pt x="11592" y="17307"/>
                        <a:pt x="11438" y="16700"/>
                        <a:pt x="11415" y="16369"/>
                      </a:cubicBezTo>
                      <a:lnTo>
                        <a:pt x="11407" y="16201"/>
                      </a:lnTo>
                      <a:cubicBezTo>
                        <a:pt x="11403" y="16127"/>
                        <a:pt x="11401" y="16040"/>
                        <a:pt x="11395" y="15965"/>
                      </a:cubicBezTo>
                      <a:cubicBezTo>
                        <a:pt x="11365" y="15915"/>
                        <a:pt x="11330" y="15844"/>
                        <a:pt x="11293" y="15741"/>
                      </a:cubicBezTo>
                      <a:cubicBezTo>
                        <a:pt x="11151" y="15361"/>
                        <a:pt x="11086" y="15155"/>
                        <a:pt x="11068" y="14959"/>
                      </a:cubicBezTo>
                      <a:cubicBezTo>
                        <a:pt x="11017" y="14898"/>
                        <a:pt x="10977" y="14827"/>
                        <a:pt x="10949" y="14754"/>
                      </a:cubicBezTo>
                      <a:cubicBezTo>
                        <a:pt x="10773" y="14574"/>
                        <a:pt x="10727" y="14297"/>
                        <a:pt x="10727" y="14098"/>
                      </a:cubicBezTo>
                      <a:lnTo>
                        <a:pt x="10727" y="14085"/>
                      </a:lnTo>
                      <a:cubicBezTo>
                        <a:pt x="10644" y="13778"/>
                        <a:pt x="10712" y="13489"/>
                        <a:pt x="10783" y="13339"/>
                      </a:cubicBezTo>
                      <a:lnTo>
                        <a:pt x="10893" y="13159"/>
                      </a:lnTo>
                      <a:cubicBezTo>
                        <a:pt x="10904" y="13118"/>
                        <a:pt x="10916" y="13075"/>
                        <a:pt x="10931" y="13035"/>
                      </a:cubicBezTo>
                      <a:cubicBezTo>
                        <a:pt x="10661" y="12542"/>
                        <a:pt x="10767" y="12140"/>
                        <a:pt x="10851" y="11948"/>
                      </a:cubicBezTo>
                      <a:cubicBezTo>
                        <a:pt x="10837" y="11698"/>
                        <a:pt x="10862" y="11494"/>
                        <a:pt x="10925" y="11335"/>
                      </a:cubicBezTo>
                      <a:cubicBezTo>
                        <a:pt x="10769" y="10925"/>
                        <a:pt x="10874" y="10612"/>
                        <a:pt x="10967" y="10442"/>
                      </a:cubicBezTo>
                      <a:cubicBezTo>
                        <a:pt x="10978" y="10422"/>
                        <a:pt x="11005" y="10380"/>
                        <a:pt x="11043" y="10325"/>
                      </a:cubicBezTo>
                      <a:cubicBezTo>
                        <a:pt x="10914" y="10154"/>
                        <a:pt x="10885" y="9937"/>
                        <a:pt x="10879" y="9813"/>
                      </a:cubicBezTo>
                      <a:cubicBezTo>
                        <a:pt x="10871" y="9674"/>
                        <a:pt x="10887" y="9552"/>
                        <a:pt x="10911" y="9451"/>
                      </a:cubicBezTo>
                      <a:cubicBezTo>
                        <a:pt x="10895" y="9393"/>
                        <a:pt x="10882" y="9328"/>
                        <a:pt x="10875" y="9255"/>
                      </a:cubicBezTo>
                      <a:cubicBezTo>
                        <a:pt x="10825" y="9230"/>
                        <a:pt x="10774" y="9191"/>
                        <a:pt x="10725" y="9134"/>
                      </a:cubicBezTo>
                      <a:cubicBezTo>
                        <a:pt x="10578" y="9124"/>
                        <a:pt x="10380" y="9067"/>
                        <a:pt x="10186" y="8802"/>
                      </a:cubicBezTo>
                      <a:cubicBezTo>
                        <a:pt x="9793" y="8278"/>
                        <a:pt x="9904" y="7758"/>
                        <a:pt x="9971" y="7560"/>
                      </a:cubicBezTo>
                      <a:lnTo>
                        <a:pt x="10014" y="6898"/>
                      </a:lnTo>
                      <a:lnTo>
                        <a:pt x="10452" y="6903"/>
                      </a:lnTo>
                      <a:cubicBezTo>
                        <a:pt x="10551" y="6916"/>
                        <a:pt x="10627" y="6943"/>
                        <a:pt x="10687" y="6979"/>
                      </a:cubicBezTo>
                      <a:cubicBezTo>
                        <a:pt x="10674" y="6815"/>
                        <a:pt x="10655" y="6545"/>
                        <a:pt x="10754" y="6293"/>
                      </a:cubicBezTo>
                      <a:cubicBezTo>
                        <a:pt x="10752" y="6082"/>
                        <a:pt x="10779" y="5818"/>
                        <a:pt x="10906" y="5616"/>
                      </a:cubicBezTo>
                      <a:cubicBezTo>
                        <a:pt x="10849" y="5204"/>
                        <a:pt x="10978" y="4865"/>
                        <a:pt x="11168" y="4703"/>
                      </a:cubicBezTo>
                      <a:lnTo>
                        <a:pt x="11277" y="4610"/>
                      </a:lnTo>
                      <a:lnTo>
                        <a:pt x="11478" y="4569"/>
                      </a:lnTo>
                      <a:cubicBezTo>
                        <a:pt x="11517" y="4569"/>
                        <a:pt x="11556" y="4574"/>
                        <a:pt x="11594" y="4587"/>
                      </a:cubicBezTo>
                      <a:cubicBezTo>
                        <a:pt x="11666" y="4467"/>
                        <a:pt x="11787" y="4326"/>
                        <a:pt x="11959" y="4309"/>
                      </a:cubicBezTo>
                      <a:cubicBezTo>
                        <a:pt x="11964" y="4273"/>
                        <a:pt x="11975" y="4232"/>
                        <a:pt x="11985" y="4193"/>
                      </a:cubicBezTo>
                      <a:cubicBezTo>
                        <a:pt x="12020" y="3951"/>
                        <a:pt x="12094" y="3769"/>
                        <a:pt x="12205" y="3645"/>
                      </a:cubicBezTo>
                      <a:cubicBezTo>
                        <a:pt x="12051" y="3367"/>
                        <a:pt x="12033" y="3097"/>
                        <a:pt x="12045" y="2910"/>
                      </a:cubicBezTo>
                      <a:cubicBezTo>
                        <a:pt x="12058" y="2717"/>
                        <a:pt x="12113" y="2066"/>
                        <a:pt x="12266" y="1781"/>
                      </a:cubicBezTo>
                      <a:cubicBezTo>
                        <a:pt x="12409" y="1527"/>
                        <a:pt x="12581" y="1389"/>
                        <a:pt x="12782" y="1358"/>
                      </a:cubicBezTo>
                      <a:lnTo>
                        <a:pt x="12792" y="1358"/>
                      </a:lnTo>
                      <a:cubicBezTo>
                        <a:pt x="12864" y="1218"/>
                        <a:pt x="12965" y="1086"/>
                        <a:pt x="13115" y="1040"/>
                      </a:cubicBezTo>
                      <a:lnTo>
                        <a:pt x="13299" y="1010"/>
                      </a:lnTo>
                      <a:cubicBezTo>
                        <a:pt x="13545" y="1010"/>
                        <a:pt x="13754" y="1196"/>
                        <a:pt x="13856" y="1506"/>
                      </a:cubicBezTo>
                      <a:cubicBezTo>
                        <a:pt x="13968" y="1855"/>
                        <a:pt x="13922" y="2349"/>
                        <a:pt x="13855" y="2624"/>
                      </a:cubicBezTo>
                      <a:cubicBezTo>
                        <a:pt x="13857" y="2632"/>
                        <a:pt x="13859" y="2641"/>
                        <a:pt x="13861" y="2650"/>
                      </a:cubicBezTo>
                      <a:cubicBezTo>
                        <a:pt x="13943" y="2740"/>
                        <a:pt x="14040" y="2891"/>
                        <a:pt x="14078" y="3128"/>
                      </a:cubicBezTo>
                      <a:lnTo>
                        <a:pt x="14130" y="3459"/>
                      </a:lnTo>
                      <a:lnTo>
                        <a:pt x="13994" y="3773"/>
                      </a:lnTo>
                      <a:lnTo>
                        <a:pt x="13984" y="3765"/>
                      </a:lnTo>
                      <a:cubicBezTo>
                        <a:pt x="13981" y="3781"/>
                        <a:pt x="13977" y="3796"/>
                        <a:pt x="13974" y="3813"/>
                      </a:cubicBezTo>
                      <a:cubicBezTo>
                        <a:pt x="14073" y="3990"/>
                        <a:pt x="14166" y="4255"/>
                        <a:pt x="14090" y="4599"/>
                      </a:cubicBezTo>
                      <a:cubicBezTo>
                        <a:pt x="13962" y="5102"/>
                        <a:pt x="13535" y="5266"/>
                        <a:pt x="13475" y="5275"/>
                      </a:cubicBezTo>
                      <a:lnTo>
                        <a:pt x="13353" y="5293"/>
                      </a:lnTo>
                      <a:lnTo>
                        <a:pt x="13348" y="5290"/>
                      </a:lnTo>
                      <a:cubicBezTo>
                        <a:pt x="13311" y="5302"/>
                        <a:pt x="13272" y="5312"/>
                        <a:pt x="13230" y="5315"/>
                      </a:cubicBezTo>
                      <a:cubicBezTo>
                        <a:pt x="13198" y="5537"/>
                        <a:pt x="13117" y="5679"/>
                        <a:pt x="13045" y="5765"/>
                      </a:cubicBezTo>
                      <a:cubicBezTo>
                        <a:pt x="13049" y="5807"/>
                        <a:pt x="13052" y="5850"/>
                        <a:pt x="13052" y="5894"/>
                      </a:cubicBezTo>
                      <a:cubicBezTo>
                        <a:pt x="13052" y="6190"/>
                        <a:pt x="12949" y="6375"/>
                        <a:pt x="12860" y="6538"/>
                      </a:cubicBezTo>
                      <a:lnTo>
                        <a:pt x="12844" y="6636"/>
                      </a:lnTo>
                      <a:cubicBezTo>
                        <a:pt x="12823" y="6940"/>
                        <a:pt x="12789" y="7360"/>
                        <a:pt x="12766" y="7474"/>
                      </a:cubicBezTo>
                      <a:cubicBezTo>
                        <a:pt x="12759" y="7515"/>
                        <a:pt x="12750" y="7558"/>
                        <a:pt x="12739" y="7601"/>
                      </a:cubicBezTo>
                      <a:cubicBezTo>
                        <a:pt x="12779" y="7650"/>
                        <a:pt x="12817" y="7709"/>
                        <a:pt x="12850" y="7776"/>
                      </a:cubicBezTo>
                      <a:cubicBezTo>
                        <a:pt x="12969" y="7697"/>
                        <a:pt x="13108" y="7627"/>
                        <a:pt x="13219" y="7627"/>
                      </a:cubicBezTo>
                      <a:lnTo>
                        <a:pt x="13697" y="7627"/>
                      </a:lnTo>
                      <a:lnTo>
                        <a:pt x="13707" y="8369"/>
                      </a:lnTo>
                      <a:cubicBezTo>
                        <a:pt x="13726" y="8532"/>
                        <a:pt x="13756" y="8839"/>
                        <a:pt x="13665" y="9119"/>
                      </a:cubicBezTo>
                      <a:cubicBezTo>
                        <a:pt x="13737" y="9265"/>
                        <a:pt x="13792" y="9444"/>
                        <a:pt x="13784" y="9669"/>
                      </a:cubicBezTo>
                      <a:cubicBezTo>
                        <a:pt x="13771" y="9874"/>
                        <a:pt x="13720" y="10118"/>
                        <a:pt x="13654" y="10315"/>
                      </a:cubicBezTo>
                      <a:cubicBezTo>
                        <a:pt x="13651" y="10323"/>
                        <a:pt x="13648" y="10332"/>
                        <a:pt x="13644" y="10342"/>
                      </a:cubicBezTo>
                      <a:cubicBezTo>
                        <a:pt x="13667" y="10402"/>
                        <a:pt x="13680" y="10455"/>
                        <a:pt x="13687" y="10488"/>
                      </a:cubicBezTo>
                      <a:cubicBezTo>
                        <a:pt x="13714" y="10610"/>
                        <a:pt x="13723" y="10730"/>
                        <a:pt x="13730" y="10845"/>
                      </a:cubicBezTo>
                      <a:cubicBezTo>
                        <a:pt x="13734" y="10901"/>
                        <a:pt x="13736" y="10962"/>
                        <a:pt x="13745" y="11014"/>
                      </a:cubicBezTo>
                      <a:lnTo>
                        <a:pt x="13824" y="11199"/>
                      </a:lnTo>
                      <a:lnTo>
                        <a:pt x="13905" y="11629"/>
                      </a:lnTo>
                      <a:cubicBezTo>
                        <a:pt x="13905" y="11632"/>
                        <a:pt x="13905" y="11636"/>
                        <a:pt x="13905" y="11640"/>
                      </a:cubicBezTo>
                      <a:cubicBezTo>
                        <a:pt x="13956" y="11782"/>
                        <a:pt x="14003" y="11986"/>
                        <a:pt x="13977" y="12232"/>
                      </a:cubicBezTo>
                      <a:cubicBezTo>
                        <a:pt x="13951" y="12493"/>
                        <a:pt x="13868" y="12766"/>
                        <a:pt x="13732" y="12946"/>
                      </a:cubicBezTo>
                      <a:cubicBezTo>
                        <a:pt x="13781" y="13010"/>
                        <a:pt x="13824" y="13085"/>
                        <a:pt x="13860" y="13169"/>
                      </a:cubicBezTo>
                      <a:lnTo>
                        <a:pt x="13918" y="13328"/>
                      </a:lnTo>
                      <a:cubicBezTo>
                        <a:pt x="13919" y="13332"/>
                        <a:pt x="13920" y="13337"/>
                        <a:pt x="13922" y="13341"/>
                      </a:cubicBezTo>
                      <a:cubicBezTo>
                        <a:pt x="14086" y="13362"/>
                        <a:pt x="14269" y="13392"/>
                        <a:pt x="14413" y="13622"/>
                      </a:cubicBezTo>
                      <a:cubicBezTo>
                        <a:pt x="14516" y="13777"/>
                        <a:pt x="14868" y="14376"/>
                        <a:pt x="14675" y="14959"/>
                      </a:cubicBezTo>
                      <a:cubicBezTo>
                        <a:pt x="14587" y="15224"/>
                        <a:pt x="14441" y="15336"/>
                        <a:pt x="14331" y="15386"/>
                      </a:cubicBezTo>
                      <a:cubicBezTo>
                        <a:pt x="14285" y="15489"/>
                        <a:pt x="14238" y="15583"/>
                        <a:pt x="14188" y="15660"/>
                      </a:cubicBezTo>
                      <a:cubicBezTo>
                        <a:pt x="14478" y="16129"/>
                        <a:pt x="14323" y="16577"/>
                        <a:pt x="14285" y="16670"/>
                      </a:cubicBezTo>
                      <a:lnTo>
                        <a:pt x="14258" y="16738"/>
                      </a:lnTo>
                      <a:cubicBezTo>
                        <a:pt x="14238" y="16840"/>
                        <a:pt x="14198" y="16966"/>
                        <a:pt x="14122" y="17077"/>
                      </a:cubicBezTo>
                      <a:cubicBezTo>
                        <a:pt x="14111" y="17095"/>
                        <a:pt x="14100" y="17111"/>
                        <a:pt x="14089" y="17125"/>
                      </a:cubicBezTo>
                      <a:cubicBezTo>
                        <a:pt x="14196" y="17264"/>
                        <a:pt x="14322" y="17433"/>
                        <a:pt x="14359" y="17708"/>
                      </a:cubicBezTo>
                      <a:cubicBezTo>
                        <a:pt x="14558" y="17798"/>
                        <a:pt x="14744" y="17974"/>
                        <a:pt x="14770" y="18389"/>
                      </a:cubicBezTo>
                      <a:cubicBezTo>
                        <a:pt x="14770" y="18393"/>
                        <a:pt x="14770" y="18398"/>
                        <a:pt x="14771" y="18403"/>
                      </a:cubicBezTo>
                      <a:cubicBezTo>
                        <a:pt x="14798" y="18393"/>
                        <a:pt x="14827" y="18387"/>
                        <a:pt x="14858" y="18383"/>
                      </a:cubicBezTo>
                      <a:lnTo>
                        <a:pt x="14950" y="18374"/>
                      </a:lnTo>
                      <a:lnTo>
                        <a:pt x="15000" y="18395"/>
                      </a:lnTo>
                      <a:cubicBezTo>
                        <a:pt x="15042" y="18377"/>
                        <a:pt x="15083" y="18364"/>
                        <a:pt x="15119" y="18355"/>
                      </a:cubicBezTo>
                      <a:cubicBezTo>
                        <a:pt x="15152" y="18201"/>
                        <a:pt x="15212" y="18085"/>
                        <a:pt x="15273" y="17986"/>
                      </a:cubicBezTo>
                      <a:cubicBezTo>
                        <a:pt x="15249" y="17750"/>
                        <a:pt x="15250" y="17456"/>
                        <a:pt x="15385" y="17208"/>
                      </a:cubicBezTo>
                      <a:lnTo>
                        <a:pt x="15529" y="16947"/>
                      </a:lnTo>
                      <a:lnTo>
                        <a:pt x="15907" y="16929"/>
                      </a:lnTo>
                      <a:cubicBezTo>
                        <a:pt x="16155" y="16929"/>
                        <a:pt x="16313" y="17097"/>
                        <a:pt x="16402" y="17238"/>
                      </a:cubicBezTo>
                      <a:cubicBezTo>
                        <a:pt x="16551" y="17477"/>
                        <a:pt x="16674" y="17771"/>
                        <a:pt x="16709" y="18060"/>
                      </a:cubicBezTo>
                      <a:lnTo>
                        <a:pt x="16822" y="18156"/>
                      </a:lnTo>
                      <a:cubicBezTo>
                        <a:pt x="16844" y="18179"/>
                        <a:pt x="16871" y="18213"/>
                        <a:pt x="16902" y="18254"/>
                      </a:cubicBezTo>
                      <a:cubicBezTo>
                        <a:pt x="16972" y="18190"/>
                        <a:pt x="17057" y="18144"/>
                        <a:pt x="17154" y="18144"/>
                      </a:cubicBezTo>
                      <a:lnTo>
                        <a:pt x="17430" y="18144"/>
                      </a:lnTo>
                      <a:lnTo>
                        <a:pt x="17707" y="18877"/>
                      </a:lnTo>
                      <a:lnTo>
                        <a:pt x="17644" y="19048"/>
                      </a:lnTo>
                      <a:cubicBezTo>
                        <a:pt x="17674" y="19186"/>
                        <a:pt x="17694" y="19348"/>
                        <a:pt x="17684" y="19510"/>
                      </a:cubicBezTo>
                      <a:lnTo>
                        <a:pt x="17713" y="19510"/>
                      </a:lnTo>
                      <a:lnTo>
                        <a:pt x="17920" y="19919"/>
                      </a:lnTo>
                      <a:cubicBezTo>
                        <a:pt x="17979" y="20075"/>
                        <a:pt x="18022" y="20355"/>
                        <a:pt x="18007" y="20625"/>
                      </a:cubicBezTo>
                      <a:cubicBezTo>
                        <a:pt x="18058" y="20670"/>
                        <a:pt x="18105" y="20723"/>
                        <a:pt x="18145" y="20786"/>
                      </a:cubicBezTo>
                      <a:lnTo>
                        <a:pt x="18286" y="21011"/>
                      </a:lnTo>
                      <a:lnTo>
                        <a:pt x="18289" y="21353"/>
                      </a:lnTo>
                      <a:cubicBezTo>
                        <a:pt x="18285" y="21433"/>
                        <a:pt x="18271" y="21517"/>
                        <a:pt x="18251" y="21600"/>
                      </a:cubicBezTo>
                      <a:cubicBezTo>
                        <a:pt x="18261" y="21597"/>
                        <a:pt x="18271" y="21595"/>
                        <a:pt x="18280" y="21592"/>
                      </a:cubicBezTo>
                      <a:cubicBezTo>
                        <a:pt x="18403" y="21439"/>
                        <a:pt x="18534" y="21401"/>
                        <a:pt x="18635" y="21401"/>
                      </a:cubicBezTo>
                      <a:lnTo>
                        <a:pt x="18751" y="21419"/>
                      </a:lnTo>
                      <a:lnTo>
                        <a:pt x="18784" y="21185"/>
                      </a:lnTo>
                      <a:lnTo>
                        <a:pt x="21264" y="19643"/>
                      </a:lnTo>
                      <a:cubicBezTo>
                        <a:pt x="21348" y="19195"/>
                        <a:pt x="21348" y="18929"/>
                        <a:pt x="21348" y="18690"/>
                      </a:cubicBezTo>
                      <a:cubicBezTo>
                        <a:pt x="21348" y="18515"/>
                        <a:pt x="21368" y="18175"/>
                        <a:pt x="21390" y="17819"/>
                      </a:cubicBezTo>
                      <a:cubicBezTo>
                        <a:pt x="21408" y="17524"/>
                        <a:pt x="21428" y="17216"/>
                        <a:pt x="21432" y="17004"/>
                      </a:cubicBezTo>
                      <a:cubicBezTo>
                        <a:pt x="21450" y="16302"/>
                        <a:pt x="21466" y="15949"/>
                        <a:pt x="21516" y="15714"/>
                      </a:cubicBezTo>
                      <a:cubicBezTo>
                        <a:pt x="21550" y="15556"/>
                        <a:pt x="21596" y="15257"/>
                        <a:pt x="21600" y="15172"/>
                      </a:cubicBezTo>
                      <a:cubicBezTo>
                        <a:pt x="21600" y="15130"/>
                        <a:pt x="21596" y="15048"/>
                        <a:pt x="21593" y="14954"/>
                      </a:cubicBezTo>
                      <a:cubicBezTo>
                        <a:pt x="21207" y="15123"/>
                        <a:pt x="20811" y="15273"/>
                        <a:pt x="20417" y="15429"/>
                      </a:cubicBezTo>
                      <a:cubicBezTo>
                        <a:pt x="20217" y="15508"/>
                        <a:pt x="20024" y="15592"/>
                        <a:pt x="19823" y="15668"/>
                      </a:cubicBezTo>
                      <a:cubicBezTo>
                        <a:pt x="19145" y="15926"/>
                        <a:pt x="18468" y="16171"/>
                        <a:pt x="17809" y="16401"/>
                      </a:cubicBezTo>
                      <a:lnTo>
                        <a:pt x="17384" y="16551"/>
                      </a:lnTo>
                      <a:lnTo>
                        <a:pt x="14211" y="1583"/>
                      </a:lnTo>
                      <a:cubicBezTo>
                        <a:pt x="14211" y="1583"/>
                        <a:pt x="14173" y="1779"/>
                        <a:pt x="14173" y="1779"/>
                      </a:cubicBezTo>
                      <a:close/>
                      <a:moveTo>
                        <a:pt x="14173" y="1779"/>
                      </a:moveTo>
                    </a:path>
                  </a:pathLst>
                </a:custGeom>
                <a:solidFill>
                  <a:schemeClr val="tx1">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44" name="Google Shape;463;p54">
                  <a:extLst>
                    <a:ext uri="{FF2B5EF4-FFF2-40B4-BE49-F238E27FC236}">
                      <a16:creationId xmlns:a16="http://schemas.microsoft.com/office/drawing/2014/main" id="{98AC5F44-96FB-4D70-AD8A-DBEA3A81D1EC}"/>
                    </a:ext>
                  </a:extLst>
                </p:cNvPr>
                <p:cNvSpPr/>
                <p:nvPr/>
              </p:nvSpPr>
              <p:spPr>
                <a:xfrm>
                  <a:off x="7180711" y="2742643"/>
                  <a:ext cx="155628" cy="352080"/>
                </a:xfrm>
                <a:custGeom>
                  <a:avLst/>
                  <a:gdLst/>
                  <a:ahLst/>
                  <a:cxnLst/>
                  <a:rect l="l" t="t" r="r" b="b"/>
                  <a:pathLst>
                    <a:path w="21600" h="21600" extrusionOk="0">
                      <a:moveTo>
                        <a:pt x="20507" y="9523"/>
                      </a:moveTo>
                      <a:cubicBezTo>
                        <a:pt x="20487" y="9133"/>
                        <a:pt x="20470" y="8790"/>
                        <a:pt x="20420" y="8575"/>
                      </a:cubicBezTo>
                      <a:cubicBezTo>
                        <a:pt x="20356" y="8302"/>
                        <a:pt x="20213" y="7992"/>
                        <a:pt x="20074" y="7748"/>
                      </a:cubicBezTo>
                      <a:cubicBezTo>
                        <a:pt x="19776" y="7748"/>
                        <a:pt x="19032" y="7734"/>
                        <a:pt x="18543" y="7609"/>
                      </a:cubicBezTo>
                      <a:cubicBezTo>
                        <a:pt x="18555" y="7611"/>
                        <a:pt x="18364" y="7597"/>
                        <a:pt x="18235" y="7589"/>
                      </a:cubicBezTo>
                      <a:cubicBezTo>
                        <a:pt x="18063" y="7614"/>
                        <a:pt x="17819" y="7649"/>
                        <a:pt x="17699" y="7673"/>
                      </a:cubicBezTo>
                      <a:lnTo>
                        <a:pt x="17400" y="7758"/>
                      </a:lnTo>
                      <a:lnTo>
                        <a:pt x="17020" y="7749"/>
                      </a:lnTo>
                      <a:cubicBezTo>
                        <a:pt x="16808" y="7749"/>
                        <a:pt x="16636" y="7728"/>
                        <a:pt x="16484" y="7711"/>
                      </a:cubicBezTo>
                      <a:lnTo>
                        <a:pt x="16432" y="7789"/>
                      </a:lnTo>
                      <a:lnTo>
                        <a:pt x="16120" y="7685"/>
                      </a:lnTo>
                      <a:cubicBezTo>
                        <a:pt x="15149" y="7633"/>
                        <a:pt x="14500" y="7390"/>
                        <a:pt x="14500" y="7042"/>
                      </a:cubicBezTo>
                      <a:cubicBezTo>
                        <a:pt x="14500" y="7039"/>
                        <a:pt x="14500" y="7037"/>
                        <a:pt x="14500" y="7036"/>
                      </a:cubicBezTo>
                      <a:cubicBezTo>
                        <a:pt x="14465" y="7005"/>
                        <a:pt x="14448" y="6963"/>
                        <a:pt x="14423" y="6926"/>
                      </a:cubicBezTo>
                      <a:cubicBezTo>
                        <a:pt x="14404" y="6898"/>
                        <a:pt x="14378" y="6875"/>
                        <a:pt x="14366" y="6845"/>
                      </a:cubicBezTo>
                      <a:cubicBezTo>
                        <a:pt x="14336" y="6762"/>
                        <a:pt x="14333" y="6670"/>
                        <a:pt x="14392" y="6568"/>
                      </a:cubicBezTo>
                      <a:cubicBezTo>
                        <a:pt x="14347" y="6508"/>
                        <a:pt x="14317" y="6439"/>
                        <a:pt x="14317" y="6361"/>
                      </a:cubicBezTo>
                      <a:cubicBezTo>
                        <a:pt x="14317" y="6151"/>
                        <a:pt x="14541" y="6001"/>
                        <a:pt x="14745" y="5902"/>
                      </a:cubicBezTo>
                      <a:cubicBezTo>
                        <a:pt x="14714" y="5845"/>
                        <a:pt x="14691" y="5786"/>
                        <a:pt x="14677" y="5721"/>
                      </a:cubicBezTo>
                      <a:cubicBezTo>
                        <a:pt x="14590" y="5347"/>
                        <a:pt x="14724" y="5076"/>
                        <a:pt x="15088" y="4892"/>
                      </a:cubicBezTo>
                      <a:cubicBezTo>
                        <a:pt x="15203" y="4835"/>
                        <a:pt x="15325" y="4792"/>
                        <a:pt x="15450" y="4759"/>
                      </a:cubicBezTo>
                      <a:cubicBezTo>
                        <a:pt x="15492" y="4748"/>
                        <a:pt x="15532" y="4743"/>
                        <a:pt x="15574" y="4734"/>
                      </a:cubicBezTo>
                      <a:cubicBezTo>
                        <a:pt x="15659" y="4716"/>
                        <a:pt x="15741" y="4698"/>
                        <a:pt x="15826" y="4688"/>
                      </a:cubicBezTo>
                      <a:cubicBezTo>
                        <a:pt x="15874" y="4682"/>
                        <a:pt x="15920" y="4679"/>
                        <a:pt x="15967" y="4674"/>
                      </a:cubicBezTo>
                      <a:cubicBezTo>
                        <a:pt x="16042" y="4668"/>
                        <a:pt x="16113" y="4662"/>
                        <a:pt x="16183" y="4659"/>
                      </a:cubicBezTo>
                      <a:cubicBezTo>
                        <a:pt x="16232" y="4657"/>
                        <a:pt x="16272" y="4656"/>
                        <a:pt x="16317" y="4656"/>
                      </a:cubicBezTo>
                      <a:cubicBezTo>
                        <a:pt x="16345" y="4655"/>
                        <a:pt x="16380" y="4653"/>
                        <a:pt x="16406" y="4653"/>
                      </a:cubicBezTo>
                      <a:cubicBezTo>
                        <a:pt x="16528" y="4440"/>
                        <a:pt x="16811" y="4228"/>
                        <a:pt x="16932" y="4154"/>
                      </a:cubicBezTo>
                      <a:cubicBezTo>
                        <a:pt x="16874" y="4185"/>
                        <a:pt x="16892" y="4118"/>
                        <a:pt x="16892" y="4073"/>
                      </a:cubicBezTo>
                      <a:cubicBezTo>
                        <a:pt x="16892" y="3988"/>
                        <a:pt x="16906" y="3671"/>
                        <a:pt x="16923" y="3537"/>
                      </a:cubicBezTo>
                      <a:cubicBezTo>
                        <a:pt x="16937" y="3397"/>
                        <a:pt x="17118" y="2914"/>
                        <a:pt x="17203" y="2729"/>
                      </a:cubicBezTo>
                      <a:cubicBezTo>
                        <a:pt x="17271" y="2579"/>
                        <a:pt x="17339" y="2404"/>
                        <a:pt x="17367" y="2271"/>
                      </a:cubicBezTo>
                      <a:cubicBezTo>
                        <a:pt x="17377" y="2195"/>
                        <a:pt x="17341" y="1962"/>
                        <a:pt x="17315" y="1776"/>
                      </a:cubicBezTo>
                      <a:lnTo>
                        <a:pt x="3803" y="0"/>
                      </a:lnTo>
                      <a:cubicBezTo>
                        <a:pt x="3706" y="35"/>
                        <a:pt x="3608" y="62"/>
                        <a:pt x="3511" y="83"/>
                      </a:cubicBezTo>
                      <a:cubicBezTo>
                        <a:pt x="3403" y="172"/>
                        <a:pt x="3260" y="238"/>
                        <a:pt x="3161" y="283"/>
                      </a:cubicBezTo>
                      <a:cubicBezTo>
                        <a:pt x="3109" y="307"/>
                        <a:pt x="3041" y="336"/>
                        <a:pt x="2976" y="381"/>
                      </a:cubicBezTo>
                      <a:cubicBezTo>
                        <a:pt x="2912" y="426"/>
                        <a:pt x="2811" y="594"/>
                        <a:pt x="2785" y="705"/>
                      </a:cubicBezTo>
                      <a:cubicBezTo>
                        <a:pt x="2774" y="764"/>
                        <a:pt x="2743" y="822"/>
                        <a:pt x="2707" y="874"/>
                      </a:cubicBezTo>
                      <a:cubicBezTo>
                        <a:pt x="2847" y="993"/>
                        <a:pt x="3010" y="1224"/>
                        <a:pt x="2618" y="1489"/>
                      </a:cubicBezTo>
                      <a:lnTo>
                        <a:pt x="2580" y="1564"/>
                      </a:lnTo>
                      <a:cubicBezTo>
                        <a:pt x="2489" y="1755"/>
                        <a:pt x="2416" y="1900"/>
                        <a:pt x="2296" y="2021"/>
                      </a:cubicBezTo>
                      <a:cubicBezTo>
                        <a:pt x="2209" y="2113"/>
                        <a:pt x="2056" y="2219"/>
                        <a:pt x="1798" y="2368"/>
                      </a:cubicBezTo>
                      <a:lnTo>
                        <a:pt x="2003" y="2771"/>
                      </a:lnTo>
                      <a:lnTo>
                        <a:pt x="1227" y="3028"/>
                      </a:lnTo>
                      <a:cubicBezTo>
                        <a:pt x="1182" y="3154"/>
                        <a:pt x="1138" y="3284"/>
                        <a:pt x="1013" y="3402"/>
                      </a:cubicBezTo>
                      <a:cubicBezTo>
                        <a:pt x="811" y="3581"/>
                        <a:pt x="501" y="3677"/>
                        <a:pt x="273" y="3747"/>
                      </a:cubicBezTo>
                      <a:cubicBezTo>
                        <a:pt x="197" y="3770"/>
                        <a:pt x="113" y="3795"/>
                        <a:pt x="33" y="3828"/>
                      </a:cubicBezTo>
                      <a:cubicBezTo>
                        <a:pt x="22" y="3832"/>
                        <a:pt x="12" y="3837"/>
                        <a:pt x="0" y="3841"/>
                      </a:cubicBezTo>
                      <a:cubicBezTo>
                        <a:pt x="30" y="3851"/>
                        <a:pt x="64" y="3861"/>
                        <a:pt x="95" y="3870"/>
                      </a:cubicBezTo>
                      <a:cubicBezTo>
                        <a:pt x="372" y="3958"/>
                        <a:pt x="533" y="4011"/>
                        <a:pt x="672" y="4081"/>
                      </a:cubicBezTo>
                      <a:cubicBezTo>
                        <a:pt x="778" y="4135"/>
                        <a:pt x="853" y="4189"/>
                        <a:pt x="910" y="4237"/>
                      </a:cubicBezTo>
                      <a:cubicBezTo>
                        <a:pt x="1133" y="4282"/>
                        <a:pt x="1382" y="4354"/>
                        <a:pt x="1568" y="4485"/>
                      </a:cubicBezTo>
                      <a:cubicBezTo>
                        <a:pt x="1913" y="4733"/>
                        <a:pt x="1862" y="5075"/>
                        <a:pt x="1453" y="5316"/>
                      </a:cubicBezTo>
                      <a:cubicBezTo>
                        <a:pt x="1469" y="5605"/>
                        <a:pt x="1185" y="5900"/>
                        <a:pt x="1180" y="5904"/>
                      </a:cubicBezTo>
                      <a:lnTo>
                        <a:pt x="898" y="6114"/>
                      </a:lnTo>
                      <a:cubicBezTo>
                        <a:pt x="785" y="6210"/>
                        <a:pt x="637" y="6279"/>
                        <a:pt x="480" y="6328"/>
                      </a:cubicBezTo>
                      <a:cubicBezTo>
                        <a:pt x="506" y="6391"/>
                        <a:pt x="511" y="6466"/>
                        <a:pt x="470" y="6548"/>
                      </a:cubicBezTo>
                      <a:cubicBezTo>
                        <a:pt x="674" y="6638"/>
                        <a:pt x="797" y="6749"/>
                        <a:pt x="844" y="6853"/>
                      </a:cubicBezTo>
                      <a:cubicBezTo>
                        <a:pt x="888" y="6947"/>
                        <a:pt x="884" y="7048"/>
                        <a:pt x="825" y="7145"/>
                      </a:cubicBezTo>
                      <a:cubicBezTo>
                        <a:pt x="846" y="7167"/>
                        <a:pt x="866" y="7190"/>
                        <a:pt x="881" y="7215"/>
                      </a:cubicBezTo>
                      <a:lnTo>
                        <a:pt x="1008" y="7211"/>
                      </a:lnTo>
                      <a:cubicBezTo>
                        <a:pt x="1817" y="7211"/>
                        <a:pt x="2710" y="7517"/>
                        <a:pt x="2964" y="7610"/>
                      </a:cubicBezTo>
                      <a:cubicBezTo>
                        <a:pt x="3476" y="7799"/>
                        <a:pt x="3589" y="8047"/>
                        <a:pt x="3650" y="8180"/>
                      </a:cubicBezTo>
                      <a:cubicBezTo>
                        <a:pt x="3770" y="8321"/>
                        <a:pt x="3779" y="8436"/>
                        <a:pt x="3789" y="8528"/>
                      </a:cubicBezTo>
                      <a:cubicBezTo>
                        <a:pt x="3791" y="8554"/>
                        <a:pt x="3793" y="8577"/>
                        <a:pt x="3796" y="8597"/>
                      </a:cubicBezTo>
                      <a:cubicBezTo>
                        <a:pt x="3901" y="8589"/>
                        <a:pt x="4014" y="8585"/>
                        <a:pt x="4134" y="8585"/>
                      </a:cubicBezTo>
                      <a:cubicBezTo>
                        <a:pt x="4280" y="8585"/>
                        <a:pt x="4793" y="8593"/>
                        <a:pt x="5227" y="8696"/>
                      </a:cubicBezTo>
                      <a:cubicBezTo>
                        <a:pt x="5612" y="8789"/>
                        <a:pt x="5833" y="8938"/>
                        <a:pt x="6224" y="9216"/>
                      </a:cubicBezTo>
                      <a:cubicBezTo>
                        <a:pt x="6271" y="9250"/>
                        <a:pt x="6317" y="9284"/>
                        <a:pt x="6360" y="9314"/>
                      </a:cubicBezTo>
                      <a:cubicBezTo>
                        <a:pt x="6587" y="9327"/>
                        <a:pt x="6808" y="9345"/>
                        <a:pt x="7046" y="9388"/>
                      </a:cubicBezTo>
                      <a:cubicBezTo>
                        <a:pt x="7589" y="9489"/>
                        <a:pt x="7984" y="9703"/>
                        <a:pt x="8339" y="9922"/>
                      </a:cubicBezTo>
                      <a:cubicBezTo>
                        <a:pt x="8388" y="9927"/>
                        <a:pt x="8442" y="9931"/>
                        <a:pt x="8494" y="9935"/>
                      </a:cubicBezTo>
                      <a:cubicBezTo>
                        <a:pt x="8724" y="9957"/>
                        <a:pt x="8987" y="9981"/>
                        <a:pt x="9234" y="10028"/>
                      </a:cubicBezTo>
                      <a:cubicBezTo>
                        <a:pt x="9728" y="10124"/>
                        <a:pt x="10007" y="10281"/>
                        <a:pt x="10181" y="10384"/>
                      </a:cubicBezTo>
                      <a:cubicBezTo>
                        <a:pt x="10425" y="10420"/>
                        <a:pt x="10766" y="10497"/>
                        <a:pt x="11015" y="10675"/>
                      </a:cubicBezTo>
                      <a:cubicBezTo>
                        <a:pt x="11760" y="11220"/>
                        <a:pt x="10947" y="11550"/>
                        <a:pt x="10682" y="11639"/>
                      </a:cubicBezTo>
                      <a:cubicBezTo>
                        <a:pt x="10592" y="11669"/>
                        <a:pt x="10514" y="11692"/>
                        <a:pt x="10441" y="11712"/>
                      </a:cubicBezTo>
                      <a:cubicBezTo>
                        <a:pt x="10263" y="11888"/>
                        <a:pt x="9937" y="11968"/>
                        <a:pt x="9594" y="12005"/>
                      </a:cubicBezTo>
                      <a:cubicBezTo>
                        <a:pt x="9398" y="12196"/>
                        <a:pt x="8919" y="12435"/>
                        <a:pt x="8702" y="12512"/>
                      </a:cubicBezTo>
                      <a:cubicBezTo>
                        <a:pt x="8428" y="12610"/>
                        <a:pt x="8249" y="12646"/>
                        <a:pt x="7953" y="12701"/>
                      </a:cubicBezTo>
                      <a:cubicBezTo>
                        <a:pt x="7922" y="12711"/>
                        <a:pt x="7866" y="12738"/>
                        <a:pt x="7774" y="12779"/>
                      </a:cubicBezTo>
                      <a:cubicBezTo>
                        <a:pt x="7565" y="12874"/>
                        <a:pt x="7511" y="12897"/>
                        <a:pt x="7476" y="12918"/>
                      </a:cubicBezTo>
                      <a:lnTo>
                        <a:pt x="7273" y="13066"/>
                      </a:lnTo>
                      <a:cubicBezTo>
                        <a:pt x="7088" y="13192"/>
                        <a:pt x="6931" y="13269"/>
                        <a:pt x="6766" y="13328"/>
                      </a:cubicBezTo>
                      <a:lnTo>
                        <a:pt x="6754" y="13372"/>
                      </a:lnTo>
                      <a:cubicBezTo>
                        <a:pt x="6606" y="13612"/>
                        <a:pt x="6219" y="13781"/>
                        <a:pt x="5869" y="13890"/>
                      </a:cubicBezTo>
                      <a:cubicBezTo>
                        <a:pt x="5935" y="13950"/>
                        <a:pt x="5991" y="14010"/>
                        <a:pt x="6028" y="14078"/>
                      </a:cubicBezTo>
                      <a:cubicBezTo>
                        <a:pt x="6066" y="14150"/>
                        <a:pt x="6085" y="14229"/>
                        <a:pt x="6080" y="14310"/>
                      </a:cubicBezTo>
                      <a:cubicBezTo>
                        <a:pt x="6066" y="14552"/>
                        <a:pt x="5845" y="14808"/>
                        <a:pt x="5317" y="14945"/>
                      </a:cubicBezTo>
                      <a:cubicBezTo>
                        <a:pt x="5142" y="14990"/>
                        <a:pt x="4966" y="15016"/>
                        <a:pt x="4820" y="15033"/>
                      </a:cubicBezTo>
                      <a:lnTo>
                        <a:pt x="4762" y="15070"/>
                      </a:lnTo>
                      <a:cubicBezTo>
                        <a:pt x="4550" y="15180"/>
                        <a:pt x="4334" y="15284"/>
                        <a:pt x="3883" y="15421"/>
                      </a:cubicBezTo>
                      <a:cubicBezTo>
                        <a:pt x="3448" y="15553"/>
                        <a:pt x="3049" y="15587"/>
                        <a:pt x="2738" y="15607"/>
                      </a:cubicBezTo>
                      <a:lnTo>
                        <a:pt x="2000" y="16087"/>
                      </a:lnTo>
                      <a:lnTo>
                        <a:pt x="1552" y="16472"/>
                      </a:lnTo>
                      <a:lnTo>
                        <a:pt x="1443" y="16455"/>
                      </a:lnTo>
                      <a:cubicBezTo>
                        <a:pt x="1453" y="16477"/>
                        <a:pt x="1457" y="16548"/>
                        <a:pt x="1457" y="16585"/>
                      </a:cubicBezTo>
                      <a:lnTo>
                        <a:pt x="1462" y="16684"/>
                      </a:lnTo>
                      <a:lnTo>
                        <a:pt x="1380" y="16875"/>
                      </a:lnTo>
                      <a:cubicBezTo>
                        <a:pt x="1326" y="16933"/>
                        <a:pt x="1263" y="16982"/>
                        <a:pt x="1197" y="17022"/>
                      </a:cubicBezTo>
                      <a:cubicBezTo>
                        <a:pt x="1206" y="17175"/>
                        <a:pt x="1217" y="17302"/>
                        <a:pt x="1107" y="17436"/>
                      </a:cubicBezTo>
                      <a:cubicBezTo>
                        <a:pt x="1070" y="17483"/>
                        <a:pt x="1020" y="17523"/>
                        <a:pt x="959" y="17570"/>
                      </a:cubicBezTo>
                      <a:cubicBezTo>
                        <a:pt x="1319" y="17649"/>
                        <a:pt x="1568" y="17771"/>
                        <a:pt x="1714" y="17934"/>
                      </a:cubicBezTo>
                      <a:cubicBezTo>
                        <a:pt x="1899" y="18153"/>
                        <a:pt x="1837" y="18356"/>
                        <a:pt x="1761" y="18499"/>
                      </a:cubicBezTo>
                      <a:cubicBezTo>
                        <a:pt x="1857" y="18587"/>
                        <a:pt x="1961" y="18709"/>
                        <a:pt x="1972" y="18840"/>
                      </a:cubicBezTo>
                      <a:cubicBezTo>
                        <a:pt x="2024" y="18837"/>
                        <a:pt x="2078" y="18836"/>
                        <a:pt x="2134" y="18836"/>
                      </a:cubicBezTo>
                      <a:lnTo>
                        <a:pt x="2804" y="18836"/>
                      </a:lnTo>
                      <a:lnTo>
                        <a:pt x="3419" y="19260"/>
                      </a:lnTo>
                      <a:cubicBezTo>
                        <a:pt x="3718" y="19289"/>
                        <a:pt x="4035" y="19352"/>
                        <a:pt x="4280" y="19516"/>
                      </a:cubicBezTo>
                      <a:lnTo>
                        <a:pt x="4322" y="19539"/>
                      </a:lnTo>
                      <a:cubicBezTo>
                        <a:pt x="4428" y="19527"/>
                        <a:pt x="4545" y="19519"/>
                        <a:pt x="4677" y="19519"/>
                      </a:cubicBezTo>
                      <a:lnTo>
                        <a:pt x="5051" y="19519"/>
                      </a:lnTo>
                      <a:lnTo>
                        <a:pt x="5419" y="19620"/>
                      </a:lnTo>
                      <a:cubicBezTo>
                        <a:pt x="5497" y="19644"/>
                        <a:pt x="5659" y="19711"/>
                        <a:pt x="5840" y="19788"/>
                      </a:cubicBezTo>
                      <a:lnTo>
                        <a:pt x="6068" y="19786"/>
                      </a:lnTo>
                      <a:cubicBezTo>
                        <a:pt x="6376" y="19786"/>
                        <a:pt x="7069" y="19857"/>
                        <a:pt x="7504" y="20051"/>
                      </a:cubicBezTo>
                      <a:cubicBezTo>
                        <a:pt x="7826" y="20062"/>
                        <a:pt x="8136" y="20096"/>
                        <a:pt x="8390" y="20188"/>
                      </a:cubicBezTo>
                      <a:cubicBezTo>
                        <a:pt x="8639" y="20225"/>
                        <a:pt x="8843" y="20289"/>
                        <a:pt x="8994" y="20375"/>
                      </a:cubicBezTo>
                      <a:cubicBezTo>
                        <a:pt x="9158" y="20350"/>
                        <a:pt x="9389" y="20314"/>
                        <a:pt x="9483" y="20295"/>
                      </a:cubicBezTo>
                      <a:cubicBezTo>
                        <a:pt x="9852" y="20211"/>
                        <a:pt x="10169" y="20146"/>
                        <a:pt x="10545" y="20146"/>
                      </a:cubicBezTo>
                      <a:lnTo>
                        <a:pt x="11043" y="20146"/>
                      </a:lnTo>
                      <a:lnTo>
                        <a:pt x="11293" y="20245"/>
                      </a:lnTo>
                      <a:cubicBezTo>
                        <a:pt x="11457" y="20233"/>
                        <a:pt x="11596" y="20233"/>
                        <a:pt x="11684" y="20233"/>
                      </a:cubicBezTo>
                      <a:cubicBezTo>
                        <a:pt x="12006" y="20233"/>
                        <a:pt x="13548" y="20319"/>
                        <a:pt x="14211" y="20698"/>
                      </a:cubicBezTo>
                      <a:cubicBezTo>
                        <a:pt x="14691" y="20968"/>
                        <a:pt x="14907" y="21284"/>
                        <a:pt x="14832" y="21600"/>
                      </a:cubicBezTo>
                      <a:cubicBezTo>
                        <a:pt x="14867" y="21545"/>
                        <a:pt x="14918" y="21489"/>
                        <a:pt x="14989" y="21435"/>
                      </a:cubicBezTo>
                      <a:cubicBezTo>
                        <a:pt x="14996" y="21373"/>
                        <a:pt x="15060" y="21264"/>
                        <a:pt x="15208" y="21158"/>
                      </a:cubicBezTo>
                      <a:cubicBezTo>
                        <a:pt x="15144" y="21055"/>
                        <a:pt x="15156" y="20965"/>
                        <a:pt x="15168" y="20921"/>
                      </a:cubicBezTo>
                      <a:cubicBezTo>
                        <a:pt x="15154" y="20675"/>
                        <a:pt x="15142" y="20479"/>
                        <a:pt x="15424" y="20303"/>
                      </a:cubicBezTo>
                      <a:cubicBezTo>
                        <a:pt x="15461" y="20194"/>
                        <a:pt x="15532" y="20085"/>
                        <a:pt x="15680" y="19987"/>
                      </a:cubicBezTo>
                      <a:cubicBezTo>
                        <a:pt x="15805" y="19757"/>
                        <a:pt x="16091" y="19402"/>
                        <a:pt x="16291" y="19235"/>
                      </a:cubicBezTo>
                      <a:cubicBezTo>
                        <a:pt x="16491" y="19070"/>
                        <a:pt x="16769" y="18940"/>
                        <a:pt x="16954" y="18853"/>
                      </a:cubicBezTo>
                      <a:cubicBezTo>
                        <a:pt x="17081" y="18653"/>
                        <a:pt x="17346" y="18389"/>
                        <a:pt x="17816" y="18165"/>
                      </a:cubicBezTo>
                      <a:lnTo>
                        <a:pt x="18336" y="17931"/>
                      </a:lnTo>
                      <a:cubicBezTo>
                        <a:pt x="18533" y="17843"/>
                        <a:pt x="18714" y="17767"/>
                        <a:pt x="18806" y="17714"/>
                      </a:cubicBezTo>
                      <a:cubicBezTo>
                        <a:pt x="18784" y="17709"/>
                        <a:pt x="18928" y="17575"/>
                        <a:pt x="19433" y="17232"/>
                      </a:cubicBezTo>
                      <a:cubicBezTo>
                        <a:pt x="19628" y="17097"/>
                        <a:pt x="19774" y="16925"/>
                        <a:pt x="19797" y="16880"/>
                      </a:cubicBezTo>
                      <a:cubicBezTo>
                        <a:pt x="19799" y="16874"/>
                        <a:pt x="19802" y="16869"/>
                        <a:pt x="19804" y="16863"/>
                      </a:cubicBezTo>
                      <a:cubicBezTo>
                        <a:pt x="19588" y="16758"/>
                        <a:pt x="19429" y="16635"/>
                        <a:pt x="19407" y="16475"/>
                      </a:cubicBezTo>
                      <a:lnTo>
                        <a:pt x="19377" y="16241"/>
                      </a:lnTo>
                      <a:lnTo>
                        <a:pt x="19758" y="16058"/>
                      </a:lnTo>
                      <a:cubicBezTo>
                        <a:pt x="19910" y="15993"/>
                        <a:pt x="20054" y="15954"/>
                        <a:pt x="20213" y="15914"/>
                      </a:cubicBezTo>
                      <a:cubicBezTo>
                        <a:pt x="20337" y="15731"/>
                        <a:pt x="20517" y="15486"/>
                        <a:pt x="20582" y="15425"/>
                      </a:cubicBezTo>
                      <a:cubicBezTo>
                        <a:pt x="20728" y="15241"/>
                        <a:pt x="21581" y="13815"/>
                        <a:pt x="21600" y="13559"/>
                      </a:cubicBezTo>
                      <a:cubicBezTo>
                        <a:pt x="21583" y="13471"/>
                        <a:pt x="21473" y="13246"/>
                        <a:pt x="21344" y="12961"/>
                      </a:cubicBezTo>
                      <a:cubicBezTo>
                        <a:pt x="21125" y="12482"/>
                        <a:pt x="20824" y="11825"/>
                        <a:pt x="20692" y="11244"/>
                      </a:cubicBezTo>
                      <a:cubicBezTo>
                        <a:pt x="20568" y="10709"/>
                        <a:pt x="20535" y="10072"/>
                        <a:pt x="20507" y="9523"/>
                      </a:cubicBezTo>
                      <a:close/>
                      <a:moveTo>
                        <a:pt x="20507" y="9523"/>
                      </a:moveTo>
                    </a:path>
                  </a:pathLst>
                </a:custGeom>
                <a:solidFill>
                  <a:schemeClr val="bg1">
                    <a:lumMod val="95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45" name="Google Shape;464;p54">
                  <a:extLst>
                    <a:ext uri="{FF2B5EF4-FFF2-40B4-BE49-F238E27FC236}">
                      <a16:creationId xmlns:a16="http://schemas.microsoft.com/office/drawing/2014/main" id="{163E17F1-1322-47DE-BCA7-9697DD4F227A}"/>
                    </a:ext>
                  </a:extLst>
                </p:cNvPr>
                <p:cNvSpPr/>
                <p:nvPr/>
              </p:nvSpPr>
              <p:spPr>
                <a:xfrm>
                  <a:off x="6029562" y="2228300"/>
                  <a:ext cx="1512" cy="8694"/>
                </a:xfrm>
                <a:custGeom>
                  <a:avLst/>
                  <a:gdLst/>
                  <a:ahLst/>
                  <a:cxnLst/>
                  <a:rect l="l" t="t" r="r" b="b"/>
                  <a:pathLst>
                    <a:path w="21600" h="21600" extrusionOk="0">
                      <a:moveTo>
                        <a:pt x="4075" y="0"/>
                      </a:moveTo>
                      <a:lnTo>
                        <a:pt x="0" y="21600"/>
                      </a:lnTo>
                      <a:lnTo>
                        <a:pt x="21600" y="3546"/>
                      </a:lnTo>
                      <a:cubicBezTo>
                        <a:pt x="15247" y="2368"/>
                        <a:pt x="9683" y="1196"/>
                        <a:pt x="4469" y="25"/>
                      </a:cubicBezTo>
                      <a:cubicBezTo>
                        <a:pt x="4250" y="0"/>
                        <a:pt x="4250" y="0"/>
                        <a:pt x="4075" y="0"/>
                      </a:cubicBezTo>
                      <a:close/>
                      <a:moveTo>
                        <a:pt x="4075" y="0"/>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46" name="Google Shape;465;p54">
                  <a:extLst>
                    <a:ext uri="{FF2B5EF4-FFF2-40B4-BE49-F238E27FC236}">
                      <a16:creationId xmlns:a16="http://schemas.microsoft.com/office/drawing/2014/main" id="{6A2CD8D6-97EB-42AA-8065-E4C2FA0DC1E5}"/>
                    </a:ext>
                  </a:extLst>
                </p:cNvPr>
                <p:cNvSpPr/>
                <p:nvPr/>
              </p:nvSpPr>
              <p:spPr>
                <a:xfrm>
                  <a:off x="6715353" y="3122278"/>
                  <a:ext cx="67338" cy="69390"/>
                </a:xfrm>
                <a:custGeom>
                  <a:avLst/>
                  <a:gdLst/>
                  <a:ahLst/>
                  <a:cxnLst/>
                  <a:rect l="l" t="t" r="r" b="b"/>
                  <a:pathLst>
                    <a:path w="21600" h="21600" extrusionOk="0">
                      <a:moveTo>
                        <a:pt x="5492" y="3487"/>
                      </a:moveTo>
                      <a:cubicBezTo>
                        <a:pt x="4699" y="3656"/>
                        <a:pt x="3914" y="3830"/>
                        <a:pt x="3117" y="4003"/>
                      </a:cubicBezTo>
                      <a:cubicBezTo>
                        <a:pt x="2076" y="4227"/>
                        <a:pt x="1039" y="4454"/>
                        <a:pt x="0" y="4678"/>
                      </a:cubicBezTo>
                      <a:lnTo>
                        <a:pt x="3643" y="21600"/>
                      </a:lnTo>
                      <a:cubicBezTo>
                        <a:pt x="3800" y="21456"/>
                        <a:pt x="3980" y="21317"/>
                        <a:pt x="4187" y="21191"/>
                      </a:cubicBezTo>
                      <a:lnTo>
                        <a:pt x="4164" y="20620"/>
                      </a:lnTo>
                      <a:lnTo>
                        <a:pt x="5671" y="19827"/>
                      </a:lnTo>
                      <a:cubicBezTo>
                        <a:pt x="5946" y="19680"/>
                        <a:pt x="6268" y="19520"/>
                        <a:pt x="6597" y="19368"/>
                      </a:cubicBezTo>
                      <a:cubicBezTo>
                        <a:pt x="6723" y="18796"/>
                        <a:pt x="6955" y="18176"/>
                        <a:pt x="7449" y="17686"/>
                      </a:cubicBezTo>
                      <a:cubicBezTo>
                        <a:pt x="7727" y="17157"/>
                        <a:pt x="8084" y="16532"/>
                        <a:pt x="8647" y="16028"/>
                      </a:cubicBezTo>
                      <a:cubicBezTo>
                        <a:pt x="8886" y="15317"/>
                        <a:pt x="9239" y="14827"/>
                        <a:pt x="9628" y="14488"/>
                      </a:cubicBezTo>
                      <a:cubicBezTo>
                        <a:pt x="9970" y="13623"/>
                        <a:pt x="10620" y="13130"/>
                        <a:pt x="11087" y="12828"/>
                      </a:cubicBezTo>
                      <a:cubicBezTo>
                        <a:pt x="11234" y="12374"/>
                        <a:pt x="11390" y="11763"/>
                        <a:pt x="11424" y="11522"/>
                      </a:cubicBezTo>
                      <a:cubicBezTo>
                        <a:pt x="11512" y="9900"/>
                        <a:pt x="12736" y="8843"/>
                        <a:pt x="15044" y="8447"/>
                      </a:cubicBezTo>
                      <a:cubicBezTo>
                        <a:pt x="15305" y="8327"/>
                        <a:pt x="16296" y="8172"/>
                        <a:pt x="17506" y="8533"/>
                      </a:cubicBezTo>
                      <a:cubicBezTo>
                        <a:pt x="17923" y="7708"/>
                        <a:pt x="18650" y="7119"/>
                        <a:pt x="19186" y="6684"/>
                      </a:cubicBezTo>
                      <a:cubicBezTo>
                        <a:pt x="19344" y="6556"/>
                        <a:pt x="19507" y="6432"/>
                        <a:pt x="19631" y="6304"/>
                      </a:cubicBezTo>
                      <a:cubicBezTo>
                        <a:pt x="19589" y="6307"/>
                        <a:pt x="19755" y="5918"/>
                        <a:pt x="20049" y="4913"/>
                      </a:cubicBezTo>
                      <a:lnTo>
                        <a:pt x="20234" y="4360"/>
                      </a:lnTo>
                      <a:cubicBezTo>
                        <a:pt x="20428" y="3946"/>
                        <a:pt x="20656" y="3602"/>
                        <a:pt x="20896" y="3319"/>
                      </a:cubicBezTo>
                      <a:cubicBezTo>
                        <a:pt x="20922" y="2809"/>
                        <a:pt x="21068" y="2346"/>
                        <a:pt x="21275" y="1944"/>
                      </a:cubicBezTo>
                      <a:lnTo>
                        <a:pt x="21225" y="1703"/>
                      </a:lnTo>
                      <a:cubicBezTo>
                        <a:pt x="21150" y="1000"/>
                        <a:pt x="21346" y="430"/>
                        <a:pt x="21600" y="0"/>
                      </a:cubicBezTo>
                      <a:cubicBezTo>
                        <a:pt x="16249" y="1173"/>
                        <a:pt x="10871" y="2330"/>
                        <a:pt x="5492" y="3487"/>
                      </a:cubicBezTo>
                      <a:close/>
                      <a:moveTo>
                        <a:pt x="5492" y="3487"/>
                      </a:moveTo>
                    </a:path>
                  </a:pathLst>
                </a:custGeom>
                <a:solidFill>
                  <a:schemeClr val="tx1">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47" name="Google Shape;466;p54">
                  <a:extLst>
                    <a:ext uri="{FF2B5EF4-FFF2-40B4-BE49-F238E27FC236}">
                      <a16:creationId xmlns:a16="http://schemas.microsoft.com/office/drawing/2014/main" id="{40A30F83-682F-4831-88F8-29CA982E1588}"/>
                    </a:ext>
                  </a:extLst>
                </p:cNvPr>
                <p:cNvSpPr/>
                <p:nvPr/>
              </p:nvSpPr>
              <p:spPr>
                <a:xfrm>
                  <a:off x="6801077" y="3110032"/>
                  <a:ext cx="29106" cy="16848"/>
                </a:xfrm>
                <a:custGeom>
                  <a:avLst/>
                  <a:gdLst/>
                  <a:ahLst/>
                  <a:cxnLst/>
                  <a:rect l="l" t="t" r="r" b="b"/>
                  <a:pathLst>
                    <a:path w="21600" h="21600" extrusionOk="0">
                      <a:moveTo>
                        <a:pt x="0" y="8467"/>
                      </a:moveTo>
                      <a:cubicBezTo>
                        <a:pt x="88" y="8630"/>
                        <a:pt x="176" y="8798"/>
                        <a:pt x="264" y="8971"/>
                      </a:cubicBezTo>
                      <a:cubicBezTo>
                        <a:pt x="2246" y="10618"/>
                        <a:pt x="3304" y="13105"/>
                        <a:pt x="3879" y="15195"/>
                      </a:cubicBezTo>
                      <a:lnTo>
                        <a:pt x="5072" y="19590"/>
                      </a:lnTo>
                      <a:cubicBezTo>
                        <a:pt x="5998" y="20661"/>
                        <a:pt x="7232" y="21322"/>
                        <a:pt x="8091" y="21600"/>
                      </a:cubicBezTo>
                      <a:cubicBezTo>
                        <a:pt x="8751" y="21132"/>
                        <a:pt x="9410" y="20707"/>
                        <a:pt x="10208" y="20409"/>
                      </a:cubicBezTo>
                      <a:lnTo>
                        <a:pt x="11893" y="20111"/>
                      </a:lnTo>
                      <a:cubicBezTo>
                        <a:pt x="13289" y="20111"/>
                        <a:pt x="14761" y="20707"/>
                        <a:pt x="16179" y="21440"/>
                      </a:cubicBezTo>
                      <a:cubicBezTo>
                        <a:pt x="17091" y="20549"/>
                        <a:pt x="17962" y="19953"/>
                        <a:pt x="18809" y="19548"/>
                      </a:cubicBezTo>
                      <a:cubicBezTo>
                        <a:pt x="18645" y="17993"/>
                        <a:pt x="18645" y="16364"/>
                        <a:pt x="18836" y="14724"/>
                      </a:cubicBezTo>
                      <a:cubicBezTo>
                        <a:pt x="19008" y="13138"/>
                        <a:pt x="19343" y="11671"/>
                        <a:pt x="19794" y="10340"/>
                      </a:cubicBezTo>
                      <a:cubicBezTo>
                        <a:pt x="19744" y="9864"/>
                        <a:pt x="19697" y="9353"/>
                        <a:pt x="19671" y="8820"/>
                      </a:cubicBezTo>
                      <a:lnTo>
                        <a:pt x="19472" y="4072"/>
                      </a:lnTo>
                      <a:lnTo>
                        <a:pt x="21600" y="0"/>
                      </a:lnTo>
                      <a:cubicBezTo>
                        <a:pt x="14423" y="2828"/>
                        <a:pt x="7218" y="5659"/>
                        <a:pt x="0" y="8467"/>
                      </a:cubicBezTo>
                      <a:close/>
                      <a:moveTo>
                        <a:pt x="0" y="8467"/>
                      </a:moveTo>
                    </a:path>
                  </a:pathLst>
                </a:custGeom>
                <a:solidFill>
                  <a:schemeClr val="tx1">
                    <a:lumMod val="20000"/>
                    <a:lumOff val="80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grpSp>
          <p:sp>
            <p:nvSpPr>
              <p:cNvPr id="22" name="Google Shape;467;p54">
                <a:extLst>
                  <a:ext uri="{FF2B5EF4-FFF2-40B4-BE49-F238E27FC236}">
                    <a16:creationId xmlns:a16="http://schemas.microsoft.com/office/drawing/2014/main" id="{AAD7F166-C6A6-4383-8583-481CC8FB6ECB}"/>
                  </a:ext>
                </a:extLst>
              </p:cNvPr>
              <p:cNvSpPr/>
              <p:nvPr/>
            </p:nvSpPr>
            <p:spPr>
              <a:xfrm>
                <a:off x="7261403" y="6194621"/>
                <a:ext cx="0" cy="0"/>
              </a:xfrm>
              <a:custGeom>
                <a:avLst/>
                <a:gdLst/>
                <a:ahLst/>
                <a:cxnLst/>
                <a:rect l="l" t="t" r="r" b="b"/>
                <a:pathLst>
                  <a:path w="21600" h="21600" extrusionOk="0">
                    <a:moveTo>
                      <a:pt x="0" y="0"/>
                    </a:moveTo>
                    <a:lnTo>
                      <a:pt x="0" y="0"/>
                    </a:lnTo>
                    <a:cubicBezTo>
                      <a:pt x="0" y="0"/>
                      <a:pt x="0" y="0"/>
                      <a:pt x="0" y="0"/>
                    </a:cubicBezTo>
                    <a:cubicBezTo>
                      <a:pt x="0" y="0"/>
                      <a:pt x="0" y="0"/>
                      <a:pt x="0" y="0"/>
                    </a:cubicBezTo>
                    <a:close/>
                    <a:moveTo>
                      <a:pt x="0" y="0"/>
                    </a:moveTo>
                  </a:path>
                </a:pathLst>
              </a:custGeom>
              <a:solidFill>
                <a:srgbClr val="A5A5A5"/>
              </a:solid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005A74"/>
                  </a:solidFill>
                  <a:effectLst/>
                  <a:uLnTx/>
                  <a:uFillTx/>
                  <a:latin typeface="Arial"/>
                  <a:ea typeface="Arial"/>
                  <a:cs typeface="Arial"/>
                  <a:sym typeface="Arial"/>
                </a:endParaRPr>
              </a:p>
            </p:txBody>
          </p:sp>
        </p:grpSp>
        <p:sp>
          <p:nvSpPr>
            <p:cNvPr id="14" name="Google Shape;468;p54">
              <a:extLst>
                <a:ext uri="{FF2B5EF4-FFF2-40B4-BE49-F238E27FC236}">
                  <a16:creationId xmlns:a16="http://schemas.microsoft.com/office/drawing/2014/main" id="{2A748920-0695-4B1B-8D4C-C1EF72AA6D7C}"/>
                </a:ext>
              </a:extLst>
            </p:cNvPr>
            <p:cNvSpPr/>
            <p:nvPr/>
          </p:nvSpPr>
          <p:spPr>
            <a:xfrm>
              <a:off x="4922553" y="3239710"/>
              <a:ext cx="1360152" cy="1295460"/>
            </a:xfrm>
            <a:custGeom>
              <a:avLst/>
              <a:gdLst/>
              <a:ahLst/>
              <a:cxnLst/>
              <a:rect l="l" t="t" r="r" b="b"/>
              <a:pathLst>
                <a:path w="21600" h="21600" extrusionOk="0">
                  <a:moveTo>
                    <a:pt x="21382" y="12856"/>
                  </a:moveTo>
                  <a:lnTo>
                    <a:pt x="21381" y="12854"/>
                  </a:lnTo>
                  <a:lnTo>
                    <a:pt x="21387" y="12805"/>
                  </a:lnTo>
                  <a:cubicBezTo>
                    <a:pt x="21393" y="12765"/>
                    <a:pt x="21421" y="12729"/>
                    <a:pt x="21442" y="12707"/>
                  </a:cubicBezTo>
                  <a:cubicBezTo>
                    <a:pt x="21443" y="12704"/>
                    <a:pt x="21443" y="12702"/>
                    <a:pt x="21444" y="12699"/>
                  </a:cubicBezTo>
                  <a:cubicBezTo>
                    <a:pt x="21442" y="12694"/>
                    <a:pt x="21438" y="12688"/>
                    <a:pt x="21435" y="12683"/>
                  </a:cubicBezTo>
                  <a:cubicBezTo>
                    <a:pt x="21413" y="12643"/>
                    <a:pt x="21401" y="12622"/>
                    <a:pt x="21397" y="12596"/>
                  </a:cubicBezTo>
                  <a:cubicBezTo>
                    <a:pt x="21390" y="12559"/>
                    <a:pt x="21403" y="12524"/>
                    <a:pt x="21412" y="12498"/>
                  </a:cubicBezTo>
                  <a:cubicBezTo>
                    <a:pt x="21412" y="12496"/>
                    <a:pt x="21409" y="12486"/>
                    <a:pt x="21406" y="12476"/>
                  </a:cubicBezTo>
                  <a:cubicBezTo>
                    <a:pt x="21403" y="12466"/>
                    <a:pt x="21401" y="12458"/>
                    <a:pt x="21399" y="12449"/>
                  </a:cubicBezTo>
                  <a:cubicBezTo>
                    <a:pt x="21392" y="12441"/>
                    <a:pt x="21382" y="12432"/>
                    <a:pt x="21374" y="12424"/>
                  </a:cubicBezTo>
                  <a:cubicBezTo>
                    <a:pt x="21334" y="12384"/>
                    <a:pt x="21308" y="12358"/>
                    <a:pt x="21305" y="12309"/>
                  </a:cubicBezTo>
                  <a:cubicBezTo>
                    <a:pt x="21304" y="12290"/>
                    <a:pt x="21308" y="12270"/>
                    <a:pt x="21313" y="12252"/>
                  </a:cubicBezTo>
                  <a:cubicBezTo>
                    <a:pt x="21313" y="12251"/>
                    <a:pt x="21313" y="12250"/>
                    <a:pt x="21313" y="12248"/>
                  </a:cubicBezTo>
                  <a:cubicBezTo>
                    <a:pt x="21309" y="12232"/>
                    <a:pt x="21306" y="12218"/>
                    <a:pt x="21305" y="12213"/>
                  </a:cubicBezTo>
                  <a:cubicBezTo>
                    <a:pt x="21296" y="12157"/>
                    <a:pt x="21326" y="12122"/>
                    <a:pt x="21381" y="12069"/>
                  </a:cubicBezTo>
                  <a:cubicBezTo>
                    <a:pt x="21380" y="12066"/>
                    <a:pt x="21379" y="12063"/>
                    <a:pt x="21378" y="12060"/>
                  </a:cubicBezTo>
                  <a:cubicBezTo>
                    <a:pt x="21372" y="12041"/>
                    <a:pt x="21369" y="12012"/>
                    <a:pt x="21369" y="11985"/>
                  </a:cubicBezTo>
                  <a:cubicBezTo>
                    <a:pt x="21363" y="11980"/>
                    <a:pt x="21358" y="11974"/>
                    <a:pt x="21353" y="11967"/>
                  </a:cubicBezTo>
                  <a:cubicBezTo>
                    <a:pt x="21312" y="11905"/>
                    <a:pt x="21340" y="11786"/>
                    <a:pt x="21340" y="11785"/>
                  </a:cubicBezTo>
                  <a:cubicBezTo>
                    <a:pt x="21349" y="11754"/>
                    <a:pt x="21370" y="11730"/>
                    <a:pt x="21393" y="11711"/>
                  </a:cubicBezTo>
                  <a:cubicBezTo>
                    <a:pt x="21392" y="11663"/>
                    <a:pt x="21403" y="11619"/>
                    <a:pt x="21425" y="11583"/>
                  </a:cubicBezTo>
                  <a:cubicBezTo>
                    <a:pt x="21445" y="11551"/>
                    <a:pt x="21473" y="11531"/>
                    <a:pt x="21498" y="11519"/>
                  </a:cubicBezTo>
                  <a:cubicBezTo>
                    <a:pt x="21498" y="11518"/>
                    <a:pt x="21498" y="11517"/>
                    <a:pt x="21498" y="11516"/>
                  </a:cubicBezTo>
                  <a:cubicBezTo>
                    <a:pt x="21493" y="11503"/>
                    <a:pt x="21488" y="11487"/>
                    <a:pt x="21486" y="11468"/>
                  </a:cubicBezTo>
                  <a:cubicBezTo>
                    <a:pt x="21485" y="11447"/>
                    <a:pt x="21487" y="11402"/>
                    <a:pt x="21527" y="11364"/>
                  </a:cubicBezTo>
                  <a:cubicBezTo>
                    <a:pt x="21527" y="11362"/>
                    <a:pt x="21527" y="11360"/>
                    <a:pt x="21527" y="11358"/>
                  </a:cubicBezTo>
                  <a:cubicBezTo>
                    <a:pt x="21527" y="11309"/>
                    <a:pt x="21553" y="11277"/>
                    <a:pt x="21579" y="11255"/>
                  </a:cubicBezTo>
                  <a:cubicBezTo>
                    <a:pt x="21577" y="11247"/>
                    <a:pt x="21576" y="11240"/>
                    <a:pt x="21574" y="11236"/>
                  </a:cubicBezTo>
                  <a:cubicBezTo>
                    <a:pt x="21541" y="11186"/>
                    <a:pt x="21562" y="11105"/>
                    <a:pt x="21587" y="11059"/>
                  </a:cubicBezTo>
                  <a:cubicBezTo>
                    <a:pt x="21567" y="11037"/>
                    <a:pt x="21550" y="11014"/>
                    <a:pt x="21543" y="10985"/>
                  </a:cubicBezTo>
                  <a:cubicBezTo>
                    <a:pt x="21525" y="10918"/>
                    <a:pt x="21562" y="10867"/>
                    <a:pt x="21600" y="10833"/>
                  </a:cubicBezTo>
                  <a:cubicBezTo>
                    <a:pt x="21594" y="10826"/>
                    <a:pt x="21588" y="10818"/>
                    <a:pt x="21583" y="10809"/>
                  </a:cubicBezTo>
                  <a:cubicBezTo>
                    <a:pt x="21565" y="10780"/>
                    <a:pt x="21558" y="10744"/>
                    <a:pt x="21562" y="10705"/>
                  </a:cubicBezTo>
                  <a:lnTo>
                    <a:pt x="21549" y="10705"/>
                  </a:lnTo>
                  <a:lnTo>
                    <a:pt x="21505" y="10665"/>
                  </a:lnTo>
                  <a:cubicBezTo>
                    <a:pt x="21474" y="10631"/>
                    <a:pt x="21461" y="10583"/>
                    <a:pt x="21458" y="10542"/>
                  </a:cubicBezTo>
                  <a:lnTo>
                    <a:pt x="21453" y="10536"/>
                  </a:lnTo>
                  <a:lnTo>
                    <a:pt x="21434" y="10495"/>
                  </a:lnTo>
                  <a:cubicBezTo>
                    <a:pt x="21432" y="10489"/>
                    <a:pt x="21431" y="10482"/>
                    <a:pt x="21430" y="10473"/>
                  </a:cubicBezTo>
                  <a:cubicBezTo>
                    <a:pt x="21409" y="10462"/>
                    <a:pt x="21388" y="10442"/>
                    <a:pt x="21374" y="10406"/>
                  </a:cubicBezTo>
                  <a:cubicBezTo>
                    <a:pt x="21357" y="10396"/>
                    <a:pt x="21340" y="10382"/>
                    <a:pt x="21325" y="10360"/>
                  </a:cubicBezTo>
                  <a:cubicBezTo>
                    <a:pt x="21291" y="10309"/>
                    <a:pt x="21303" y="10252"/>
                    <a:pt x="21317" y="10199"/>
                  </a:cubicBezTo>
                  <a:lnTo>
                    <a:pt x="21280" y="10176"/>
                  </a:lnTo>
                  <a:lnTo>
                    <a:pt x="21258" y="10113"/>
                  </a:lnTo>
                  <a:cubicBezTo>
                    <a:pt x="21249" y="10105"/>
                    <a:pt x="21240" y="10097"/>
                    <a:pt x="21233" y="10090"/>
                  </a:cubicBezTo>
                  <a:cubicBezTo>
                    <a:pt x="21219" y="10078"/>
                    <a:pt x="21210" y="10069"/>
                    <a:pt x="21207" y="10067"/>
                  </a:cubicBezTo>
                  <a:cubicBezTo>
                    <a:pt x="21196" y="10055"/>
                    <a:pt x="21170" y="10021"/>
                    <a:pt x="21176" y="9973"/>
                  </a:cubicBezTo>
                  <a:cubicBezTo>
                    <a:pt x="21125" y="9950"/>
                    <a:pt x="21095" y="9904"/>
                    <a:pt x="21077" y="9876"/>
                  </a:cubicBezTo>
                  <a:cubicBezTo>
                    <a:pt x="21064" y="9858"/>
                    <a:pt x="21054" y="9844"/>
                    <a:pt x="21045" y="9830"/>
                  </a:cubicBezTo>
                  <a:cubicBezTo>
                    <a:pt x="21018" y="9790"/>
                    <a:pt x="21007" y="9766"/>
                    <a:pt x="21006" y="9736"/>
                  </a:cubicBezTo>
                  <a:cubicBezTo>
                    <a:pt x="21003" y="9703"/>
                    <a:pt x="21015" y="9677"/>
                    <a:pt x="21030" y="9657"/>
                  </a:cubicBezTo>
                  <a:cubicBezTo>
                    <a:pt x="21020" y="9635"/>
                    <a:pt x="21011" y="9608"/>
                    <a:pt x="21014" y="9576"/>
                  </a:cubicBezTo>
                  <a:cubicBezTo>
                    <a:pt x="21016" y="9550"/>
                    <a:pt x="21024" y="9530"/>
                    <a:pt x="21035" y="9514"/>
                  </a:cubicBezTo>
                  <a:cubicBezTo>
                    <a:pt x="21030" y="9505"/>
                    <a:pt x="21026" y="9497"/>
                    <a:pt x="21022" y="9487"/>
                  </a:cubicBezTo>
                  <a:cubicBezTo>
                    <a:pt x="21010" y="9458"/>
                    <a:pt x="21010" y="9428"/>
                    <a:pt x="21013" y="9403"/>
                  </a:cubicBezTo>
                  <a:cubicBezTo>
                    <a:pt x="21006" y="9397"/>
                    <a:pt x="20997" y="9390"/>
                    <a:pt x="20986" y="9381"/>
                  </a:cubicBezTo>
                  <a:cubicBezTo>
                    <a:pt x="20948" y="9352"/>
                    <a:pt x="20929" y="9311"/>
                    <a:pt x="20929" y="9260"/>
                  </a:cubicBezTo>
                  <a:cubicBezTo>
                    <a:pt x="20923" y="9249"/>
                    <a:pt x="20914" y="9234"/>
                    <a:pt x="20907" y="9223"/>
                  </a:cubicBezTo>
                  <a:lnTo>
                    <a:pt x="20885" y="9214"/>
                  </a:lnTo>
                  <a:cubicBezTo>
                    <a:pt x="20863" y="9209"/>
                    <a:pt x="20836" y="9202"/>
                    <a:pt x="20811" y="9184"/>
                  </a:cubicBezTo>
                  <a:cubicBezTo>
                    <a:pt x="20784" y="9165"/>
                    <a:pt x="20762" y="9135"/>
                    <a:pt x="20715" y="9055"/>
                  </a:cubicBezTo>
                  <a:cubicBezTo>
                    <a:pt x="20712" y="9054"/>
                    <a:pt x="20709" y="9054"/>
                    <a:pt x="20709" y="9054"/>
                  </a:cubicBezTo>
                  <a:lnTo>
                    <a:pt x="20625" y="9041"/>
                  </a:lnTo>
                  <a:lnTo>
                    <a:pt x="20619" y="8951"/>
                  </a:lnTo>
                  <a:cubicBezTo>
                    <a:pt x="20611" y="8817"/>
                    <a:pt x="20602" y="8667"/>
                    <a:pt x="20592" y="8509"/>
                  </a:cubicBezTo>
                  <a:lnTo>
                    <a:pt x="20516" y="7276"/>
                  </a:lnTo>
                  <a:cubicBezTo>
                    <a:pt x="20476" y="6635"/>
                    <a:pt x="20441" y="6059"/>
                    <a:pt x="20427" y="5853"/>
                  </a:cubicBezTo>
                  <a:cubicBezTo>
                    <a:pt x="20424" y="5853"/>
                    <a:pt x="20421" y="5851"/>
                    <a:pt x="20418" y="5851"/>
                  </a:cubicBezTo>
                  <a:cubicBezTo>
                    <a:pt x="20378" y="5851"/>
                    <a:pt x="20347" y="5832"/>
                    <a:pt x="20325" y="5812"/>
                  </a:cubicBezTo>
                  <a:lnTo>
                    <a:pt x="20247" y="5820"/>
                  </a:lnTo>
                  <a:cubicBezTo>
                    <a:pt x="20242" y="5822"/>
                    <a:pt x="20237" y="5824"/>
                    <a:pt x="20232" y="5825"/>
                  </a:cubicBezTo>
                  <a:cubicBezTo>
                    <a:pt x="20212" y="5831"/>
                    <a:pt x="20196" y="5836"/>
                    <a:pt x="20180" y="5839"/>
                  </a:cubicBezTo>
                  <a:lnTo>
                    <a:pt x="20153" y="5882"/>
                  </a:lnTo>
                  <a:lnTo>
                    <a:pt x="20089" y="5883"/>
                  </a:lnTo>
                  <a:cubicBezTo>
                    <a:pt x="20074" y="5883"/>
                    <a:pt x="20060" y="5880"/>
                    <a:pt x="20048" y="5875"/>
                  </a:cubicBezTo>
                  <a:lnTo>
                    <a:pt x="20007" y="5883"/>
                  </a:lnTo>
                  <a:lnTo>
                    <a:pt x="19947" y="5883"/>
                  </a:lnTo>
                  <a:lnTo>
                    <a:pt x="19927" y="5851"/>
                  </a:lnTo>
                  <a:cubicBezTo>
                    <a:pt x="19912" y="5846"/>
                    <a:pt x="19899" y="5838"/>
                    <a:pt x="19886" y="5829"/>
                  </a:cubicBezTo>
                  <a:cubicBezTo>
                    <a:pt x="19873" y="5819"/>
                    <a:pt x="19862" y="5808"/>
                    <a:pt x="19852" y="5796"/>
                  </a:cubicBezTo>
                  <a:cubicBezTo>
                    <a:pt x="19841" y="5792"/>
                    <a:pt x="19829" y="5787"/>
                    <a:pt x="19819" y="5781"/>
                  </a:cubicBezTo>
                  <a:cubicBezTo>
                    <a:pt x="19816" y="5780"/>
                    <a:pt x="19813" y="5777"/>
                    <a:pt x="19810" y="5775"/>
                  </a:cubicBezTo>
                  <a:cubicBezTo>
                    <a:pt x="19804" y="5771"/>
                    <a:pt x="19797" y="5767"/>
                    <a:pt x="19791" y="5762"/>
                  </a:cubicBezTo>
                  <a:cubicBezTo>
                    <a:pt x="19786" y="5762"/>
                    <a:pt x="19780" y="5762"/>
                    <a:pt x="19774" y="5762"/>
                  </a:cubicBezTo>
                  <a:lnTo>
                    <a:pt x="19753" y="5762"/>
                  </a:lnTo>
                  <a:lnTo>
                    <a:pt x="19680" y="5793"/>
                  </a:lnTo>
                  <a:lnTo>
                    <a:pt x="19685" y="5740"/>
                  </a:lnTo>
                  <a:cubicBezTo>
                    <a:pt x="19674" y="5733"/>
                    <a:pt x="19664" y="5724"/>
                    <a:pt x="19657" y="5715"/>
                  </a:cubicBezTo>
                  <a:cubicBezTo>
                    <a:pt x="19651" y="5707"/>
                    <a:pt x="19646" y="5700"/>
                    <a:pt x="19643" y="5692"/>
                  </a:cubicBezTo>
                  <a:cubicBezTo>
                    <a:pt x="19638" y="5687"/>
                    <a:pt x="19633" y="5682"/>
                    <a:pt x="19628" y="5677"/>
                  </a:cubicBezTo>
                  <a:cubicBezTo>
                    <a:pt x="19622" y="5670"/>
                    <a:pt x="19615" y="5662"/>
                    <a:pt x="19608" y="5655"/>
                  </a:cubicBezTo>
                  <a:cubicBezTo>
                    <a:pt x="19594" y="5661"/>
                    <a:pt x="19578" y="5666"/>
                    <a:pt x="19558" y="5666"/>
                  </a:cubicBezTo>
                  <a:cubicBezTo>
                    <a:pt x="19539" y="5665"/>
                    <a:pt x="19516" y="5660"/>
                    <a:pt x="19494" y="5646"/>
                  </a:cubicBezTo>
                  <a:cubicBezTo>
                    <a:pt x="19432" y="5658"/>
                    <a:pt x="19384" y="5614"/>
                    <a:pt x="19368" y="5595"/>
                  </a:cubicBezTo>
                  <a:cubicBezTo>
                    <a:pt x="19353" y="5586"/>
                    <a:pt x="19327" y="5572"/>
                    <a:pt x="19308" y="5544"/>
                  </a:cubicBezTo>
                  <a:cubicBezTo>
                    <a:pt x="19301" y="5539"/>
                    <a:pt x="19295" y="5534"/>
                    <a:pt x="19290" y="5528"/>
                  </a:cubicBezTo>
                  <a:cubicBezTo>
                    <a:pt x="19272" y="5540"/>
                    <a:pt x="19248" y="5550"/>
                    <a:pt x="19217" y="5551"/>
                  </a:cubicBezTo>
                  <a:cubicBezTo>
                    <a:pt x="19134" y="5551"/>
                    <a:pt x="19097" y="5495"/>
                    <a:pt x="19083" y="5474"/>
                  </a:cubicBezTo>
                  <a:lnTo>
                    <a:pt x="19062" y="5462"/>
                  </a:lnTo>
                  <a:cubicBezTo>
                    <a:pt x="19022" y="5443"/>
                    <a:pt x="19003" y="5409"/>
                    <a:pt x="18994" y="5388"/>
                  </a:cubicBezTo>
                  <a:cubicBezTo>
                    <a:pt x="18964" y="5365"/>
                    <a:pt x="18949" y="5337"/>
                    <a:pt x="18939" y="5315"/>
                  </a:cubicBezTo>
                  <a:cubicBezTo>
                    <a:pt x="18921" y="5321"/>
                    <a:pt x="18904" y="5325"/>
                    <a:pt x="18886" y="5325"/>
                  </a:cubicBezTo>
                  <a:cubicBezTo>
                    <a:pt x="18825" y="5318"/>
                    <a:pt x="18793" y="5285"/>
                    <a:pt x="18775" y="5255"/>
                  </a:cubicBezTo>
                  <a:cubicBezTo>
                    <a:pt x="18740" y="5241"/>
                    <a:pt x="18713" y="5211"/>
                    <a:pt x="18678" y="5172"/>
                  </a:cubicBezTo>
                  <a:lnTo>
                    <a:pt x="18650" y="5160"/>
                  </a:lnTo>
                  <a:lnTo>
                    <a:pt x="18646" y="5217"/>
                  </a:lnTo>
                  <a:lnTo>
                    <a:pt x="18574" y="5234"/>
                  </a:lnTo>
                  <a:lnTo>
                    <a:pt x="18555" y="5269"/>
                  </a:lnTo>
                  <a:lnTo>
                    <a:pt x="18472" y="5297"/>
                  </a:lnTo>
                  <a:cubicBezTo>
                    <a:pt x="18472" y="5297"/>
                    <a:pt x="18471" y="5297"/>
                    <a:pt x="18471" y="5297"/>
                  </a:cubicBezTo>
                  <a:cubicBezTo>
                    <a:pt x="18451" y="5313"/>
                    <a:pt x="18426" y="5323"/>
                    <a:pt x="18394" y="5323"/>
                  </a:cubicBezTo>
                  <a:lnTo>
                    <a:pt x="18373" y="5322"/>
                  </a:lnTo>
                  <a:cubicBezTo>
                    <a:pt x="18282" y="5329"/>
                    <a:pt x="18239" y="5325"/>
                    <a:pt x="18222" y="5320"/>
                  </a:cubicBezTo>
                  <a:cubicBezTo>
                    <a:pt x="18212" y="5318"/>
                    <a:pt x="18197" y="5313"/>
                    <a:pt x="18181" y="5306"/>
                  </a:cubicBezTo>
                  <a:lnTo>
                    <a:pt x="18133" y="5309"/>
                  </a:lnTo>
                  <a:lnTo>
                    <a:pt x="18130" y="5306"/>
                  </a:lnTo>
                  <a:cubicBezTo>
                    <a:pt x="18119" y="5310"/>
                    <a:pt x="18106" y="5313"/>
                    <a:pt x="18091" y="5313"/>
                  </a:cubicBezTo>
                  <a:lnTo>
                    <a:pt x="18066" y="5313"/>
                  </a:lnTo>
                  <a:lnTo>
                    <a:pt x="18035" y="5299"/>
                  </a:lnTo>
                  <a:cubicBezTo>
                    <a:pt x="18003" y="5282"/>
                    <a:pt x="17983" y="5255"/>
                    <a:pt x="17970" y="5222"/>
                  </a:cubicBezTo>
                  <a:cubicBezTo>
                    <a:pt x="17955" y="5231"/>
                    <a:pt x="17939" y="5235"/>
                    <a:pt x="17924" y="5237"/>
                  </a:cubicBezTo>
                  <a:cubicBezTo>
                    <a:pt x="17912" y="5255"/>
                    <a:pt x="17899" y="5271"/>
                    <a:pt x="17882" y="5282"/>
                  </a:cubicBezTo>
                  <a:lnTo>
                    <a:pt x="17856" y="5299"/>
                  </a:lnTo>
                  <a:lnTo>
                    <a:pt x="17830" y="5301"/>
                  </a:lnTo>
                  <a:lnTo>
                    <a:pt x="17820" y="5350"/>
                  </a:lnTo>
                  <a:lnTo>
                    <a:pt x="17749" y="5387"/>
                  </a:lnTo>
                  <a:cubicBezTo>
                    <a:pt x="17726" y="5394"/>
                    <a:pt x="17697" y="5393"/>
                    <a:pt x="17676" y="5386"/>
                  </a:cubicBezTo>
                  <a:cubicBezTo>
                    <a:pt x="17651" y="5407"/>
                    <a:pt x="17625" y="5411"/>
                    <a:pt x="17607" y="5411"/>
                  </a:cubicBezTo>
                  <a:lnTo>
                    <a:pt x="17570" y="5411"/>
                  </a:lnTo>
                  <a:lnTo>
                    <a:pt x="17524" y="5376"/>
                  </a:lnTo>
                  <a:cubicBezTo>
                    <a:pt x="17516" y="5370"/>
                    <a:pt x="17501" y="5359"/>
                    <a:pt x="17484" y="5348"/>
                  </a:cubicBezTo>
                  <a:cubicBezTo>
                    <a:pt x="17466" y="5365"/>
                    <a:pt x="17444" y="5377"/>
                    <a:pt x="17416" y="5378"/>
                  </a:cubicBezTo>
                  <a:cubicBezTo>
                    <a:pt x="17410" y="5378"/>
                    <a:pt x="17405" y="5378"/>
                    <a:pt x="17399" y="5377"/>
                  </a:cubicBezTo>
                  <a:cubicBezTo>
                    <a:pt x="17380" y="5394"/>
                    <a:pt x="17355" y="5404"/>
                    <a:pt x="17329" y="5404"/>
                  </a:cubicBezTo>
                  <a:lnTo>
                    <a:pt x="17294" y="5404"/>
                  </a:lnTo>
                  <a:cubicBezTo>
                    <a:pt x="17273" y="5412"/>
                    <a:pt x="17245" y="5416"/>
                    <a:pt x="17210" y="5410"/>
                  </a:cubicBezTo>
                  <a:cubicBezTo>
                    <a:pt x="17198" y="5415"/>
                    <a:pt x="17187" y="5418"/>
                    <a:pt x="17175" y="5420"/>
                  </a:cubicBezTo>
                  <a:cubicBezTo>
                    <a:pt x="17180" y="5435"/>
                    <a:pt x="17184" y="5451"/>
                    <a:pt x="17184" y="5468"/>
                  </a:cubicBezTo>
                  <a:cubicBezTo>
                    <a:pt x="17184" y="5597"/>
                    <a:pt x="17020" y="5620"/>
                    <a:pt x="17002" y="5622"/>
                  </a:cubicBezTo>
                  <a:cubicBezTo>
                    <a:pt x="16985" y="5623"/>
                    <a:pt x="16969" y="5621"/>
                    <a:pt x="16955" y="5618"/>
                  </a:cubicBezTo>
                  <a:cubicBezTo>
                    <a:pt x="16955" y="5620"/>
                    <a:pt x="16954" y="5622"/>
                    <a:pt x="16954" y="5624"/>
                  </a:cubicBezTo>
                  <a:cubicBezTo>
                    <a:pt x="16937" y="5699"/>
                    <a:pt x="16870" y="5758"/>
                    <a:pt x="16798" y="5762"/>
                  </a:cubicBezTo>
                  <a:cubicBezTo>
                    <a:pt x="16798" y="5762"/>
                    <a:pt x="16798" y="5762"/>
                    <a:pt x="16798" y="5762"/>
                  </a:cubicBezTo>
                  <a:cubicBezTo>
                    <a:pt x="16747" y="5762"/>
                    <a:pt x="16697" y="5740"/>
                    <a:pt x="16675" y="5679"/>
                  </a:cubicBezTo>
                  <a:cubicBezTo>
                    <a:pt x="16669" y="5675"/>
                    <a:pt x="16661" y="5669"/>
                    <a:pt x="16652" y="5661"/>
                  </a:cubicBezTo>
                  <a:cubicBezTo>
                    <a:pt x="16629" y="5640"/>
                    <a:pt x="16613" y="5615"/>
                    <a:pt x="16602" y="5591"/>
                  </a:cubicBezTo>
                  <a:cubicBezTo>
                    <a:pt x="16589" y="5593"/>
                    <a:pt x="16574" y="5596"/>
                    <a:pt x="16558" y="5596"/>
                  </a:cubicBezTo>
                  <a:lnTo>
                    <a:pt x="16514" y="5590"/>
                  </a:lnTo>
                  <a:cubicBezTo>
                    <a:pt x="16469" y="5578"/>
                    <a:pt x="16445" y="5545"/>
                    <a:pt x="16431" y="5516"/>
                  </a:cubicBezTo>
                  <a:lnTo>
                    <a:pt x="16424" y="5517"/>
                  </a:lnTo>
                  <a:cubicBezTo>
                    <a:pt x="16365" y="5517"/>
                    <a:pt x="16332" y="5485"/>
                    <a:pt x="16312" y="5458"/>
                  </a:cubicBezTo>
                  <a:cubicBezTo>
                    <a:pt x="16300" y="5454"/>
                    <a:pt x="16289" y="5449"/>
                    <a:pt x="16279" y="5444"/>
                  </a:cubicBezTo>
                  <a:cubicBezTo>
                    <a:pt x="16219" y="5494"/>
                    <a:pt x="16130" y="5507"/>
                    <a:pt x="16113" y="5507"/>
                  </a:cubicBezTo>
                  <a:cubicBezTo>
                    <a:pt x="16095" y="5507"/>
                    <a:pt x="16049" y="5503"/>
                    <a:pt x="16019" y="5458"/>
                  </a:cubicBezTo>
                  <a:lnTo>
                    <a:pt x="15967" y="5461"/>
                  </a:lnTo>
                  <a:cubicBezTo>
                    <a:pt x="15896" y="5461"/>
                    <a:pt x="15843" y="5391"/>
                    <a:pt x="15826" y="5364"/>
                  </a:cubicBezTo>
                  <a:cubicBezTo>
                    <a:pt x="15822" y="5369"/>
                    <a:pt x="15818" y="5375"/>
                    <a:pt x="15814" y="5380"/>
                  </a:cubicBezTo>
                  <a:cubicBezTo>
                    <a:pt x="15787" y="5425"/>
                    <a:pt x="15754" y="5449"/>
                    <a:pt x="15726" y="5463"/>
                  </a:cubicBezTo>
                  <a:cubicBezTo>
                    <a:pt x="15725" y="5467"/>
                    <a:pt x="15723" y="5470"/>
                    <a:pt x="15722" y="5474"/>
                  </a:cubicBezTo>
                  <a:cubicBezTo>
                    <a:pt x="15715" y="5492"/>
                    <a:pt x="15705" y="5506"/>
                    <a:pt x="15694" y="5517"/>
                  </a:cubicBezTo>
                  <a:cubicBezTo>
                    <a:pt x="15696" y="5531"/>
                    <a:pt x="15697" y="5546"/>
                    <a:pt x="15696" y="5562"/>
                  </a:cubicBezTo>
                  <a:cubicBezTo>
                    <a:pt x="15690" y="5676"/>
                    <a:pt x="15632" y="5710"/>
                    <a:pt x="15557" y="5743"/>
                  </a:cubicBezTo>
                  <a:lnTo>
                    <a:pt x="15503" y="5754"/>
                  </a:lnTo>
                  <a:cubicBezTo>
                    <a:pt x="15377" y="5754"/>
                    <a:pt x="15321" y="5589"/>
                    <a:pt x="15303" y="5535"/>
                  </a:cubicBezTo>
                  <a:cubicBezTo>
                    <a:pt x="15296" y="5518"/>
                    <a:pt x="15289" y="5485"/>
                    <a:pt x="15286" y="5452"/>
                  </a:cubicBezTo>
                  <a:cubicBezTo>
                    <a:pt x="15271" y="5454"/>
                    <a:pt x="15254" y="5452"/>
                    <a:pt x="15239" y="5447"/>
                  </a:cubicBezTo>
                  <a:cubicBezTo>
                    <a:pt x="15234" y="5463"/>
                    <a:pt x="15228" y="5478"/>
                    <a:pt x="15219" y="5492"/>
                  </a:cubicBezTo>
                  <a:cubicBezTo>
                    <a:pt x="15161" y="5577"/>
                    <a:pt x="15059" y="5566"/>
                    <a:pt x="14990" y="5548"/>
                  </a:cubicBezTo>
                  <a:cubicBezTo>
                    <a:pt x="14901" y="5526"/>
                    <a:pt x="14879" y="5407"/>
                    <a:pt x="14878" y="5401"/>
                  </a:cubicBezTo>
                  <a:lnTo>
                    <a:pt x="14875" y="5385"/>
                  </a:lnTo>
                  <a:cubicBezTo>
                    <a:pt x="14874" y="5386"/>
                    <a:pt x="14873" y="5386"/>
                    <a:pt x="14871" y="5387"/>
                  </a:cubicBezTo>
                  <a:lnTo>
                    <a:pt x="14852" y="5395"/>
                  </a:lnTo>
                  <a:lnTo>
                    <a:pt x="14820" y="5397"/>
                  </a:lnTo>
                  <a:lnTo>
                    <a:pt x="14818" y="5398"/>
                  </a:lnTo>
                  <a:cubicBezTo>
                    <a:pt x="14754" y="5398"/>
                    <a:pt x="14698" y="5353"/>
                    <a:pt x="14677" y="5312"/>
                  </a:cubicBezTo>
                  <a:cubicBezTo>
                    <a:pt x="14668" y="5290"/>
                    <a:pt x="14663" y="5260"/>
                    <a:pt x="14662" y="5232"/>
                  </a:cubicBezTo>
                  <a:cubicBezTo>
                    <a:pt x="14653" y="5249"/>
                    <a:pt x="14645" y="5262"/>
                    <a:pt x="14640" y="5269"/>
                  </a:cubicBezTo>
                  <a:cubicBezTo>
                    <a:pt x="14619" y="5296"/>
                    <a:pt x="14592" y="5311"/>
                    <a:pt x="14562" y="5320"/>
                  </a:cubicBezTo>
                  <a:cubicBezTo>
                    <a:pt x="14561" y="5322"/>
                    <a:pt x="14560" y="5324"/>
                    <a:pt x="14559" y="5326"/>
                  </a:cubicBezTo>
                  <a:cubicBezTo>
                    <a:pt x="14554" y="5343"/>
                    <a:pt x="14547" y="5364"/>
                    <a:pt x="14532" y="5385"/>
                  </a:cubicBezTo>
                  <a:cubicBezTo>
                    <a:pt x="14511" y="5413"/>
                    <a:pt x="14457" y="5455"/>
                    <a:pt x="14407" y="5482"/>
                  </a:cubicBezTo>
                  <a:cubicBezTo>
                    <a:pt x="14391" y="5491"/>
                    <a:pt x="14375" y="5499"/>
                    <a:pt x="14361" y="5503"/>
                  </a:cubicBezTo>
                  <a:lnTo>
                    <a:pt x="14313" y="5512"/>
                  </a:lnTo>
                  <a:cubicBezTo>
                    <a:pt x="14255" y="5512"/>
                    <a:pt x="14216" y="5476"/>
                    <a:pt x="14193" y="5456"/>
                  </a:cubicBezTo>
                  <a:cubicBezTo>
                    <a:pt x="14192" y="5454"/>
                    <a:pt x="14191" y="5454"/>
                    <a:pt x="14190" y="5453"/>
                  </a:cubicBezTo>
                  <a:cubicBezTo>
                    <a:pt x="14184" y="5453"/>
                    <a:pt x="14178" y="5454"/>
                    <a:pt x="14172" y="5454"/>
                  </a:cubicBezTo>
                  <a:cubicBezTo>
                    <a:pt x="14100" y="5445"/>
                    <a:pt x="14036" y="5398"/>
                    <a:pt x="14038" y="5289"/>
                  </a:cubicBezTo>
                  <a:cubicBezTo>
                    <a:pt x="14038" y="5277"/>
                    <a:pt x="14040" y="5263"/>
                    <a:pt x="14045" y="5248"/>
                  </a:cubicBezTo>
                  <a:lnTo>
                    <a:pt x="14044" y="5241"/>
                  </a:lnTo>
                  <a:cubicBezTo>
                    <a:pt x="14043" y="5235"/>
                    <a:pt x="14042" y="5229"/>
                    <a:pt x="14042" y="5223"/>
                  </a:cubicBezTo>
                  <a:cubicBezTo>
                    <a:pt x="13965" y="5216"/>
                    <a:pt x="13906" y="5168"/>
                    <a:pt x="13905" y="5168"/>
                  </a:cubicBezTo>
                  <a:cubicBezTo>
                    <a:pt x="13872" y="5141"/>
                    <a:pt x="13852" y="5091"/>
                    <a:pt x="13844" y="5050"/>
                  </a:cubicBezTo>
                  <a:cubicBezTo>
                    <a:pt x="13831" y="5034"/>
                    <a:pt x="13811" y="5007"/>
                    <a:pt x="13801" y="4973"/>
                  </a:cubicBezTo>
                  <a:cubicBezTo>
                    <a:pt x="13781" y="4973"/>
                    <a:pt x="13764" y="4968"/>
                    <a:pt x="13750" y="4963"/>
                  </a:cubicBezTo>
                  <a:cubicBezTo>
                    <a:pt x="13733" y="4958"/>
                    <a:pt x="13718" y="4950"/>
                    <a:pt x="13707" y="4943"/>
                  </a:cubicBezTo>
                  <a:cubicBezTo>
                    <a:pt x="13689" y="4944"/>
                    <a:pt x="13678" y="4945"/>
                    <a:pt x="13669" y="4945"/>
                  </a:cubicBezTo>
                  <a:lnTo>
                    <a:pt x="13640" y="4943"/>
                  </a:lnTo>
                  <a:cubicBezTo>
                    <a:pt x="13619" y="4939"/>
                    <a:pt x="13607" y="4937"/>
                    <a:pt x="13584" y="4931"/>
                  </a:cubicBezTo>
                  <a:lnTo>
                    <a:pt x="13557" y="4924"/>
                  </a:lnTo>
                  <a:cubicBezTo>
                    <a:pt x="13555" y="4932"/>
                    <a:pt x="13552" y="4939"/>
                    <a:pt x="13549" y="4947"/>
                  </a:cubicBezTo>
                  <a:cubicBezTo>
                    <a:pt x="13522" y="5008"/>
                    <a:pt x="13469" y="5025"/>
                    <a:pt x="13440" y="5033"/>
                  </a:cubicBezTo>
                  <a:cubicBezTo>
                    <a:pt x="13418" y="5056"/>
                    <a:pt x="13391" y="5081"/>
                    <a:pt x="13351" y="5088"/>
                  </a:cubicBezTo>
                  <a:lnTo>
                    <a:pt x="13320" y="5091"/>
                  </a:lnTo>
                  <a:cubicBezTo>
                    <a:pt x="13262" y="5091"/>
                    <a:pt x="13227" y="5057"/>
                    <a:pt x="13207" y="5037"/>
                  </a:cubicBezTo>
                  <a:cubicBezTo>
                    <a:pt x="13188" y="5018"/>
                    <a:pt x="13164" y="4985"/>
                    <a:pt x="13115" y="4911"/>
                  </a:cubicBezTo>
                  <a:cubicBezTo>
                    <a:pt x="13113" y="4908"/>
                    <a:pt x="13112" y="4906"/>
                    <a:pt x="13110" y="4904"/>
                  </a:cubicBezTo>
                  <a:cubicBezTo>
                    <a:pt x="13100" y="4906"/>
                    <a:pt x="13087" y="4905"/>
                    <a:pt x="13076" y="4904"/>
                  </a:cubicBezTo>
                  <a:cubicBezTo>
                    <a:pt x="13076" y="4905"/>
                    <a:pt x="13075" y="4905"/>
                    <a:pt x="13075" y="4905"/>
                  </a:cubicBezTo>
                  <a:cubicBezTo>
                    <a:pt x="13044" y="4942"/>
                    <a:pt x="12999" y="4949"/>
                    <a:pt x="12966" y="4952"/>
                  </a:cubicBezTo>
                  <a:cubicBezTo>
                    <a:pt x="12960" y="4956"/>
                    <a:pt x="12953" y="4961"/>
                    <a:pt x="12945" y="4965"/>
                  </a:cubicBezTo>
                  <a:lnTo>
                    <a:pt x="12923" y="4976"/>
                  </a:lnTo>
                  <a:lnTo>
                    <a:pt x="12891" y="4978"/>
                  </a:lnTo>
                  <a:cubicBezTo>
                    <a:pt x="12851" y="4978"/>
                    <a:pt x="12823" y="4958"/>
                    <a:pt x="12807" y="4945"/>
                  </a:cubicBezTo>
                  <a:cubicBezTo>
                    <a:pt x="12790" y="4940"/>
                    <a:pt x="12768" y="4933"/>
                    <a:pt x="12748" y="4917"/>
                  </a:cubicBezTo>
                  <a:cubicBezTo>
                    <a:pt x="12737" y="4921"/>
                    <a:pt x="12726" y="4925"/>
                    <a:pt x="12713" y="4926"/>
                  </a:cubicBezTo>
                  <a:cubicBezTo>
                    <a:pt x="12683" y="4924"/>
                    <a:pt x="12638" y="4919"/>
                    <a:pt x="12607" y="4873"/>
                  </a:cubicBezTo>
                  <a:cubicBezTo>
                    <a:pt x="12596" y="4870"/>
                    <a:pt x="12584" y="4865"/>
                    <a:pt x="12572" y="4858"/>
                  </a:cubicBezTo>
                  <a:cubicBezTo>
                    <a:pt x="12548" y="4844"/>
                    <a:pt x="12531" y="4824"/>
                    <a:pt x="12518" y="4807"/>
                  </a:cubicBezTo>
                  <a:cubicBezTo>
                    <a:pt x="12517" y="4806"/>
                    <a:pt x="12516" y="4806"/>
                    <a:pt x="12515" y="4806"/>
                  </a:cubicBezTo>
                  <a:cubicBezTo>
                    <a:pt x="12485" y="4821"/>
                    <a:pt x="12453" y="4823"/>
                    <a:pt x="12438" y="4824"/>
                  </a:cubicBezTo>
                  <a:cubicBezTo>
                    <a:pt x="12420" y="4826"/>
                    <a:pt x="12413" y="4827"/>
                    <a:pt x="12406" y="4827"/>
                  </a:cubicBezTo>
                  <a:lnTo>
                    <a:pt x="12365" y="4827"/>
                  </a:lnTo>
                  <a:lnTo>
                    <a:pt x="12346" y="4811"/>
                  </a:lnTo>
                  <a:cubicBezTo>
                    <a:pt x="12342" y="4812"/>
                    <a:pt x="12339" y="4813"/>
                    <a:pt x="12335" y="4815"/>
                  </a:cubicBezTo>
                  <a:lnTo>
                    <a:pt x="12300" y="4821"/>
                  </a:lnTo>
                  <a:cubicBezTo>
                    <a:pt x="12289" y="4821"/>
                    <a:pt x="12271" y="4819"/>
                    <a:pt x="12252" y="4810"/>
                  </a:cubicBezTo>
                  <a:lnTo>
                    <a:pt x="12237" y="4811"/>
                  </a:lnTo>
                  <a:cubicBezTo>
                    <a:pt x="12205" y="4811"/>
                    <a:pt x="12167" y="4801"/>
                    <a:pt x="12140" y="4785"/>
                  </a:cubicBezTo>
                  <a:cubicBezTo>
                    <a:pt x="12090" y="4755"/>
                    <a:pt x="12065" y="4685"/>
                    <a:pt x="12065" y="4576"/>
                  </a:cubicBezTo>
                  <a:cubicBezTo>
                    <a:pt x="12052" y="4557"/>
                    <a:pt x="12046" y="4533"/>
                    <a:pt x="12042" y="4508"/>
                  </a:cubicBezTo>
                  <a:cubicBezTo>
                    <a:pt x="12019" y="4489"/>
                    <a:pt x="12008" y="4464"/>
                    <a:pt x="12003" y="4441"/>
                  </a:cubicBezTo>
                  <a:cubicBezTo>
                    <a:pt x="11987" y="4429"/>
                    <a:pt x="11974" y="4416"/>
                    <a:pt x="11963" y="4399"/>
                  </a:cubicBezTo>
                  <a:cubicBezTo>
                    <a:pt x="11959" y="4392"/>
                    <a:pt x="11956" y="4384"/>
                    <a:pt x="11953" y="4377"/>
                  </a:cubicBezTo>
                  <a:cubicBezTo>
                    <a:pt x="11950" y="4376"/>
                    <a:pt x="11948" y="4375"/>
                    <a:pt x="11945" y="4375"/>
                  </a:cubicBezTo>
                  <a:cubicBezTo>
                    <a:pt x="11942" y="4374"/>
                    <a:pt x="11938" y="4373"/>
                    <a:pt x="11935" y="4371"/>
                  </a:cubicBezTo>
                  <a:cubicBezTo>
                    <a:pt x="11890" y="4473"/>
                    <a:pt x="11752" y="4465"/>
                    <a:pt x="11699" y="4422"/>
                  </a:cubicBezTo>
                  <a:cubicBezTo>
                    <a:pt x="11679" y="4419"/>
                    <a:pt x="11657" y="4412"/>
                    <a:pt x="11638" y="4395"/>
                  </a:cubicBezTo>
                  <a:lnTo>
                    <a:pt x="11630" y="4395"/>
                  </a:lnTo>
                  <a:lnTo>
                    <a:pt x="11617" y="4424"/>
                  </a:lnTo>
                  <a:lnTo>
                    <a:pt x="11594" y="4432"/>
                  </a:lnTo>
                  <a:cubicBezTo>
                    <a:pt x="11591" y="4436"/>
                    <a:pt x="11588" y="4440"/>
                    <a:pt x="11584" y="4444"/>
                  </a:cubicBezTo>
                  <a:lnTo>
                    <a:pt x="11553" y="4478"/>
                  </a:lnTo>
                  <a:lnTo>
                    <a:pt x="11504" y="4479"/>
                  </a:lnTo>
                  <a:cubicBezTo>
                    <a:pt x="11486" y="4479"/>
                    <a:pt x="11472" y="4475"/>
                    <a:pt x="11459" y="4471"/>
                  </a:cubicBezTo>
                  <a:lnTo>
                    <a:pt x="11416" y="4478"/>
                  </a:lnTo>
                  <a:cubicBezTo>
                    <a:pt x="11375" y="4478"/>
                    <a:pt x="11335" y="4457"/>
                    <a:pt x="11298" y="4434"/>
                  </a:cubicBezTo>
                  <a:cubicBezTo>
                    <a:pt x="11282" y="4424"/>
                    <a:pt x="11260" y="4406"/>
                    <a:pt x="11245" y="4376"/>
                  </a:cubicBezTo>
                  <a:cubicBezTo>
                    <a:pt x="11204" y="4361"/>
                    <a:pt x="11184" y="4330"/>
                    <a:pt x="11172" y="4303"/>
                  </a:cubicBezTo>
                  <a:cubicBezTo>
                    <a:pt x="11164" y="4299"/>
                    <a:pt x="11155" y="4294"/>
                    <a:pt x="11147" y="4288"/>
                  </a:cubicBezTo>
                  <a:cubicBezTo>
                    <a:pt x="11125" y="4270"/>
                    <a:pt x="11112" y="4247"/>
                    <a:pt x="11098" y="4221"/>
                  </a:cubicBezTo>
                  <a:cubicBezTo>
                    <a:pt x="11094" y="4214"/>
                    <a:pt x="11090" y="4206"/>
                    <a:pt x="11086" y="4201"/>
                  </a:cubicBezTo>
                  <a:cubicBezTo>
                    <a:pt x="11061" y="4187"/>
                    <a:pt x="11041" y="4174"/>
                    <a:pt x="10985" y="4084"/>
                  </a:cubicBezTo>
                  <a:cubicBezTo>
                    <a:pt x="10976" y="4079"/>
                    <a:pt x="10968" y="4074"/>
                    <a:pt x="10961" y="4069"/>
                  </a:cubicBezTo>
                  <a:cubicBezTo>
                    <a:pt x="10944" y="4078"/>
                    <a:pt x="10926" y="4081"/>
                    <a:pt x="10908" y="4083"/>
                  </a:cubicBezTo>
                  <a:cubicBezTo>
                    <a:pt x="10902" y="4083"/>
                    <a:pt x="10897" y="4087"/>
                    <a:pt x="10892" y="4087"/>
                  </a:cubicBezTo>
                  <a:cubicBezTo>
                    <a:pt x="10853" y="4087"/>
                    <a:pt x="10825" y="4071"/>
                    <a:pt x="10815" y="4064"/>
                  </a:cubicBezTo>
                  <a:lnTo>
                    <a:pt x="10766" y="4032"/>
                  </a:lnTo>
                  <a:lnTo>
                    <a:pt x="10774" y="87"/>
                  </a:lnTo>
                  <a:lnTo>
                    <a:pt x="6231" y="0"/>
                  </a:lnTo>
                  <a:lnTo>
                    <a:pt x="5905" y="9169"/>
                  </a:lnTo>
                  <a:cubicBezTo>
                    <a:pt x="5901" y="9280"/>
                    <a:pt x="5795" y="9280"/>
                    <a:pt x="5725" y="9280"/>
                  </a:cubicBezTo>
                  <a:cubicBezTo>
                    <a:pt x="5374" y="9280"/>
                    <a:pt x="3888" y="9207"/>
                    <a:pt x="2601" y="9135"/>
                  </a:cubicBezTo>
                  <a:cubicBezTo>
                    <a:pt x="1419" y="9069"/>
                    <a:pt x="758" y="9030"/>
                    <a:pt x="385" y="8999"/>
                  </a:cubicBezTo>
                  <a:cubicBezTo>
                    <a:pt x="215" y="8985"/>
                    <a:pt x="105" y="8972"/>
                    <a:pt x="33" y="8960"/>
                  </a:cubicBezTo>
                  <a:cubicBezTo>
                    <a:pt x="32" y="8971"/>
                    <a:pt x="29" y="8982"/>
                    <a:pt x="25" y="8993"/>
                  </a:cubicBezTo>
                  <a:lnTo>
                    <a:pt x="25" y="9018"/>
                  </a:lnTo>
                  <a:cubicBezTo>
                    <a:pt x="25" y="9050"/>
                    <a:pt x="14" y="9074"/>
                    <a:pt x="0" y="9092"/>
                  </a:cubicBezTo>
                  <a:cubicBezTo>
                    <a:pt x="1" y="9097"/>
                    <a:pt x="1" y="9102"/>
                    <a:pt x="1" y="9107"/>
                  </a:cubicBezTo>
                  <a:cubicBezTo>
                    <a:pt x="12" y="9118"/>
                    <a:pt x="20" y="9129"/>
                    <a:pt x="26" y="9140"/>
                  </a:cubicBezTo>
                  <a:cubicBezTo>
                    <a:pt x="71" y="9149"/>
                    <a:pt x="107" y="9182"/>
                    <a:pt x="133" y="9238"/>
                  </a:cubicBezTo>
                  <a:cubicBezTo>
                    <a:pt x="134" y="9240"/>
                    <a:pt x="135" y="9242"/>
                    <a:pt x="136" y="9244"/>
                  </a:cubicBezTo>
                  <a:cubicBezTo>
                    <a:pt x="143" y="9243"/>
                    <a:pt x="151" y="9242"/>
                    <a:pt x="159" y="9242"/>
                  </a:cubicBezTo>
                  <a:lnTo>
                    <a:pt x="184" y="9245"/>
                  </a:lnTo>
                  <a:cubicBezTo>
                    <a:pt x="186" y="9245"/>
                    <a:pt x="387" y="9307"/>
                    <a:pt x="408" y="9416"/>
                  </a:cubicBezTo>
                  <a:cubicBezTo>
                    <a:pt x="428" y="9436"/>
                    <a:pt x="440" y="9460"/>
                    <a:pt x="444" y="9488"/>
                  </a:cubicBezTo>
                  <a:cubicBezTo>
                    <a:pt x="448" y="9497"/>
                    <a:pt x="454" y="9509"/>
                    <a:pt x="460" y="9521"/>
                  </a:cubicBezTo>
                  <a:cubicBezTo>
                    <a:pt x="470" y="9543"/>
                    <a:pt x="479" y="9564"/>
                    <a:pt x="481" y="9572"/>
                  </a:cubicBezTo>
                  <a:cubicBezTo>
                    <a:pt x="490" y="9606"/>
                    <a:pt x="509" y="9680"/>
                    <a:pt x="523" y="9723"/>
                  </a:cubicBezTo>
                  <a:cubicBezTo>
                    <a:pt x="562" y="9744"/>
                    <a:pt x="609" y="9778"/>
                    <a:pt x="609" y="9844"/>
                  </a:cubicBezTo>
                  <a:cubicBezTo>
                    <a:pt x="609" y="9850"/>
                    <a:pt x="609" y="9867"/>
                    <a:pt x="610" y="9881"/>
                  </a:cubicBezTo>
                  <a:cubicBezTo>
                    <a:pt x="615" y="9891"/>
                    <a:pt x="619" y="9903"/>
                    <a:pt x="624" y="9915"/>
                  </a:cubicBezTo>
                  <a:cubicBezTo>
                    <a:pt x="624" y="9916"/>
                    <a:pt x="624" y="9916"/>
                    <a:pt x="624" y="9917"/>
                  </a:cubicBezTo>
                  <a:cubicBezTo>
                    <a:pt x="641" y="9925"/>
                    <a:pt x="658" y="9936"/>
                    <a:pt x="676" y="9953"/>
                  </a:cubicBezTo>
                  <a:cubicBezTo>
                    <a:pt x="683" y="9961"/>
                    <a:pt x="691" y="9970"/>
                    <a:pt x="700" y="9979"/>
                  </a:cubicBezTo>
                  <a:cubicBezTo>
                    <a:pt x="746" y="9983"/>
                    <a:pt x="783" y="10009"/>
                    <a:pt x="801" y="10050"/>
                  </a:cubicBezTo>
                  <a:cubicBezTo>
                    <a:pt x="841" y="10058"/>
                    <a:pt x="904" y="10072"/>
                    <a:pt x="932" y="10088"/>
                  </a:cubicBezTo>
                  <a:cubicBezTo>
                    <a:pt x="954" y="10102"/>
                    <a:pt x="970" y="10119"/>
                    <a:pt x="982" y="10134"/>
                  </a:cubicBezTo>
                  <a:lnTo>
                    <a:pt x="1069" y="10148"/>
                  </a:lnTo>
                  <a:lnTo>
                    <a:pt x="1066" y="10232"/>
                  </a:lnTo>
                  <a:lnTo>
                    <a:pt x="1116" y="10232"/>
                  </a:lnTo>
                  <a:lnTo>
                    <a:pt x="1122" y="10303"/>
                  </a:lnTo>
                  <a:cubicBezTo>
                    <a:pt x="1145" y="10312"/>
                    <a:pt x="1166" y="10327"/>
                    <a:pt x="1180" y="10351"/>
                  </a:cubicBezTo>
                  <a:lnTo>
                    <a:pt x="1202" y="10380"/>
                  </a:lnTo>
                  <a:cubicBezTo>
                    <a:pt x="1283" y="10486"/>
                    <a:pt x="1311" y="10525"/>
                    <a:pt x="1319" y="10561"/>
                  </a:cubicBezTo>
                  <a:cubicBezTo>
                    <a:pt x="1341" y="10567"/>
                    <a:pt x="1361" y="10578"/>
                    <a:pt x="1378" y="10596"/>
                  </a:cubicBezTo>
                  <a:cubicBezTo>
                    <a:pt x="1393" y="10611"/>
                    <a:pt x="1401" y="10628"/>
                    <a:pt x="1407" y="10642"/>
                  </a:cubicBezTo>
                  <a:cubicBezTo>
                    <a:pt x="1410" y="10643"/>
                    <a:pt x="1413" y="10644"/>
                    <a:pt x="1416" y="10646"/>
                  </a:cubicBezTo>
                  <a:cubicBezTo>
                    <a:pt x="1453" y="10663"/>
                    <a:pt x="1483" y="10677"/>
                    <a:pt x="1505" y="10705"/>
                  </a:cubicBezTo>
                  <a:lnTo>
                    <a:pt x="1528" y="10736"/>
                  </a:lnTo>
                  <a:cubicBezTo>
                    <a:pt x="1546" y="10746"/>
                    <a:pt x="1566" y="10762"/>
                    <a:pt x="1579" y="10790"/>
                  </a:cubicBezTo>
                  <a:lnTo>
                    <a:pt x="1588" y="10801"/>
                  </a:lnTo>
                  <a:cubicBezTo>
                    <a:pt x="1624" y="10848"/>
                    <a:pt x="1652" y="10886"/>
                    <a:pt x="1652" y="10935"/>
                  </a:cubicBezTo>
                  <a:lnTo>
                    <a:pt x="1652" y="10940"/>
                  </a:lnTo>
                  <a:lnTo>
                    <a:pt x="1666" y="10940"/>
                  </a:lnTo>
                  <a:lnTo>
                    <a:pt x="1706" y="11001"/>
                  </a:lnTo>
                  <a:cubicBezTo>
                    <a:pt x="1719" y="11019"/>
                    <a:pt x="1792" y="11103"/>
                    <a:pt x="1817" y="11132"/>
                  </a:cubicBezTo>
                  <a:cubicBezTo>
                    <a:pt x="1857" y="11159"/>
                    <a:pt x="1890" y="11179"/>
                    <a:pt x="1907" y="11220"/>
                  </a:cubicBezTo>
                  <a:cubicBezTo>
                    <a:pt x="1912" y="11231"/>
                    <a:pt x="1915" y="11243"/>
                    <a:pt x="1917" y="11255"/>
                  </a:cubicBezTo>
                  <a:cubicBezTo>
                    <a:pt x="1930" y="11261"/>
                    <a:pt x="1942" y="11268"/>
                    <a:pt x="1953" y="11278"/>
                  </a:cubicBezTo>
                  <a:lnTo>
                    <a:pt x="1972" y="11296"/>
                  </a:lnTo>
                  <a:cubicBezTo>
                    <a:pt x="1976" y="11301"/>
                    <a:pt x="1980" y="11305"/>
                    <a:pt x="1985" y="11310"/>
                  </a:cubicBezTo>
                  <a:cubicBezTo>
                    <a:pt x="2018" y="11312"/>
                    <a:pt x="2053" y="11319"/>
                    <a:pt x="2080" y="11348"/>
                  </a:cubicBezTo>
                  <a:lnTo>
                    <a:pt x="2090" y="11347"/>
                  </a:lnTo>
                  <a:cubicBezTo>
                    <a:pt x="2117" y="11347"/>
                    <a:pt x="2142" y="11354"/>
                    <a:pt x="2163" y="11369"/>
                  </a:cubicBezTo>
                  <a:cubicBezTo>
                    <a:pt x="2173" y="11376"/>
                    <a:pt x="2181" y="11383"/>
                    <a:pt x="2188" y="11391"/>
                  </a:cubicBezTo>
                  <a:lnTo>
                    <a:pt x="2191" y="11391"/>
                  </a:lnTo>
                  <a:lnTo>
                    <a:pt x="2217" y="11416"/>
                  </a:lnTo>
                  <a:cubicBezTo>
                    <a:pt x="2238" y="11428"/>
                    <a:pt x="2268" y="11446"/>
                    <a:pt x="2285" y="11480"/>
                  </a:cubicBezTo>
                  <a:cubicBezTo>
                    <a:pt x="2294" y="11483"/>
                    <a:pt x="2303" y="11487"/>
                    <a:pt x="2313" y="11492"/>
                  </a:cubicBezTo>
                  <a:cubicBezTo>
                    <a:pt x="2339" y="11504"/>
                    <a:pt x="2357" y="11527"/>
                    <a:pt x="2379" y="11555"/>
                  </a:cubicBezTo>
                  <a:lnTo>
                    <a:pt x="2396" y="11574"/>
                  </a:lnTo>
                  <a:cubicBezTo>
                    <a:pt x="2413" y="11591"/>
                    <a:pt x="2427" y="11606"/>
                    <a:pt x="2439" y="11622"/>
                  </a:cubicBezTo>
                  <a:cubicBezTo>
                    <a:pt x="2541" y="11625"/>
                    <a:pt x="2568" y="11698"/>
                    <a:pt x="2573" y="11720"/>
                  </a:cubicBezTo>
                  <a:cubicBezTo>
                    <a:pt x="2578" y="11740"/>
                    <a:pt x="2582" y="11759"/>
                    <a:pt x="2586" y="11775"/>
                  </a:cubicBezTo>
                  <a:lnTo>
                    <a:pt x="2630" y="11775"/>
                  </a:lnTo>
                  <a:lnTo>
                    <a:pt x="2678" y="11834"/>
                  </a:lnTo>
                  <a:cubicBezTo>
                    <a:pt x="2734" y="11929"/>
                    <a:pt x="2736" y="11955"/>
                    <a:pt x="2738" y="11971"/>
                  </a:cubicBezTo>
                  <a:cubicBezTo>
                    <a:pt x="2739" y="11985"/>
                    <a:pt x="2739" y="11995"/>
                    <a:pt x="2740" y="12003"/>
                  </a:cubicBezTo>
                  <a:cubicBezTo>
                    <a:pt x="2767" y="12050"/>
                    <a:pt x="2769" y="12107"/>
                    <a:pt x="2769" y="12120"/>
                  </a:cubicBezTo>
                  <a:cubicBezTo>
                    <a:pt x="2776" y="12154"/>
                    <a:pt x="2781" y="12184"/>
                    <a:pt x="2776" y="12213"/>
                  </a:cubicBezTo>
                  <a:cubicBezTo>
                    <a:pt x="2783" y="12239"/>
                    <a:pt x="2787" y="12262"/>
                    <a:pt x="2784" y="12286"/>
                  </a:cubicBezTo>
                  <a:cubicBezTo>
                    <a:pt x="2813" y="12310"/>
                    <a:pt x="2835" y="12335"/>
                    <a:pt x="2844" y="12369"/>
                  </a:cubicBezTo>
                  <a:cubicBezTo>
                    <a:pt x="2846" y="12377"/>
                    <a:pt x="2849" y="12390"/>
                    <a:pt x="2851" y="12404"/>
                  </a:cubicBezTo>
                  <a:cubicBezTo>
                    <a:pt x="2916" y="12446"/>
                    <a:pt x="2949" y="12495"/>
                    <a:pt x="2943" y="12550"/>
                  </a:cubicBezTo>
                  <a:cubicBezTo>
                    <a:pt x="2949" y="12555"/>
                    <a:pt x="2953" y="12558"/>
                    <a:pt x="2957" y="12561"/>
                  </a:cubicBezTo>
                  <a:cubicBezTo>
                    <a:pt x="2984" y="12583"/>
                    <a:pt x="3001" y="12615"/>
                    <a:pt x="3005" y="12649"/>
                  </a:cubicBezTo>
                  <a:cubicBezTo>
                    <a:pt x="3061" y="12777"/>
                    <a:pt x="3054" y="12815"/>
                    <a:pt x="3050" y="12836"/>
                  </a:cubicBezTo>
                  <a:lnTo>
                    <a:pt x="3037" y="12901"/>
                  </a:lnTo>
                  <a:cubicBezTo>
                    <a:pt x="3081" y="12999"/>
                    <a:pt x="3025" y="13057"/>
                    <a:pt x="3011" y="13068"/>
                  </a:cubicBezTo>
                  <a:cubicBezTo>
                    <a:pt x="3011" y="13069"/>
                    <a:pt x="3011" y="13069"/>
                    <a:pt x="3010" y="13069"/>
                  </a:cubicBezTo>
                  <a:cubicBezTo>
                    <a:pt x="3046" y="13153"/>
                    <a:pt x="3066" y="13212"/>
                    <a:pt x="3036" y="13268"/>
                  </a:cubicBezTo>
                  <a:cubicBezTo>
                    <a:pt x="3060" y="13303"/>
                    <a:pt x="3088" y="13343"/>
                    <a:pt x="3097" y="13355"/>
                  </a:cubicBezTo>
                  <a:cubicBezTo>
                    <a:pt x="3120" y="13387"/>
                    <a:pt x="3124" y="13422"/>
                    <a:pt x="3128" y="13448"/>
                  </a:cubicBezTo>
                  <a:cubicBezTo>
                    <a:pt x="3129" y="13454"/>
                    <a:pt x="3129" y="13457"/>
                    <a:pt x="3129" y="13458"/>
                  </a:cubicBezTo>
                  <a:cubicBezTo>
                    <a:pt x="3172" y="13499"/>
                    <a:pt x="3218" y="13569"/>
                    <a:pt x="3230" y="13645"/>
                  </a:cubicBezTo>
                  <a:cubicBezTo>
                    <a:pt x="3233" y="13665"/>
                    <a:pt x="3236" y="13695"/>
                    <a:pt x="3238" y="13726"/>
                  </a:cubicBezTo>
                  <a:cubicBezTo>
                    <a:pt x="3240" y="13750"/>
                    <a:pt x="3242" y="13776"/>
                    <a:pt x="3245" y="13794"/>
                  </a:cubicBezTo>
                  <a:cubicBezTo>
                    <a:pt x="3259" y="13809"/>
                    <a:pt x="3280" y="13830"/>
                    <a:pt x="3302" y="13851"/>
                  </a:cubicBezTo>
                  <a:cubicBezTo>
                    <a:pt x="3349" y="13896"/>
                    <a:pt x="3374" y="13921"/>
                    <a:pt x="3389" y="13939"/>
                  </a:cubicBezTo>
                  <a:cubicBezTo>
                    <a:pt x="3415" y="13951"/>
                    <a:pt x="3458" y="13974"/>
                    <a:pt x="3473" y="14029"/>
                  </a:cubicBezTo>
                  <a:cubicBezTo>
                    <a:pt x="3475" y="14036"/>
                    <a:pt x="3476" y="14039"/>
                    <a:pt x="3475" y="14039"/>
                  </a:cubicBezTo>
                  <a:lnTo>
                    <a:pt x="3484" y="14045"/>
                  </a:lnTo>
                  <a:cubicBezTo>
                    <a:pt x="3486" y="14047"/>
                    <a:pt x="3489" y="14049"/>
                    <a:pt x="3491" y="14052"/>
                  </a:cubicBezTo>
                  <a:cubicBezTo>
                    <a:pt x="3502" y="14049"/>
                    <a:pt x="3512" y="14047"/>
                    <a:pt x="3524" y="14047"/>
                  </a:cubicBezTo>
                  <a:lnTo>
                    <a:pt x="3573" y="14058"/>
                  </a:lnTo>
                  <a:cubicBezTo>
                    <a:pt x="3656" y="14091"/>
                    <a:pt x="3687" y="14104"/>
                    <a:pt x="3710" y="14135"/>
                  </a:cubicBezTo>
                  <a:cubicBezTo>
                    <a:pt x="3714" y="14141"/>
                    <a:pt x="3722" y="14153"/>
                    <a:pt x="3731" y="14167"/>
                  </a:cubicBezTo>
                  <a:cubicBezTo>
                    <a:pt x="3737" y="14177"/>
                    <a:pt x="3744" y="14189"/>
                    <a:pt x="3748" y="14195"/>
                  </a:cubicBezTo>
                  <a:cubicBezTo>
                    <a:pt x="3753" y="14198"/>
                    <a:pt x="3776" y="14222"/>
                    <a:pt x="3787" y="14266"/>
                  </a:cubicBezTo>
                  <a:cubicBezTo>
                    <a:pt x="3811" y="14284"/>
                    <a:pt x="3829" y="14307"/>
                    <a:pt x="3836" y="14341"/>
                  </a:cubicBezTo>
                  <a:cubicBezTo>
                    <a:pt x="3837" y="14344"/>
                    <a:pt x="3839" y="14351"/>
                    <a:pt x="3842" y="14358"/>
                  </a:cubicBezTo>
                  <a:cubicBezTo>
                    <a:pt x="3842" y="14359"/>
                    <a:pt x="3842" y="14359"/>
                    <a:pt x="3842" y="14359"/>
                  </a:cubicBezTo>
                  <a:cubicBezTo>
                    <a:pt x="3844" y="14361"/>
                    <a:pt x="3845" y="14362"/>
                    <a:pt x="3846" y="14363"/>
                  </a:cubicBezTo>
                  <a:cubicBezTo>
                    <a:pt x="3871" y="14368"/>
                    <a:pt x="3896" y="14375"/>
                    <a:pt x="3918" y="14391"/>
                  </a:cubicBezTo>
                  <a:cubicBezTo>
                    <a:pt x="3940" y="14406"/>
                    <a:pt x="3956" y="14427"/>
                    <a:pt x="3971" y="14452"/>
                  </a:cubicBezTo>
                  <a:cubicBezTo>
                    <a:pt x="3986" y="14458"/>
                    <a:pt x="4002" y="14468"/>
                    <a:pt x="4017" y="14485"/>
                  </a:cubicBezTo>
                  <a:cubicBezTo>
                    <a:pt x="4026" y="14493"/>
                    <a:pt x="4068" y="14525"/>
                    <a:pt x="4092" y="14541"/>
                  </a:cubicBezTo>
                  <a:cubicBezTo>
                    <a:pt x="4102" y="14542"/>
                    <a:pt x="4114" y="14543"/>
                    <a:pt x="4126" y="14544"/>
                  </a:cubicBezTo>
                  <a:cubicBezTo>
                    <a:pt x="4174" y="14548"/>
                    <a:pt x="4198" y="14550"/>
                    <a:pt x="4226" y="14570"/>
                  </a:cubicBezTo>
                  <a:lnTo>
                    <a:pt x="4233" y="14576"/>
                  </a:lnTo>
                  <a:cubicBezTo>
                    <a:pt x="4260" y="14579"/>
                    <a:pt x="4297" y="14584"/>
                    <a:pt x="4322" y="14598"/>
                  </a:cubicBezTo>
                  <a:cubicBezTo>
                    <a:pt x="4345" y="14599"/>
                    <a:pt x="4411" y="14612"/>
                    <a:pt x="4460" y="14670"/>
                  </a:cubicBezTo>
                  <a:cubicBezTo>
                    <a:pt x="4478" y="14692"/>
                    <a:pt x="4490" y="14712"/>
                    <a:pt x="4498" y="14728"/>
                  </a:cubicBezTo>
                  <a:cubicBezTo>
                    <a:pt x="4520" y="14743"/>
                    <a:pt x="4540" y="14760"/>
                    <a:pt x="4547" y="14769"/>
                  </a:cubicBezTo>
                  <a:lnTo>
                    <a:pt x="4560" y="14789"/>
                  </a:lnTo>
                  <a:cubicBezTo>
                    <a:pt x="4569" y="14803"/>
                    <a:pt x="4575" y="14813"/>
                    <a:pt x="4580" y="14820"/>
                  </a:cubicBezTo>
                  <a:cubicBezTo>
                    <a:pt x="4612" y="14825"/>
                    <a:pt x="4640" y="14832"/>
                    <a:pt x="4664" y="14853"/>
                  </a:cubicBezTo>
                  <a:cubicBezTo>
                    <a:pt x="4689" y="14853"/>
                    <a:pt x="4721" y="14852"/>
                    <a:pt x="4753" y="14871"/>
                  </a:cubicBezTo>
                  <a:lnTo>
                    <a:pt x="4758" y="14874"/>
                  </a:lnTo>
                  <a:cubicBezTo>
                    <a:pt x="4767" y="14874"/>
                    <a:pt x="4777" y="14873"/>
                    <a:pt x="4783" y="14873"/>
                  </a:cubicBezTo>
                  <a:lnTo>
                    <a:pt x="4812" y="14877"/>
                  </a:lnTo>
                  <a:cubicBezTo>
                    <a:pt x="4841" y="14882"/>
                    <a:pt x="4921" y="14906"/>
                    <a:pt x="4942" y="14977"/>
                  </a:cubicBezTo>
                  <a:cubicBezTo>
                    <a:pt x="4968" y="15001"/>
                    <a:pt x="4998" y="15035"/>
                    <a:pt x="5014" y="15069"/>
                  </a:cubicBezTo>
                  <a:cubicBezTo>
                    <a:pt x="5023" y="15074"/>
                    <a:pt x="5034" y="15081"/>
                    <a:pt x="5043" y="15090"/>
                  </a:cubicBezTo>
                  <a:cubicBezTo>
                    <a:pt x="5048" y="15094"/>
                    <a:pt x="5065" y="15110"/>
                    <a:pt x="5080" y="15123"/>
                  </a:cubicBezTo>
                  <a:cubicBezTo>
                    <a:pt x="5099" y="15110"/>
                    <a:pt x="5121" y="15104"/>
                    <a:pt x="5144" y="15104"/>
                  </a:cubicBezTo>
                  <a:cubicBezTo>
                    <a:pt x="5211" y="15104"/>
                    <a:pt x="5241" y="15160"/>
                    <a:pt x="5258" y="15194"/>
                  </a:cubicBezTo>
                  <a:cubicBezTo>
                    <a:pt x="5271" y="15203"/>
                    <a:pt x="5287" y="15216"/>
                    <a:pt x="5300" y="15229"/>
                  </a:cubicBezTo>
                  <a:cubicBezTo>
                    <a:pt x="5313" y="15223"/>
                    <a:pt x="5330" y="15218"/>
                    <a:pt x="5350" y="15218"/>
                  </a:cubicBezTo>
                  <a:cubicBezTo>
                    <a:pt x="5383" y="15221"/>
                    <a:pt x="5395" y="15227"/>
                    <a:pt x="5419" y="15236"/>
                  </a:cubicBezTo>
                  <a:cubicBezTo>
                    <a:pt x="5424" y="15239"/>
                    <a:pt x="5430" y="15241"/>
                    <a:pt x="5436" y="15244"/>
                  </a:cubicBezTo>
                  <a:cubicBezTo>
                    <a:pt x="5437" y="15243"/>
                    <a:pt x="5437" y="15243"/>
                    <a:pt x="5437" y="15243"/>
                  </a:cubicBezTo>
                  <a:cubicBezTo>
                    <a:pt x="5438" y="15215"/>
                    <a:pt x="5438" y="15165"/>
                    <a:pt x="5476" y="15123"/>
                  </a:cubicBezTo>
                  <a:cubicBezTo>
                    <a:pt x="5481" y="15117"/>
                    <a:pt x="5486" y="15110"/>
                    <a:pt x="5491" y="15102"/>
                  </a:cubicBezTo>
                  <a:cubicBezTo>
                    <a:pt x="5514" y="15070"/>
                    <a:pt x="5535" y="15040"/>
                    <a:pt x="5567" y="15023"/>
                  </a:cubicBezTo>
                  <a:cubicBezTo>
                    <a:pt x="5581" y="15016"/>
                    <a:pt x="5594" y="15012"/>
                    <a:pt x="5606" y="15010"/>
                  </a:cubicBezTo>
                  <a:cubicBezTo>
                    <a:pt x="5618" y="14988"/>
                    <a:pt x="5631" y="14964"/>
                    <a:pt x="5636" y="14954"/>
                  </a:cubicBezTo>
                  <a:cubicBezTo>
                    <a:pt x="5648" y="14875"/>
                    <a:pt x="5697" y="14843"/>
                    <a:pt x="5736" y="14833"/>
                  </a:cubicBezTo>
                  <a:lnTo>
                    <a:pt x="5775" y="14827"/>
                  </a:lnTo>
                  <a:cubicBezTo>
                    <a:pt x="5779" y="14827"/>
                    <a:pt x="5782" y="14827"/>
                    <a:pt x="5785" y="14828"/>
                  </a:cubicBezTo>
                  <a:cubicBezTo>
                    <a:pt x="5778" y="14802"/>
                    <a:pt x="5779" y="14773"/>
                    <a:pt x="5796" y="14742"/>
                  </a:cubicBezTo>
                  <a:lnTo>
                    <a:pt x="5810" y="14718"/>
                  </a:lnTo>
                  <a:cubicBezTo>
                    <a:pt x="5810" y="14675"/>
                    <a:pt x="5813" y="14646"/>
                    <a:pt x="5828" y="14619"/>
                  </a:cubicBezTo>
                  <a:cubicBezTo>
                    <a:pt x="5837" y="14583"/>
                    <a:pt x="5861" y="14508"/>
                    <a:pt x="5927" y="14491"/>
                  </a:cubicBezTo>
                  <a:cubicBezTo>
                    <a:pt x="5917" y="14458"/>
                    <a:pt x="5911" y="14422"/>
                    <a:pt x="5926" y="14384"/>
                  </a:cubicBezTo>
                  <a:cubicBezTo>
                    <a:pt x="5940" y="14353"/>
                    <a:pt x="5952" y="14324"/>
                    <a:pt x="5960" y="14306"/>
                  </a:cubicBezTo>
                  <a:cubicBezTo>
                    <a:pt x="5957" y="14273"/>
                    <a:pt x="5958" y="14219"/>
                    <a:pt x="6001" y="14177"/>
                  </a:cubicBezTo>
                  <a:cubicBezTo>
                    <a:pt x="6007" y="14171"/>
                    <a:pt x="6015" y="14164"/>
                    <a:pt x="6023" y="14157"/>
                  </a:cubicBezTo>
                  <a:cubicBezTo>
                    <a:pt x="6024" y="14144"/>
                    <a:pt x="6027" y="14130"/>
                    <a:pt x="6033" y="14116"/>
                  </a:cubicBezTo>
                  <a:cubicBezTo>
                    <a:pt x="6033" y="14090"/>
                    <a:pt x="6038" y="14055"/>
                    <a:pt x="6066" y="14025"/>
                  </a:cubicBezTo>
                  <a:lnTo>
                    <a:pt x="6097" y="14001"/>
                  </a:lnTo>
                  <a:cubicBezTo>
                    <a:pt x="6101" y="13982"/>
                    <a:pt x="6109" y="13962"/>
                    <a:pt x="6126" y="13944"/>
                  </a:cubicBezTo>
                  <a:lnTo>
                    <a:pt x="6153" y="13921"/>
                  </a:lnTo>
                  <a:cubicBezTo>
                    <a:pt x="6158" y="13918"/>
                    <a:pt x="6164" y="13913"/>
                    <a:pt x="6169" y="13909"/>
                  </a:cubicBezTo>
                  <a:lnTo>
                    <a:pt x="6175" y="13895"/>
                  </a:lnTo>
                  <a:cubicBezTo>
                    <a:pt x="6219" y="13784"/>
                    <a:pt x="6249" y="13711"/>
                    <a:pt x="6330" y="13711"/>
                  </a:cubicBezTo>
                  <a:lnTo>
                    <a:pt x="6358" y="13715"/>
                  </a:lnTo>
                  <a:cubicBezTo>
                    <a:pt x="6365" y="13717"/>
                    <a:pt x="6370" y="13719"/>
                    <a:pt x="6376" y="13721"/>
                  </a:cubicBezTo>
                  <a:cubicBezTo>
                    <a:pt x="6385" y="13713"/>
                    <a:pt x="6396" y="13706"/>
                    <a:pt x="6407" y="13701"/>
                  </a:cubicBezTo>
                  <a:lnTo>
                    <a:pt x="6411" y="13681"/>
                  </a:lnTo>
                  <a:lnTo>
                    <a:pt x="6545" y="13665"/>
                  </a:lnTo>
                  <a:cubicBezTo>
                    <a:pt x="6587" y="13642"/>
                    <a:pt x="6635" y="13639"/>
                    <a:pt x="6665" y="13639"/>
                  </a:cubicBezTo>
                  <a:lnTo>
                    <a:pt x="6689" y="13640"/>
                  </a:lnTo>
                  <a:cubicBezTo>
                    <a:pt x="6706" y="13641"/>
                    <a:pt x="6722" y="13643"/>
                    <a:pt x="6738" y="13646"/>
                  </a:cubicBezTo>
                  <a:cubicBezTo>
                    <a:pt x="6744" y="13597"/>
                    <a:pt x="6762" y="13473"/>
                    <a:pt x="6869" y="13463"/>
                  </a:cubicBezTo>
                  <a:lnTo>
                    <a:pt x="6885" y="13449"/>
                  </a:lnTo>
                  <a:lnTo>
                    <a:pt x="6937" y="13441"/>
                  </a:lnTo>
                  <a:cubicBezTo>
                    <a:pt x="6956" y="13441"/>
                    <a:pt x="6976" y="13446"/>
                    <a:pt x="6994" y="13456"/>
                  </a:cubicBezTo>
                  <a:cubicBezTo>
                    <a:pt x="7042" y="13471"/>
                    <a:pt x="7085" y="13485"/>
                    <a:pt x="7115" y="13523"/>
                  </a:cubicBezTo>
                  <a:lnTo>
                    <a:pt x="7163" y="13520"/>
                  </a:lnTo>
                  <a:cubicBezTo>
                    <a:pt x="7224" y="13520"/>
                    <a:pt x="7256" y="13555"/>
                    <a:pt x="7269" y="13575"/>
                  </a:cubicBezTo>
                  <a:cubicBezTo>
                    <a:pt x="7284" y="13600"/>
                    <a:pt x="7299" y="13625"/>
                    <a:pt x="7307" y="13631"/>
                  </a:cubicBezTo>
                  <a:cubicBezTo>
                    <a:pt x="7332" y="13629"/>
                    <a:pt x="7364" y="13629"/>
                    <a:pt x="7393" y="13642"/>
                  </a:cubicBezTo>
                  <a:cubicBezTo>
                    <a:pt x="7420" y="13626"/>
                    <a:pt x="7446" y="13613"/>
                    <a:pt x="7474" y="13609"/>
                  </a:cubicBezTo>
                  <a:lnTo>
                    <a:pt x="7496" y="13608"/>
                  </a:lnTo>
                  <a:cubicBezTo>
                    <a:pt x="7509" y="13608"/>
                    <a:pt x="7569" y="13610"/>
                    <a:pt x="7615" y="13641"/>
                  </a:cubicBezTo>
                  <a:cubicBezTo>
                    <a:pt x="7621" y="13640"/>
                    <a:pt x="7627" y="13639"/>
                    <a:pt x="7634" y="13639"/>
                  </a:cubicBezTo>
                  <a:lnTo>
                    <a:pt x="7666" y="13647"/>
                  </a:lnTo>
                  <a:cubicBezTo>
                    <a:pt x="7681" y="13637"/>
                    <a:pt x="7701" y="13630"/>
                    <a:pt x="7724" y="13630"/>
                  </a:cubicBezTo>
                  <a:lnTo>
                    <a:pt x="7780" y="13641"/>
                  </a:lnTo>
                  <a:lnTo>
                    <a:pt x="7793" y="13653"/>
                  </a:lnTo>
                  <a:lnTo>
                    <a:pt x="7861" y="13652"/>
                  </a:lnTo>
                  <a:lnTo>
                    <a:pt x="7863" y="13655"/>
                  </a:lnTo>
                  <a:lnTo>
                    <a:pt x="7904" y="13655"/>
                  </a:lnTo>
                  <a:lnTo>
                    <a:pt x="7940" y="13691"/>
                  </a:lnTo>
                  <a:cubicBezTo>
                    <a:pt x="7941" y="13691"/>
                    <a:pt x="7956" y="13700"/>
                    <a:pt x="7961" y="13703"/>
                  </a:cubicBezTo>
                  <a:cubicBezTo>
                    <a:pt x="7957" y="13701"/>
                    <a:pt x="7994" y="13707"/>
                    <a:pt x="8011" y="13707"/>
                  </a:cubicBezTo>
                  <a:cubicBezTo>
                    <a:pt x="8004" y="13706"/>
                    <a:pt x="8026" y="13693"/>
                    <a:pt x="8056" y="13693"/>
                  </a:cubicBezTo>
                  <a:lnTo>
                    <a:pt x="8109" y="13697"/>
                  </a:lnTo>
                  <a:cubicBezTo>
                    <a:pt x="8113" y="13696"/>
                    <a:pt x="8116" y="13696"/>
                    <a:pt x="8119" y="13695"/>
                  </a:cubicBezTo>
                  <a:lnTo>
                    <a:pt x="8144" y="13694"/>
                  </a:lnTo>
                  <a:cubicBezTo>
                    <a:pt x="8172" y="13670"/>
                    <a:pt x="8203" y="13650"/>
                    <a:pt x="8242" y="13650"/>
                  </a:cubicBezTo>
                  <a:lnTo>
                    <a:pt x="8294" y="13650"/>
                  </a:lnTo>
                  <a:lnTo>
                    <a:pt x="8322" y="13686"/>
                  </a:lnTo>
                  <a:cubicBezTo>
                    <a:pt x="8338" y="13678"/>
                    <a:pt x="8354" y="13674"/>
                    <a:pt x="8373" y="13674"/>
                  </a:cubicBezTo>
                  <a:lnTo>
                    <a:pt x="8411" y="13674"/>
                  </a:lnTo>
                  <a:lnTo>
                    <a:pt x="8449" y="13703"/>
                  </a:lnTo>
                  <a:cubicBezTo>
                    <a:pt x="8460" y="13712"/>
                    <a:pt x="8468" y="13722"/>
                    <a:pt x="8475" y="13732"/>
                  </a:cubicBezTo>
                  <a:cubicBezTo>
                    <a:pt x="8501" y="13737"/>
                    <a:pt x="8532" y="13750"/>
                    <a:pt x="8558" y="13781"/>
                  </a:cubicBezTo>
                  <a:cubicBezTo>
                    <a:pt x="8579" y="13807"/>
                    <a:pt x="8595" y="13841"/>
                    <a:pt x="8613" y="13884"/>
                  </a:cubicBezTo>
                  <a:lnTo>
                    <a:pt x="8624" y="13909"/>
                  </a:lnTo>
                  <a:cubicBezTo>
                    <a:pt x="8630" y="13921"/>
                    <a:pt x="8634" y="13933"/>
                    <a:pt x="8637" y="13945"/>
                  </a:cubicBezTo>
                  <a:cubicBezTo>
                    <a:pt x="8682" y="13952"/>
                    <a:pt x="8723" y="13965"/>
                    <a:pt x="8745" y="14013"/>
                  </a:cubicBezTo>
                  <a:cubicBezTo>
                    <a:pt x="8752" y="14027"/>
                    <a:pt x="8755" y="14040"/>
                    <a:pt x="8756" y="14054"/>
                  </a:cubicBezTo>
                  <a:lnTo>
                    <a:pt x="8795" y="14054"/>
                  </a:lnTo>
                  <a:lnTo>
                    <a:pt x="8833" y="14100"/>
                  </a:lnTo>
                  <a:cubicBezTo>
                    <a:pt x="8857" y="14134"/>
                    <a:pt x="8865" y="14182"/>
                    <a:pt x="8862" y="14224"/>
                  </a:cubicBezTo>
                  <a:cubicBezTo>
                    <a:pt x="8909" y="14228"/>
                    <a:pt x="8959" y="14244"/>
                    <a:pt x="8980" y="14304"/>
                  </a:cubicBezTo>
                  <a:lnTo>
                    <a:pt x="8985" y="14323"/>
                  </a:lnTo>
                  <a:cubicBezTo>
                    <a:pt x="9111" y="14354"/>
                    <a:pt x="9129" y="14373"/>
                    <a:pt x="9143" y="14390"/>
                  </a:cubicBezTo>
                  <a:cubicBezTo>
                    <a:pt x="9160" y="14409"/>
                    <a:pt x="9170" y="14430"/>
                    <a:pt x="9181" y="14455"/>
                  </a:cubicBezTo>
                  <a:cubicBezTo>
                    <a:pt x="9186" y="14467"/>
                    <a:pt x="9192" y="14482"/>
                    <a:pt x="9199" y="14493"/>
                  </a:cubicBezTo>
                  <a:cubicBezTo>
                    <a:pt x="9208" y="14507"/>
                    <a:pt x="9219" y="14527"/>
                    <a:pt x="9228" y="14549"/>
                  </a:cubicBezTo>
                  <a:cubicBezTo>
                    <a:pt x="9231" y="14554"/>
                    <a:pt x="9233" y="14559"/>
                    <a:pt x="9235" y="14564"/>
                  </a:cubicBezTo>
                  <a:cubicBezTo>
                    <a:pt x="9273" y="14581"/>
                    <a:pt x="9304" y="14604"/>
                    <a:pt x="9308" y="14607"/>
                  </a:cubicBezTo>
                  <a:cubicBezTo>
                    <a:pt x="9320" y="14616"/>
                    <a:pt x="9334" y="14631"/>
                    <a:pt x="9349" y="14647"/>
                  </a:cubicBezTo>
                  <a:cubicBezTo>
                    <a:pt x="9355" y="14653"/>
                    <a:pt x="9360" y="14660"/>
                    <a:pt x="9365" y="14664"/>
                  </a:cubicBezTo>
                  <a:cubicBezTo>
                    <a:pt x="9391" y="14671"/>
                    <a:pt x="9430" y="14686"/>
                    <a:pt x="9454" y="14724"/>
                  </a:cubicBezTo>
                  <a:lnTo>
                    <a:pt x="9466" y="14747"/>
                  </a:lnTo>
                  <a:cubicBezTo>
                    <a:pt x="9508" y="14766"/>
                    <a:pt x="9582" y="14805"/>
                    <a:pt x="9608" y="14846"/>
                  </a:cubicBezTo>
                  <a:cubicBezTo>
                    <a:pt x="9623" y="14868"/>
                    <a:pt x="9629" y="14890"/>
                    <a:pt x="9631" y="14909"/>
                  </a:cubicBezTo>
                  <a:cubicBezTo>
                    <a:pt x="9648" y="14934"/>
                    <a:pt x="9665" y="14966"/>
                    <a:pt x="9670" y="14999"/>
                  </a:cubicBezTo>
                  <a:cubicBezTo>
                    <a:pt x="9682" y="15009"/>
                    <a:pt x="9695" y="15023"/>
                    <a:pt x="9705" y="15041"/>
                  </a:cubicBezTo>
                  <a:cubicBezTo>
                    <a:pt x="9708" y="15047"/>
                    <a:pt x="9711" y="15053"/>
                    <a:pt x="9714" y="15059"/>
                  </a:cubicBezTo>
                  <a:cubicBezTo>
                    <a:pt x="9751" y="15072"/>
                    <a:pt x="9795" y="15099"/>
                    <a:pt x="9822" y="15159"/>
                  </a:cubicBezTo>
                  <a:cubicBezTo>
                    <a:pt x="9843" y="15209"/>
                    <a:pt x="9847" y="15262"/>
                    <a:pt x="9849" y="15300"/>
                  </a:cubicBezTo>
                  <a:cubicBezTo>
                    <a:pt x="9850" y="15313"/>
                    <a:pt x="9850" y="15326"/>
                    <a:pt x="9852" y="15336"/>
                  </a:cubicBezTo>
                  <a:cubicBezTo>
                    <a:pt x="9855" y="15345"/>
                    <a:pt x="9859" y="15353"/>
                    <a:pt x="9862" y="15360"/>
                  </a:cubicBezTo>
                  <a:cubicBezTo>
                    <a:pt x="9870" y="15379"/>
                    <a:pt x="9881" y="15405"/>
                    <a:pt x="9881" y="15442"/>
                  </a:cubicBezTo>
                  <a:cubicBezTo>
                    <a:pt x="9881" y="15459"/>
                    <a:pt x="9879" y="15477"/>
                    <a:pt x="9873" y="15500"/>
                  </a:cubicBezTo>
                  <a:cubicBezTo>
                    <a:pt x="9905" y="15512"/>
                    <a:pt x="9935" y="15534"/>
                    <a:pt x="9946" y="15581"/>
                  </a:cubicBezTo>
                  <a:lnTo>
                    <a:pt x="9950" y="15605"/>
                  </a:lnTo>
                  <a:cubicBezTo>
                    <a:pt x="9951" y="15609"/>
                    <a:pt x="9952" y="15614"/>
                    <a:pt x="9952" y="15619"/>
                  </a:cubicBezTo>
                  <a:cubicBezTo>
                    <a:pt x="9965" y="15632"/>
                    <a:pt x="9978" y="15648"/>
                    <a:pt x="9987" y="15667"/>
                  </a:cubicBezTo>
                  <a:cubicBezTo>
                    <a:pt x="10016" y="15684"/>
                    <a:pt x="10034" y="15709"/>
                    <a:pt x="10044" y="15741"/>
                  </a:cubicBezTo>
                  <a:cubicBezTo>
                    <a:pt x="10054" y="15774"/>
                    <a:pt x="10064" y="15808"/>
                    <a:pt x="10065" y="15842"/>
                  </a:cubicBezTo>
                  <a:cubicBezTo>
                    <a:pt x="10089" y="15863"/>
                    <a:pt x="10107" y="15892"/>
                    <a:pt x="10107" y="15932"/>
                  </a:cubicBezTo>
                  <a:cubicBezTo>
                    <a:pt x="10109" y="15963"/>
                    <a:pt x="10112" y="15995"/>
                    <a:pt x="10105" y="16025"/>
                  </a:cubicBezTo>
                  <a:cubicBezTo>
                    <a:pt x="10116" y="16031"/>
                    <a:pt x="10125" y="16039"/>
                    <a:pt x="10132" y="16046"/>
                  </a:cubicBezTo>
                  <a:cubicBezTo>
                    <a:pt x="10178" y="16061"/>
                    <a:pt x="10209" y="16106"/>
                    <a:pt x="10216" y="16149"/>
                  </a:cubicBezTo>
                  <a:cubicBezTo>
                    <a:pt x="10250" y="16171"/>
                    <a:pt x="10284" y="16202"/>
                    <a:pt x="10289" y="16254"/>
                  </a:cubicBezTo>
                  <a:cubicBezTo>
                    <a:pt x="10292" y="16278"/>
                    <a:pt x="10288" y="16299"/>
                    <a:pt x="10282" y="16317"/>
                  </a:cubicBezTo>
                  <a:cubicBezTo>
                    <a:pt x="10283" y="16316"/>
                    <a:pt x="10289" y="16317"/>
                    <a:pt x="10294" y="16319"/>
                  </a:cubicBezTo>
                  <a:cubicBezTo>
                    <a:pt x="10324" y="16329"/>
                    <a:pt x="10415" y="16358"/>
                    <a:pt x="10405" y="16456"/>
                  </a:cubicBezTo>
                  <a:cubicBezTo>
                    <a:pt x="10403" y="16472"/>
                    <a:pt x="10398" y="16487"/>
                    <a:pt x="10392" y="16499"/>
                  </a:cubicBezTo>
                  <a:cubicBezTo>
                    <a:pt x="10399" y="16518"/>
                    <a:pt x="10403" y="16538"/>
                    <a:pt x="10401" y="16560"/>
                  </a:cubicBezTo>
                  <a:cubicBezTo>
                    <a:pt x="10400" y="16568"/>
                    <a:pt x="10397" y="16586"/>
                    <a:pt x="10391" y="16607"/>
                  </a:cubicBezTo>
                  <a:cubicBezTo>
                    <a:pt x="10390" y="16609"/>
                    <a:pt x="10390" y="16611"/>
                    <a:pt x="10389" y="16614"/>
                  </a:cubicBezTo>
                  <a:cubicBezTo>
                    <a:pt x="10392" y="16617"/>
                    <a:pt x="10395" y="16621"/>
                    <a:pt x="10397" y="16625"/>
                  </a:cubicBezTo>
                  <a:cubicBezTo>
                    <a:pt x="10411" y="16644"/>
                    <a:pt x="10422" y="16661"/>
                    <a:pt x="10425" y="16668"/>
                  </a:cubicBezTo>
                  <a:lnTo>
                    <a:pt x="10435" y="16698"/>
                  </a:lnTo>
                  <a:cubicBezTo>
                    <a:pt x="10482" y="16736"/>
                    <a:pt x="10502" y="16780"/>
                    <a:pt x="10497" y="16831"/>
                  </a:cubicBezTo>
                  <a:cubicBezTo>
                    <a:pt x="10496" y="16839"/>
                    <a:pt x="10495" y="16847"/>
                    <a:pt x="10493" y="16855"/>
                  </a:cubicBezTo>
                  <a:cubicBezTo>
                    <a:pt x="10580" y="16861"/>
                    <a:pt x="10601" y="16932"/>
                    <a:pt x="10604" y="16947"/>
                  </a:cubicBezTo>
                  <a:cubicBezTo>
                    <a:pt x="10606" y="16953"/>
                    <a:pt x="10607" y="16959"/>
                    <a:pt x="10607" y="16964"/>
                  </a:cubicBezTo>
                  <a:cubicBezTo>
                    <a:pt x="10625" y="16972"/>
                    <a:pt x="10642" y="16983"/>
                    <a:pt x="10655" y="17001"/>
                  </a:cubicBezTo>
                  <a:cubicBezTo>
                    <a:pt x="10676" y="17005"/>
                    <a:pt x="10692" y="17011"/>
                    <a:pt x="10708" y="17023"/>
                  </a:cubicBezTo>
                  <a:lnTo>
                    <a:pt x="10719" y="17033"/>
                  </a:lnTo>
                  <a:cubicBezTo>
                    <a:pt x="10756" y="17043"/>
                    <a:pt x="10804" y="17064"/>
                    <a:pt x="10827" y="17106"/>
                  </a:cubicBezTo>
                  <a:cubicBezTo>
                    <a:pt x="10829" y="17110"/>
                    <a:pt x="10835" y="17123"/>
                    <a:pt x="10843" y="17141"/>
                  </a:cubicBezTo>
                  <a:cubicBezTo>
                    <a:pt x="10852" y="17160"/>
                    <a:pt x="10864" y="17188"/>
                    <a:pt x="10874" y="17208"/>
                  </a:cubicBezTo>
                  <a:cubicBezTo>
                    <a:pt x="10932" y="17237"/>
                    <a:pt x="10959" y="17275"/>
                    <a:pt x="10959" y="17327"/>
                  </a:cubicBezTo>
                  <a:cubicBezTo>
                    <a:pt x="10960" y="17333"/>
                    <a:pt x="10965" y="17356"/>
                    <a:pt x="10972" y="17377"/>
                  </a:cubicBezTo>
                  <a:lnTo>
                    <a:pt x="10973" y="17377"/>
                  </a:lnTo>
                  <a:cubicBezTo>
                    <a:pt x="10997" y="17377"/>
                    <a:pt x="11051" y="17377"/>
                    <a:pt x="11087" y="17424"/>
                  </a:cubicBezTo>
                  <a:lnTo>
                    <a:pt x="11119" y="17464"/>
                  </a:lnTo>
                  <a:lnTo>
                    <a:pt x="11110" y="17521"/>
                  </a:lnTo>
                  <a:cubicBezTo>
                    <a:pt x="11110" y="17523"/>
                    <a:pt x="11110" y="17525"/>
                    <a:pt x="11109" y="17528"/>
                  </a:cubicBezTo>
                  <a:cubicBezTo>
                    <a:pt x="11145" y="17560"/>
                    <a:pt x="11191" y="17614"/>
                    <a:pt x="11167" y="17682"/>
                  </a:cubicBezTo>
                  <a:cubicBezTo>
                    <a:pt x="11191" y="17712"/>
                    <a:pt x="11196" y="17745"/>
                    <a:pt x="11197" y="17767"/>
                  </a:cubicBezTo>
                  <a:cubicBezTo>
                    <a:pt x="11197" y="17775"/>
                    <a:pt x="11197" y="17782"/>
                    <a:pt x="11197" y="17788"/>
                  </a:cubicBezTo>
                  <a:cubicBezTo>
                    <a:pt x="11206" y="17795"/>
                    <a:pt x="11213" y="17802"/>
                    <a:pt x="11219" y="17810"/>
                  </a:cubicBezTo>
                  <a:lnTo>
                    <a:pt x="11237" y="17810"/>
                  </a:lnTo>
                  <a:lnTo>
                    <a:pt x="11275" y="17845"/>
                  </a:lnTo>
                  <a:cubicBezTo>
                    <a:pt x="11292" y="17863"/>
                    <a:pt x="11301" y="17883"/>
                    <a:pt x="11307" y="17900"/>
                  </a:cubicBezTo>
                  <a:cubicBezTo>
                    <a:pt x="11330" y="17909"/>
                    <a:pt x="11351" y="17921"/>
                    <a:pt x="11368" y="17945"/>
                  </a:cubicBezTo>
                  <a:lnTo>
                    <a:pt x="11384" y="17971"/>
                  </a:lnTo>
                  <a:cubicBezTo>
                    <a:pt x="11399" y="17997"/>
                    <a:pt x="11411" y="18018"/>
                    <a:pt x="11421" y="18031"/>
                  </a:cubicBezTo>
                  <a:cubicBezTo>
                    <a:pt x="11431" y="18029"/>
                    <a:pt x="11442" y="18028"/>
                    <a:pt x="11453" y="18028"/>
                  </a:cubicBezTo>
                  <a:lnTo>
                    <a:pt x="11521" y="18028"/>
                  </a:lnTo>
                  <a:lnTo>
                    <a:pt x="11545" y="18070"/>
                  </a:lnTo>
                  <a:cubicBezTo>
                    <a:pt x="11553" y="18069"/>
                    <a:pt x="11561" y="18068"/>
                    <a:pt x="11567" y="18068"/>
                  </a:cubicBezTo>
                  <a:lnTo>
                    <a:pt x="11615" y="18068"/>
                  </a:lnTo>
                  <a:lnTo>
                    <a:pt x="11661" y="18113"/>
                  </a:lnTo>
                  <a:cubicBezTo>
                    <a:pt x="11665" y="18117"/>
                    <a:pt x="11668" y="18122"/>
                    <a:pt x="11671" y="18127"/>
                  </a:cubicBezTo>
                  <a:lnTo>
                    <a:pt x="11729" y="18127"/>
                  </a:lnTo>
                  <a:lnTo>
                    <a:pt x="11757" y="18203"/>
                  </a:lnTo>
                  <a:cubicBezTo>
                    <a:pt x="11758" y="18205"/>
                    <a:pt x="11769" y="18223"/>
                    <a:pt x="11777" y="18236"/>
                  </a:cubicBezTo>
                  <a:cubicBezTo>
                    <a:pt x="11854" y="18290"/>
                    <a:pt x="11837" y="18361"/>
                    <a:pt x="11828" y="18386"/>
                  </a:cubicBezTo>
                  <a:cubicBezTo>
                    <a:pt x="11842" y="18394"/>
                    <a:pt x="11853" y="18404"/>
                    <a:pt x="11863" y="18417"/>
                  </a:cubicBezTo>
                  <a:cubicBezTo>
                    <a:pt x="11904" y="18473"/>
                    <a:pt x="11907" y="18550"/>
                    <a:pt x="11871" y="18604"/>
                  </a:cubicBezTo>
                  <a:cubicBezTo>
                    <a:pt x="11879" y="18639"/>
                    <a:pt x="11886" y="18686"/>
                    <a:pt x="11866" y="18731"/>
                  </a:cubicBezTo>
                  <a:lnTo>
                    <a:pt x="11852" y="18760"/>
                  </a:lnTo>
                  <a:cubicBezTo>
                    <a:pt x="11849" y="18767"/>
                    <a:pt x="11845" y="18775"/>
                    <a:pt x="11842" y="18782"/>
                  </a:cubicBezTo>
                  <a:cubicBezTo>
                    <a:pt x="11843" y="18789"/>
                    <a:pt x="11843" y="18795"/>
                    <a:pt x="11843" y="18802"/>
                  </a:cubicBezTo>
                  <a:cubicBezTo>
                    <a:pt x="11855" y="18812"/>
                    <a:pt x="11866" y="18825"/>
                    <a:pt x="11873" y="18842"/>
                  </a:cubicBezTo>
                  <a:lnTo>
                    <a:pt x="11873" y="18843"/>
                  </a:lnTo>
                  <a:cubicBezTo>
                    <a:pt x="11916" y="18854"/>
                    <a:pt x="11954" y="18889"/>
                    <a:pt x="11963" y="18952"/>
                  </a:cubicBezTo>
                  <a:lnTo>
                    <a:pt x="11973" y="18989"/>
                  </a:lnTo>
                  <a:lnTo>
                    <a:pt x="11960" y="19015"/>
                  </a:lnTo>
                  <a:cubicBezTo>
                    <a:pt x="11969" y="19031"/>
                    <a:pt x="11976" y="19051"/>
                    <a:pt x="11980" y="19073"/>
                  </a:cubicBezTo>
                  <a:cubicBezTo>
                    <a:pt x="11982" y="19083"/>
                    <a:pt x="11984" y="19144"/>
                    <a:pt x="11968" y="19197"/>
                  </a:cubicBezTo>
                  <a:cubicBezTo>
                    <a:pt x="11975" y="19224"/>
                    <a:pt x="11973" y="19247"/>
                    <a:pt x="11968" y="19265"/>
                  </a:cubicBezTo>
                  <a:cubicBezTo>
                    <a:pt x="11977" y="19292"/>
                    <a:pt x="11974" y="19318"/>
                    <a:pt x="11970" y="19335"/>
                  </a:cubicBezTo>
                  <a:cubicBezTo>
                    <a:pt x="11968" y="19344"/>
                    <a:pt x="11964" y="19354"/>
                    <a:pt x="11960" y="19363"/>
                  </a:cubicBezTo>
                  <a:cubicBezTo>
                    <a:pt x="11978" y="19374"/>
                    <a:pt x="11994" y="19389"/>
                    <a:pt x="12005" y="19409"/>
                  </a:cubicBezTo>
                  <a:lnTo>
                    <a:pt x="12015" y="19433"/>
                  </a:lnTo>
                  <a:cubicBezTo>
                    <a:pt x="12041" y="19447"/>
                    <a:pt x="12071" y="19471"/>
                    <a:pt x="12080" y="19517"/>
                  </a:cubicBezTo>
                  <a:lnTo>
                    <a:pt x="12086" y="19543"/>
                  </a:lnTo>
                  <a:cubicBezTo>
                    <a:pt x="12125" y="19558"/>
                    <a:pt x="12163" y="19585"/>
                    <a:pt x="12176" y="19637"/>
                  </a:cubicBezTo>
                  <a:cubicBezTo>
                    <a:pt x="12178" y="19649"/>
                    <a:pt x="12179" y="19661"/>
                    <a:pt x="12179" y="19672"/>
                  </a:cubicBezTo>
                  <a:cubicBezTo>
                    <a:pt x="12203" y="19683"/>
                    <a:pt x="12225" y="19697"/>
                    <a:pt x="12240" y="19716"/>
                  </a:cubicBezTo>
                  <a:cubicBezTo>
                    <a:pt x="12261" y="19741"/>
                    <a:pt x="12267" y="19769"/>
                    <a:pt x="12275" y="19801"/>
                  </a:cubicBezTo>
                  <a:cubicBezTo>
                    <a:pt x="12277" y="19811"/>
                    <a:pt x="12279" y="19821"/>
                    <a:pt x="12282" y="19829"/>
                  </a:cubicBezTo>
                  <a:cubicBezTo>
                    <a:pt x="12293" y="19840"/>
                    <a:pt x="12321" y="19874"/>
                    <a:pt x="12321" y="19927"/>
                  </a:cubicBezTo>
                  <a:lnTo>
                    <a:pt x="12319" y="19945"/>
                  </a:lnTo>
                  <a:cubicBezTo>
                    <a:pt x="12347" y="19964"/>
                    <a:pt x="12373" y="19993"/>
                    <a:pt x="12379" y="20040"/>
                  </a:cubicBezTo>
                  <a:cubicBezTo>
                    <a:pt x="12380" y="20047"/>
                    <a:pt x="12381" y="20064"/>
                    <a:pt x="12380" y="20086"/>
                  </a:cubicBezTo>
                  <a:cubicBezTo>
                    <a:pt x="12380" y="20101"/>
                    <a:pt x="12379" y="20142"/>
                    <a:pt x="12383" y="20155"/>
                  </a:cubicBezTo>
                  <a:cubicBezTo>
                    <a:pt x="12408" y="20195"/>
                    <a:pt x="12421" y="20217"/>
                    <a:pt x="12431" y="20257"/>
                  </a:cubicBezTo>
                  <a:cubicBezTo>
                    <a:pt x="12434" y="20270"/>
                    <a:pt x="12437" y="20299"/>
                    <a:pt x="12439" y="20330"/>
                  </a:cubicBezTo>
                  <a:cubicBezTo>
                    <a:pt x="12440" y="20337"/>
                    <a:pt x="12440" y="20344"/>
                    <a:pt x="12440" y="20351"/>
                  </a:cubicBezTo>
                  <a:cubicBezTo>
                    <a:pt x="12471" y="20366"/>
                    <a:pt x="12493" y="20380"/>
                    <a:pt x="12510" y="20401"/>
                  </a:cubicBezTo>
                  <a:cubicBezTo>
                    <a:pt x="12546" y="20447"/>
                    <a:pt x="12590" y="20502"/>
                    <a:pt x="12593" y="20562"/>
                  </a:cubicBezTo>
                  <a:cubicBezTo>
                    <a:pt x="12630" y="20564"/>
                    <a:pt x="12660" y="20575"/>
                    <a:pt x="12682" y="20594"/>
                  </a:cubicBezTo>
                  <a:cubicBezTo>
                    <a:pt x="12720" y="20594"/>
                    <a:pt x="12781" y="20600"/>
                    <a:pt x="12817" y="20640"/>
                  </a:cubicBezTo>
                  <a:cubicBezTo>
                    <a:pt x="12830" y="20642"/>
                    <a:pt x="12842" y="20646"/>
                    <a:pt x="12854" y="20652"/>
                  </a:cubicBezTo>
                  <a:cubicBezTo>
                    <a:pt x="12870" y="20649"/>
                    <a:pt x="12886" y="20646"/>
                    <a:pt x="12899" y="20646"/>
                  </a:cubicBezTo>
                  <a:lnTo>
                    <a:pt x="12907" y="20646"/>
                  </a:lnTo>
                  <a:cubicBezTo>
                    <a:pt x="12921" y="20639"/>
                    <a:pt x="12939" y="20634"/>
                    <a:pt x="12960" y="20634"/>
                  </a:cubicBezTo>
                  <a:lnTo>
                    <a:pt x="12985" y="20634"/>
                  </a:lnTo>
                  <a:lnTo>
                    <a:pt x="13017" y="20648"/>
                  </a:lnTo>
                  <a:cubicBezTo>
                    <a:pt x="13025" y="20652"/>
                    <a:pt x="13079" y="20682"/>
                    <a:pt x="13106" y="20731"/>
                  </a:cubicBezTo>
                  <a:cubicBezTo>
                    <a:pt x="13146" y="20740"/>
                    <a:pt x="13169" y="20763"/>
                    <a:pt x="13182" y="20783"/>
                  </a:cubicBezTo>
                  <a:cubicBezTo>
                    <a:pt x="13188" y="20791"/>
                    <a:pt x="13192" y="20800"/>
                    <a:pt x="13195" y="20807"/>
                  </a:cubicBezTo>
                  <a:cubicBezTo>
                    <a:pt x="13220" y="20817"/>
                    <a:pt x="13243" y="20834"/>
                    <a:pt x="13257" y="20865"/>
                  </a:cubicBezTo>
                  <a:cubicBezTo>
                    <a:pt x="13270" y="20872"/>
                    <a:pt x="13283" y="20881"/>
                    <a:pt x="13294" y="20895"/>
                  </a:cubicBezTo>
                  <a:cubicBezTo>
                    <a:pt x="13297" y="20894"/>
                    <a:pt x="13300" y="20893"/>
                    <a:pt x="13303" y="20893"/>
                  </a:cubicBezTo>
                  <a:cubicBezTo>
                    <a:pt x="13329" y="20885"/>
                    <a:pt x="13348" y="20878"/>
                    <a:pt x="13370" y="20878"/>
                  </a:cubicBezTo>
                  <a:lnTo>
                    <a:pt x="13414" y="20878"/>
                  </a:lnTo>
                  <a:lnTo>
                    <a:pt x="13459" y="20916"/>
                  </a:lnTo>
                  <a:cubicBezTo>
                    <a:pt x="13461" y="20918"/>
                    <a:pt x="13466" y="20922"/>
                    <a:pt x="13471" y="20926"/>
                  </a:cubicBezTo>
                  <a:cubicBezTo>
                    <a:pt x="13495" y="20929"/>
                    <a:pt x="13518" y="20933"/>
                    <a:pt x="13539" y="20947"/>
                  </a:cubicBezTo>
                  <a:cubicBezTo>
                    <a:pt x="13571" y="20940"/>
                    <a:pt x="13597" y="20937"/>
                    <a:pt x="13616" y="20937"/>
                  </a:cubicBezTo>
                  <a:lnTo>
                    <a:pt x="13682" y="20937"/>
                  </a:lnTo>
                  <a:lnTo>
                    <a:pt x="13724" y="21002"/>
                  </a:lnTo>
                  <a:cubicBezTo>
                    <a:pt x="13729" y="21012"/>
                    <a:pt x="13732" y="21021"/>
                    <a:pt x="13733" y="21029"/>
                  </a:cubicBezTo>
                  <a:cubicBezTo>
                    <a:pt x="13736" y="21030"/>
                    <a:pt x="13739" y="21032"/>
                    <a:pt x="13741" y="21034"/>
                  </a:cubicBezTo>
                  <a:cubicBezTo>
                    <a:pt x="13757" y="21043"/>
                    <a:pt x="13769" y="21049"/>
                    <a:pt x="13778" y="21055"/>
                  </a:cubicBezTo>
                  <a:cubicBezTo>
                    <a:pt x="13788" y="21051"/>
                    <a:pt x="13800" y="21049"/>
                    <a:pt x="13813" y="21049"/>
                  </a:cubicBezTo>
                  <a:lnTo>
                    <a:pt x="13864" y="21049"/>
                  </a:lnTo>
                  <a:lnTo>
                    <a:pt x="13902" y="21094"/>
                  </a:lnTo>
                  <a:cubicBezTo>
                    <a:pt x="13915" y="21111"/>
                    <a:pt x="13921" y="21128"/>
                    <a:pt x="13925" y="21143"/>
                  </a:cubicBezTo>
                  <a:cubicBezTo>
                    <a:pt x="13927" y="21143"/>
                    <a:pt x="13929" y="21143"/>
                    <a:pt x="13930" y="21143"/>
                  </a:cubicBezTo>
                  <a:lnTo>
                    <a:pt x="13992" y="21143"/>
                  </a:lnTo>
                  <a:lnTo>
                    <a:pt x="14037" y="21206"/>
                  </a:lnTo>
                  <a:cubicBezTo>
                    <a:pt x="14040" y="21212"/>
                    <a:pt x="14043" y="21218"/>
                    <a:pt x="14045" y="21225"/>
                  </a:cubicBezTo>
                  <a:cubicBezTo>
                    <a:pt x="14064" y="21229"/>
                    <a:pt x="14079" y="21233"/>
                    <a:pt x="14094" y="21240"/>
                  </a:cubicBezTo>
                  <a:cubicBezTo>
                    <a:pt x="14102" y="21238"/>
                    <a:pt x="14110" y="21237"/>
                    <a:pt x="14119" y="21237"/>
                  </a:cubicBezTo>
                  <a:lnTo>
                    <a:pt x="14172" y="21251"/>
                  </a:lnTo>
                  <a:cubicBezTo>
                    <a:pt x="14201" y="21244"/>
                    <a:pt x="14238" y="21235"/>
                    <a:pt x="14269" y="21235"/>
                  </a:cubicBezTo>
                  <a:lnTo>
                    <a:pt x="14335" y="21235"/>
                  </a:lnTo>
                  <a:lnTo>
                    <a:pt x="14344" y="21248"/>
                  </a:lnTo>
                  <a:cubicBezTo>
                    <a:pt x="14360" y="21241"/>
                    <a:pt x="14377" y="21237"/>
                    <a:pt x="14394" y="21236"/>
                  </a:cubicBezTo>
                  <a:lnTo>
                    <a:pt x="14418" y="21236"/>
                  </a:lnTo>
                  <a:cubicBezTo>
                    <a:pt x="14441" y="21236"/>
                    <a:pt x="14473" y="21236"/>
                    <a:pt x="14504" y="21246"/>
                  </a:cubicBezTo>
                  <a:cubicBezTo>
                    <a:pt x="14511" y="21244"/>
                    <a:pt x="14518" y="21244"/>
                    <a:pt x="14526" y="21244"/>
                  </a:cubicBezTo>
                  <a:lnTo>
                    <a:pt x="14556" y="21248"/>
                  </a:lnTo>
                  <a:cubicBezTo>
                    <a:pt x="14577" y="21234"/>
                    <a:pt x="14597" y="21226"/>
                    <a:pt x="14623" y="21226"/>
                  </a:cubicBezTo>
                  <a:lnTo>
                    <a:pt x="14659" y="21226"/>
                  </a:lnTo>
                  <a:lnTo>
                    <a:pt x="14702" y="21259"/>
                  </a:lnTo>
                  <a:cubicBezTo>
                    <a:pt x="14704" y="21260"/>
                    <a:pt x="14705" y="21260"/>
                    <a:pt x="14705" y="21261"/>
                  </a:cubicBezTo>
                  <a:cubicBezTo>
                    <a:pt x="14706" y="21261"/>
                    <a:pt x="14706" y="21261"/>
                    <a:pt x="14707" y="21260"/>
                  </a:cubicBezTo>
                  <a:cubicBezTo>
                    <a:pt x="14729" y="21253"/>
                    <a:pt x="14754" y="21244"/>
                    <a:pt x="14782" y="21244"/>
                  </a:cubicBezTo>
                  <a:lnTo>
                    <a:pt x="14830" y="21244"/>
                  </a:lnTo>
                  <a:lnTo>
                    <a:pt x="14872" y="21286"/>
                  </a:lnTo>
                  <a:cubicBezTo>
                    <a:pt x="14874" y="21289"/>
                    <a:pt x="14877" y="21293"/>
                    <a:pt x="14879" y="21296"/>
                  </a:cubicBezTo>
                  <a:cubicBezTo>
                    <a:pt x="14886" y="21299"/>
                    <a:pt x="14894" y="21302"/>
                    <a:pt x="14901" y="21305"/>
                  </a:cubicBezTo>
                  <a:cubicBezTo>
                    <a:pt x="14902" y="21306"/>
                    <a:pt x="14903" y="21306"/>
                    <a:pt x="14904" y="21307"/>
                  </a:cubicBezTo>
                  <a:cubicBezTo>
                    <a:pt x="14919" y="21299"/>
                    <a:pt x="14938" y="21293"/>
                    <a:pt x="14961" y="21293"/>
                  </a:cubicBezTo>
                  <a:lnTo>
                    <a:pt x="15000" y="21300"/>
                  </a:lnTo>
                  <a:cubicBezTo>
                    <a:pt x="15093" y="21326"/>
                    <a:pt x="15133" y="21339"/>
                    <a:pt x="15160" y="21378"/>
                  </a:cubicBezTo>
                  <a:cubicBezTo>
                    <a:pt x="15169" y="21390"/>
                    <a:pt x="15207" y="21438"/>
                    <a:pt x="15216" y="21448"/>
                  </a:cubicBezTo>
                  <a:cubicBezTo>
                    <a:pt x="15235" y="21466"/>
                    <a:pt x="15247" y="21478"/>
                    <a:pt x="15258" y="21491"/>
                  </a:cubicBezTo>
                  <a:cubicBezTo>
                    <a:pt x="15259" y="21493"/>
                    <a:pt x="15261" y="21495"/>
                    <a:pt x="15262" y="21496"/>
                  </a:cubicBezTo>
                  <a:cubicBezTo>
                    <a:pt x="15305" y="21509"/>
                    <a:pt x="15358" y="21535"/>
                    <a:pt x="15379" y="21583"/>
                  </a:cubicBezTo>
                  <a:cubicBezTo>
                    <a:pt x="15408" y="21588"/>
                    <a:pt x="15429" y="21593"/>
                    <a:pt x="15446" y="21600"/>
                  </a:cubicBezTo>
                  <a:cubicBezTo>
                    <a:pt x="15451" y="21586"/>
                    <a:pt x="15459" y="21572"/>
                    <a:pt x="15472" y="21559"/>
                  </a:cubicBezTo>
                  <a:cubicBezTo>
                    <a:pt x="15493" y="21528"/>
                    <a:pt x="15527" y="21481"/>
                    <a:pt x="15589" y="21481"/>
                  </a:cubicBezTo>
                  <a:cubicBezTo>
                    <a:pt x="15605" y="21482"/>
                    <a:pt x="15581" y="21483"/>
                    <a:pt x="15558" y="21505"/>
                  </a:cubicBezTo>
                  <a:cubicBezTo>
                    <a:pt x="15586" y="21480"/>
                    <a:pt x="15630" y="21470"/>
                    <a:pt x="15661" y="21467"/>
                  </a:cubicBezTo>
                  <a:lnTo>
                    <a:pt x="15668" y="21461"/>
                  </a:lnTo>
                  <a:lnTo>
                    <a:pt x="15701" y="21453"/>
                  </a:lnTo>
                  <a:cubicBezTo>
                    <a:pt x="15694" y="21435"/>
                    <a:pt x="15691" y="21418"/>
                    <a:pt x="15691" y="21401"/>
                  </a:cubicBezTo>
                  <a:cubicBezTo>
                    <a:pt x="15682" y="21397"/>
                    <a:pt x="15673" y="21391"/>
                    <a:pt x="15665" y="21384"/>
                  </a:cubicBezTo>
                  <a:cubicBezTo>
                    <a:pt x="15656" y="21376"/>
                    <a:pt x="15610" y="21327"/>
                    <a:pt x="15610" y="21327"/>
                  </a:cubicBezTo>
                  <a:cubicBezTo>
                    <a:pt x="15584" y="21293"/>
                    <a:pt x="15572" y="21254"/>
                    <a:pt x="15575" y="21218"/>
                  </a:cubicBezTo>
                  <a:cubicBezTo>
                    <a:pt x="15559" y="21201"/>
                    <a:pt x="15542" y="21173"/>
                    <a:pt x="15541" y="21136"/>
                  </a:cubicBezTo>
                  <a:lnTo>
                    <a:pt x="15539" y="21084"/>
                  </a:lnTo>
                  <a:lnTo>
                    <a:pt x="15546" y="21077"/>
                  </a:lnTo>
                  <a:cubicBezTo>
                    <a:pt x="15535" y="21059"/>
                    <a:pt x="15526" y="21040"/>
                    <a:pt x="15522" y="21021"/>
                  </a:cubicBezTo>
                  <a:lnTo>
                    <a:pt x="15493" y="20958"/>
                  </a:lnTo>
                  <a:cubicBezTo>
                    <a:pt x="15485" y="20939"/>
                    <a:pt x="15478" y="20918"/>
                    <a:pt x="15473" y="20896"/>
                  </a:cubicBezTo>
                  <a:lnTo>
                    <a:pt x="15399" y="20896"/>
                  </a:lnTo>
                  <a:lnTo>
                    <a:pt x="15372" y="20789"/>
                  </a:lnTo>
                  <a:cubicBezTo>
                    <a:pt x="15370" y="20770"/>
                    <a:pt x="15375" y="20747"/>
                    <a:pt x="15381" y="20724"/>
                  </a:cubicBezTo>
                  <a:lnTo>
                    <a:pt x="15352" y="20681"/>
                  </a:lnTo>
                  <a:cubicBezTo>
                    <a:pt x="15343" y="20659"/>
                    <a:pt x="15338" y="20640"/>
                    <a:pt x="15336" y="20622"/>
                  </a:cubicBezTo>
                  <a:cubicBezTo>
                    <a:pt x="15284" y="20566"/>
                    <a:pt x="15294" y="20513"/>
                    <a:pt x="15307" y="20482"/>
                  </a:cubicBezTo>
                  <a:lnTo>
                    <a:pt x="15316" y="20461"/>
                  </a:lnTo>
                  <a:cubicBezTo>
                    <a:pt x="15313" y="20435"/>
                    <a:pt x="15312" y="20408"/>
                    <a:pt x="15314" y="20390"/>
                  </a:cubicBezTo>
                  <a:lnTo>
                    <a:pt x="15320" y="20363"/>
                  </a:lnTo>
                  <a:cubicBezTo>
                    <a:pt x="15292" y="20315"/>
                    <a:pt x="15272" y="20267"/>
                    <a:pt x="15279" y="20214"/>
                  </a:cubicBezTo>
                  <a:cubicBezTo>
                    <a:pt x="15282" y="20192"/>
                    <a:pt x="15282" y="20192"/>
                    <a:pt x="15276" y="20178"/>
                  </a:cubicBezTo>
                  <a:cubicBezTo>
                    <a:pt x="15273" y="20170"/>
                    <a:pt x="15269" y="20161"/>
                    <a:pt x="15264" y="20152"/>
                  </a:cubicBezTo>
                  <a:cubicBezTo>
                    <a:pt x="15248" y="20120"/>
                    <a:pt x="15230" y="20083"/>
                    <a:pt x="15230" y="20041"/>
                  </a:cubicBezTo>
                  <a:cubicBezTo>
                    <a:pt x="15230" y="20028"/>
                    <a:pt x="15232" y="20015"/>
                    <a:pt x="15234" y="20003"/>
                  </a:cubicBezTo>
                  <a:cubicBezTo>
                    <a:pt x="15218" y="19989"/>
                    <a:pt x="15202" y="19968"/>
                    <a:pt x="15193" y="19939"/>
                  </a:cubicBezTo>
                  <a:cubicBezTo>
                    <a:pt x="15190" y="19930"/>
                    <a:pt x="15175" y="19908"/>
                    <a:pt x="15165" y="19900"/>
                  </a:cubicBezTo>
                  <a:cubicBezTo>
                    <a:pt x="15115" y="19861"/>
                    <a:pt x="15039" y="19804"/>
                    <a:pt x="15066" y="19712"/>
                  </a:cubicBezTo>
                  <a:cubicBezTo>
                    <a:pt x="15069" y="19699"/>
                    <a:pt x="15074" y="19689"/>
                    <a:pt x="15077" y="19681"/>
                  </a:cubicBezTo>
                  <a:cubicBezTo>
                    <a:pt x="15077" y="19670"/>
                    <a:pt x="15078" y="19653"/>
                    <a:pt x="15085" y="19634"/>
                  </a:cubicBezTo>
                  <a:cubicBezTo>
                    <a:pt x="15067" y="19595"/>
                    <a:pt x="15057" y="19555"/>
                    <a:pt x="15072" y="19511"/>
                  </a:cubicBezTo>
                  <a:cubicBezTo>
                    <a:pt x="15072" y="19510"/>
                    <a:pt x="15073" y="19509"/>
                    <a:pt x="15074" y="19507"/>
                  </a:cubicBezTo>
                  <a:cubicBezTo>
                    <a:pt x="15060" y="19457"/>
                    <a:pt x="15068" y="19416"/>
                    <a:pt x="15097" y="19382"/>
                  </a:cubicBezTo>
                  <a:cubicBezTo>
                    <a:pt x="15116" y="19358"/>
                    <a:pt x="15142" y="19344"/>
                    <a:pt x="15168" y="19336"/>
                  </a:cubicBezTo>
                  <a:cubicBezTo>
                    <a:pt x="15168" y="19326"/>
                    <a:pt x="15170" y="19316"/>
                    <a:pt x="15172" y="19307"/>
                  </a:cubicBezTo>
                  <a:cubicBezTo>
                    <a:pt x="15166" y="19289"/>
                    <a:pt x="15165" y="19270"/>
                    <a:pt x="15167" y="19252"/>
                  </a:cubicBezTo>
                  <a:cubicBezTo>
                    <a:pt x="15170" y="19218"/>
                    <a:pt x="15175" y="19163"/>
                    <a:pt x="15224" y="19129"/>
                  </a:cubicBezTo>
                  <a:lnTo>
                    <a:pt x="15261" y="19112"/>
                  </a:lnTo>
                  <a:cubicBezTo>
                    <a:pt x="15262" y="19101"/>
                    <a:pt x="15263" y="19089"/>
                    <a:pt x="15264" y="19079"/>
                  </a:cubicBezTo>
                  <a:cubicBezTo>
                    <a:pt x="15247" y="19086"/>
                    <a:pt x="15230" y="19090"/>
                    <a:pt x="15212" y="19090"/>
                  </a:cubicBezTo>
                  <a:lnTo>
                    <a:pt x="15188" y="19088"/>
                  </a:lnTo>
                  <a:cubicBezTo>
                    <a:pt x="15175" y="19085"/>
                    <a:pt x="15160" y="19079"/>
                    <a:pt x="15144" y="19072"/>
                  </a:cubicBezTo>
                  <a:lnTo>
                    <a:pt x="15124" y="19065"/>
                  </a:lnTo>
                  <a:lnTo>
                    <a:pt x="15086" y="19065"/>
                  </a:lnTo>
                  <a:cubicBezTo>
                    <a:pt x="15037" y="19065"/>
                    <a:pt x="14946" y="19065"/>
                    <a:pt x="14917" y="18979"/>
                  </a:cubicBezTo>
                  <a:cubicBezTo>
                    <a:pt x="14912" y="18964"/>
                    <a:pt x="14906" y="18939"/>
                    <a:pt x="14902" y="18919"/>
                  </a:cubicBezTo>
                  <a:cubicBezTo>
                    <a:pt x="14889" y="18864"/>
                    <a:pt x="14898" y="18819"/>
                    <a:pt x="14922" y="18787"/>
                  </a:cubicBezTo>
                  <a:lnTo>
                    <a:pt x="14954" y="18744"/>
                  </a:lnTo>
                  <a:lnTo>
                    <a:pt x="15014" y="18739"/>
                  </a:lnTo>
                  <a:cubicBezTo>
                    <a:pt x="15035" y="18711"/>
                    <a:pt x="15059" y="18690"/>
                    <a:pt x="15093" y="18683"/>
                  </a:cubicBezTo>
                  <a:cubicBezTo>
                    <a:pt x="15098" y="18680"/>
                    <a:pt x="15103" y="18676"/>
                    <a:pt x="15108" y="18672"/>
                  </a:cubicBezTo>
                  <a:cubicBezTo>
                    <a:pt x="15113" y="18669"/>
                    <a:pt x="15119" y="18665"/>
                    <a:pt x="15125" y="18661"/>
                  </a:cubicBezTo>
                  <a:lnTo>
                    <a:pt x="15136" y="18630"/>
                  </a:lnTo>
                  <a:lnTo>
                    <a:pt x="15201" y="18582"/>
                  </a:lnTo>
                  <a:cubicBezTo>
                    <a:pt x="15218" y="18577"/>
                    <a:pt x="15237" y="18572"/>
                    <a:pt x="15258" y="18572"/>
                  </a:cubicBezTo>
                  <a:lnTo>
                    <a:pt x="15320" y="18572"/>
                  </a:lnTo>
                  <a:lnTo>
                    <a:pt x="15352" y="18616"/>
                  </a:lnTo>
                  <a:cubicBezTo>
                    <a:pt x="15354" y="18608"/>
                    <a:pt x="15356" y="18598"/>
                    <a:pt x="15358" y="18587"/>
                  </a:cubicBezTo>
                  <a:cubicBezTo>
                    <a:pt x="15371" y="18529"/>
                    <a:pt x="15387" y="18454"/>
                    <a:pt x="15403" y="18400"/>
                  </a:cubicBezTo>
                  <a:cubicBezTo>
                    <a:pt x="15412" y="18370"/>
                    <a:pt x="15418" y="18342"/>
                    <a:pt x="15423" y="18317"/>
                  </a:cubicBezTo>
                  <a:cubicBezTo>
                    <a:pt x="15436" y="18259"/>
                    <a:pt x="15448" y="18208"/>
                    <a:pt x="15479" y="18171"/>
                  </a:cubicBezTo>
                  <a:cubicBezTo>
                    <a:pt x="15477" y="18138"/>
                    <a:pt x="15487" y="18107"/>
                    <a:pt x="15509" y="18080"/>
                  </a:cubicBezTo>
                  <a:cubicBezTo>
                    <a:pt x="15503" y="18077"/>
                    <a:pt x="15498" y="18074"/>
                    <a:pt x="15493" y="18070"/>
                  </a:cubicBezTo>
                  <a:cubicBezTo>
                    <a:pt x="15434" y="18034"/>
                    <a:pt x="15299" y="17951"/>
                    <a:pt x="15303" y="17812"/>
                  </a:cubicBezTo>
                  <a:cubicBezTo>
                    <a:pt x="15308" y="17679"/>
                    <a:pt x="15401" y="17573"/>
                    <a:pt x="15487" y="17540"/>
                  </a:cubicBezTo>
                  <a:cubicBezTo>
                    <a:pt x="15514" y="17530"/>
                    <a:pt x="15542" y="17524"/>
                    <a:pt x="15570" y="17524"/>
                  </a:cubicBezTo>
                  <a:cubicBezTo>
                    <a:pt x="15595" y="17514"/>
                    <a:pt x="15620" y="17512"/>
                    <a:pt x="15636" y="17512"/>
                  </a:cubicBezTo>
                  <a:lnTo>
                    <a:pt x="15699" y="17512"/>
                  </a:lnTo>
                  <a:lnTo>
                    <a:pt x="15737" y="17563"/>
                  </a:lnTo>
                  <a:cubicBezTo>
                    <a:pt x="15758" y="17521"/>
                    <a:pt x="15783" y="17472"/>
                    <a:pt x="15809" y="17427"/>
                  </a:cubicBezTo>
                  <a:cubicBezTo>
                    <a:pt x="15841" y="17373"/>
                    <a:pt x="15879" y="17322"/>
                    <a:pt x="15910" y="17283"/>
                  </a:cubicBezTo>
                  <a:cubicBezTo>
                    <a:pt x="15911" y="17281"/>
                    <a:pt x="15912" y="17280"/>
                    <a:pt x="15913" y="17279"/>
                  </a:cubicBezTo>
                  <a:cubicBezTo>
                    <a:pt x="15910" y="17268"/>
                    <a:pt x="15908" y="17256"/>
                    <a:pt x="15908" y="17243"/>
                  </a:cubicBezTo>
                  <a:cubicBezTo>
                    <a:pt x="15908" y="17202"/>
                    <a:pt x="15909" y="17168"/>
                    <a:pt x="15918" y="17139"/>
                  </a:cubicBezTo>
                  <a:cubicBezTo>
                    <a:pt x="15916" y="17113"/>
                    <a:pt x="15921" y="17085"/>
                    <a:pt x="15935" y="17061"/>
                  </a:cubicBezTo>
                  <a:cubicBezTo>
                    <a:pt x="15936" y="17059"/>
                    <a:pt x="16000" y="16969"/>
                    <a:pt x="16080" y="16969"/>
                  </a:cubicBezTo>
                  <a:lnTo>
                    <a:pt x="16110" y="16969"/>
                  </a:lnTo>
                  <a:lnTo>
                    <a:pt x="16147" y="16992"/>
                  </a:lnTo>
                  <a:cubicBezTo>
                    <a:pt x="16181" y="16973"/>
                    <a:pt x="16263" y="16906"/>
                    <a:pt x="16300" y="16870"/>
                  </a:cubicBezTo>
                  <a:cubicBezTo>
                    <a:pt x="16302" y="16859"/>
                    <a:pt x="16305" y="16846"/>
                    <a:pt x="16309" y="16834"/>
                  </a:cubicBezTo>
                  <a:cubicBezTo>
                    <a:pt x="16288" y="16786"/>
                    <a:pt x="16299" y="16737"/>
                    <a:pt x="16321" y="16702"/>
                  </a:cubicBezTo>
                  <a:cubicBezTo>
                    <a:pt x="16325" y="16697"/>
                    <a:pt x="16328" y="16692"/>
                    <a:pt x="16331" y="16688"/>
                  </a:cubicBezTo>
                  <a:cubicBezTo>
                    <a:pt x="16330" y="16684"/>
                    <a:pt x="16330" y="16680"/>
                    <a:pt x="16330" y="16675"/>
                  </a:cubicBezTo>
                  <a:cubicBezTo>
                    <a:pt x="16324" y="16609"/>
                    <a:pt x="16319" y="16541"/>
                    <a:pt x="16354" y="16490"/>
                  </a:cubicBezTo>
                  <a:cubicBezTo>
                    <a:pt x="16400" y="16421"/>
                    <a:pt x="16506" y="16405"/>
                    <a:pt x="16539" y="16405"/>
                  </a:cubicBezTo>
                  <a:lnTo>
                    <a:pt x="16571" y="16405"/>
                  </a:lnTo>
                  <a:lnTo>
                    <a:pt x="16615" y="16427"/>
                  </a:lnTo>
                  <a:cubicBezTo>
                    <a:pt x="16648" y="16450"/>
                    <a:pt x="16672" y="16491"/>
                    <a:pt x="16685" y="16528"/>
                  </a:cubicBezTo>
                  <a:cubicBezTo>
                    <a:pt x="16691" y="16527"/>
                    <a:pt x="16697" y="16527"/>
                    <a:pt x="16702" y="16527"/>
                  </a:cubicBezTo>
                  <a:cubicBezTo>
                    <a:pt x="16701" y="16526"/>
                    <a:pt x="16710" y="16519"/>
                    <a:pt x="16721" y="16512"/>
                  </a:cubicBezTo>
                  <a:cubicBezTo>
                    <a:pt x="16746" y="16494"/>
                    <a:pt x="16779" y="16471"/>
                    <a:pt x="16813" y="16450"/>
                  </a:cubicBezTo>
                  <a:cubicBezTo>
                    <a:pt x="16834" y="16438"/>
                    <a:pt x="16869" y="16420"/>
                    <a:pt x="16906" y="16401"/>
                  </a:cubicBezTo>
                  <a:cubicBezTo>
                    <a:pt x="16906" y="16401"/>
                    <a:pt x="16907" y="16400"/>
                    <a:pt x="16908" y="16400"/>
                  </a:cubicBezTo>
                  <a:cubicBezTo>
                    <a:pt x="16901" y="16394"/>
                    <a:pt x="16895" y="16389"/>
                    <a:pt x="16891" y="16387"/>
                  </a:cubicBezTo>
                  <a:cubicBezTo>
                    <a:pt x="16855" y="16370"/>
                    <a:pt x="16810" y="16348"/>
                    <a:pt x="16787" y="16303"/>
                  </a:cubicBezTo>
                  <a:cubicBezTo>
                    <a:pt x="16775" y="16299"/>
                    <a:pt x="16759" y="16292"/>
                    <a:pt x="16744" y="16278"/>
                  </a:cubicBezTo>
                  <a:cubicBezTo>
                    <a:pt x="16683" y="16279"/>
                    <a:pt x="16646" y="16247"/>
                    <a:pt x="16632" y="16227"/>
                  </a:cubicBezTo>
                  <a:cubicBezTo>
                    <a:pt x="16620" y="16210"/>
                    <a:pt x="16613" y="16193"/>
                    <a:pt x="16609" y="16177"/>
                  </a:cubicBezTo>
                  <a:cubicBezTo>
                    <a:pt x="16596" y="16163"/>
                    <a:pt x="16582" y="16141"/>
                    <a:pt x="16577" y="16112"/>
                  </a:cubicBezTo>
                  <a:lnTo>
                    <a:pt x="16569" y="16064"/>
                  </a:lnTo>
                  <a:lnTo>
                    <a:pt x="16575" y="16054"/>
                  </a:lnTo>
                  <a:cubicBezTo>
                    <a:pt x="16574" y="16050"/>
                    <a:pt x="16573" y="16045"/>
                    <a:pt x="16572" y="16041"/>
                  </a:cubicBezTo>
                  <a:cubicBezTo>
                    <a:pt x="16531" y="16009"/>
                    <a:pt x="16496" y="15973"/>
                    <a:pt x="16502" y="15914"/>
                  </a:cubicBezTo>
                  <a:lnTo>
                    <a:pt x="16507" y="15850"/>
                  </a:lnTo>
                  <a:lnTo>
                    <a:pt x="16565" y="15822"/>
                  </a:lnTo>
                  <a:cubicBezTo>
                    <a:pt x="16577" y="15811"/>
                    <a:pt x="16605" y="15790"/>
                    <a:pt x="16645" y="15790"/>
                  </a:cubicBezTo>
                  <a:lnTo>
                    <a:pt x="16646" y="15790"/>
                  </a:lnTo>
                  <a:cubicBezTo>
                    <a:pt x="16674" y="15771"/>
                    <a:pt x="16704" y="15757"/>
                    <a:pt x="16737" y="15757"/>
                  </a:cubicBezTo>
                  <a:lnTo>
                    <a:pt x="16786" y="15757"/>
                  </a:lnTo>
                  <a:lnTo>
                    <a:pt x="16825" y="15800"/>
                  </a:lnTo>
                  <a:cubicBezTo>
                    <a:pt x="16827" y="15803"/>
                    <a:pt x="16828" y="15805"/>
                    <a:pt x="16828" y="15805"/>
                  </a:cubicBezTo>
                  <a:cubicBezTo>
                    <a:pt x="16892" y="15840"/>
                    <a:pt x="16908" y="15886"/>
                    <a:pt x="16910" y="15921"/>
                  </a:cubicBezTo>
                  <a:cubicBezTo>
                    <a:pt x="16947" y="15927"/>
                    <a:pt x="16976" y="15941"/>
                    <a:pt x="16997" y="15973"/>
                  </a:cubicBezTo>
                  <a:cubicBezTo>
                    <a:pt x="17003" y="15982"/>
                    <a:pt x="17008" y="15991"/>
                    <a:pt x="17011" y="16000"/>
                  </a:cubicBezTo>
                  <a:cubicBezTo>
                    <a:pt x="17014" y="15998"/>
                    <a:pt x="17018" y="15997"/>
                    <a:pt x="17021" y="15996"/>
                  </a:cubicBezTo>
                  <a:cubicBezTo>
                    <a:pt x="17029" y="15986"/>
                    <a:pt x="17038" y="15978"/>
                    <a:pt x="17047" y="15972"/>
                  </a:cubicBezTo>
                  <a:cubicBezTo>
                    <a:pt x="17059" y="15961"/>
                    <a:pt x="17079" y="15944"/>
                    <a:pt x="17109" y="15936"/>
                  </a:cubicBezTo>
                  <a:cubicBezTo>
                    <a:pt x="17123" y="15929"/>
                    <a:pt x="17137" y="15923"/>
                    <a:pt x="17152" y="15918"/>
                  </a:cubicBezTo>
                  <a:cubicBezTo>
                    <a:pt x="17153" y="15916"/>
                    <a:pt x="17154" y="15914"/>
                    <a:pt x="17154" y="15912"/>
                  </a:cubicBezTo>
                  <a:cubicBezTo>
                    <a:pt x="17190" y="15820"/>
                    <a:pt x="17262" y="15813"/>
                    <a:pt x="17283" y="15813"/>
                  </a:cubicBezTo>
                  <a:lnTo>
                    <a:pt x="17290" y="15813"/>
                  </a:lnTo>
                  <a:cubicBezTo>
                    <a:pt x="17309" y="15797"/>
                    <a:pt x="17333" y="15787"/>
                    <a:pt x="17360" y="15786"/>
                  </a:cubicBezTo>
                  <a:cubicBezTo>
                    <a:pt x="17377" y="15777"/>
                    <a:pt x="17401" y="15768"/>
                    <a:pt x="17427" y="15768"/>
                  </a:cubicBezTo>
                  <a:lnTo>
                    <a:pt x="17523" y="15768"/>
                  </a:lnTo>
                  <a:lnTo>
                    <a:pt x="17539" y="15873"/>
                  </a:lnTo>
                  <a:cubicBezTo>
                    <a:pt x="17541" y="15893"/>
                    <a:pt x="17542" y="15918"/>
                    <a:pt x="17538" y="15942"/>
                  </a:cubicBezTo>
                  <a:lnTo>
                    <a:pt x="17541" y="15942"/>
                  </a:lnTo>
                  <a:cubicBezTo>
                    <a:pt x="17610" y="15890"/>
                    <a:pt x="17658" y="15863"/>
                    <a:pt x="17706" y="15863"/>
                  </a:cubicBezTo>
                  <a:lnTo>
                    <a:pt x="17727" y="15865"/>
                  </a:lnTo>
                  <a:cubicBezTo>
                    <a:pt x="17732" y="15864"/>
                    <a:pt x="17742" y="15863"/>
                    <a:pt x="17751" y="15862"/>
                  </a:cubicBezTo>
                  <a:cubicBezTo>
                    <a:pt x="17767" y="15860"/>
                    <a:pt x="17782" y="15859"/>
                    <a:pt x="17793" y="15859"/>
                  </a:cubicBezTo>
                  <a:lnTo>
                    <a:pt x="17898" y="15859"/>
                  </a:lnTo>
                  <a:lnTo>
                    <a:pt x="17905" y="15909"/>
                  </a:lnTo>
                  <a:lnTo>
                    <a:pt x="17908" y="15908"/>
                  </a:lnTo>
                  <a:cubicBezTo>
                    <a:pt x="17919" y="15902"/>
                    <a:pt x="17938" y="15890"/>
                    <a:pt x="17952" y="15881"/>
                  </a:cubicBezTo>
                  <a:cubicBezTo>
                    <a:pt x="17967" y="15872"/>
                    <a:pt x="17978" y="15865"/>
                    <a:pt x="17982" y="15863"/>
                  </a:cubicBezTo>
                  <a:lnTo>
                    <a:pt x="18004" y="15853"/>
                  </a:lnTo>
                  <a:cubicBezTo>
                    <a:pt x="18013" y="15846"/>
                    <a:pt x="18023" y="15840"/>
                    <a:pt x="18036" y="15834"/>
                  </a:cubicBezTo>
                  <a:cubicBezTo>
                    <a:pt x="18053" y="15824"/>
                    <a:pt x="18156" y="15755"/>
                    <a:pt x="18242" y="15698"/>
                  </a:cubicBezTo>
                  <a:lnTo>
                    <a:pt x="18346" y="15629"/>
                  </a:lnTo>
                  <a:cubicBezTo>
                    <a:pt x="18375" y="15611"/>
                    <a:pt x="18425" y="15573"/>
                    <a:pt x="18476" y="15534"/>
                  </a:cubicBezTo>
                  <a:cubicBezTo>
                    <a:pt x="18635" y="15413"/>
                    <a:pt x="18661" y="15395"/>
                    <a:pt x="18704" y="15393"/>
                  </a:cubicBezTo>
                  <a:cubicBezTo>
                    <a:pt x="18713" y="15393"/>
                    <a:pt x="18724" y="15392"/>
                    <a:pt x="18733" y="15391"/>
                  </a:cubicBezTo>
                  <a:cubicBezTo>
                    <a:pt x="18738" y="15385"/>
                    <a:pt x="18743" y="15381"/>
                    <a:pt x="18746" y="15378"/>
                  </a:cubicBezTo>
                  <a:cubicBezTo>
                    <a:pt x="18759" y="15361"/>
                    <a:pt x="18796" y="15321"/>
                    <a:pt x="18827" y="15294"/>
                  </a:cubicBezTo>
                  <a:cubicBezTo>
                    <a:pt x="18842" y="15282"/>
                    <a:pt x="18858" y="15273"/>
                    <a:pt x="18873" y="15266"/>
                  </a:cubicBezTo>
                  <a:cubicBezTo>
                    <a:pt x="18879" y="15245"/>
                    <a:pt x="18893" y="15219"/>
                    <a:pt x="18919" y="15199"/>
                  </a:cubicBezTo>
                  <a:cubicBezTo>
                    <a:pt x="18936" y="15184"/>
                    <a:pt x="19018" y="15104"/>
                    <a:pt x="19054" y="15070"/>
                  </a:cubicBezTo>
                  <a:lnTo>
                    <a:pt x="19102" y="15026"/>
                  </a:lnTo>
                  <a:cubicBezTo>
                    <a:pt x="19118" y="15011"/>
                    <a:pt x="19136" y="14995"/>
                    <a:pt x="19147" y="14984"/>
                  </a:cubicBezTo>
                  <a:cubicBezTo>
                    <a:pt x="19179" y="14923"/>
                    <a:pt x="19268" y="14833"/>
                    <a:pt x="19391" y="14739"/>
                  </a:cubicBezTo>
                  <a:cubicBezTo>
                    <a:pt x="19449" y="14694"/>
                    <a:pt x="19497" y="14659"/>
                    <a:pt x="19538" y="14629"/>
                  </a:cubicBezTo>
                  <a:cubicBezTo>
                    <a:pt x="19515" y="14606"/>
                    <a:pt x="19494" y="14574"/>
                    <a:pt x="19494" y="14529"/>
                  </a:cubicBezTo>
                  <a:cubicBezTo>
                    <a:pt x="19491" y="14473"/>
                    <a:pt x="19490" y="14433"/>
                    <a:pt x="19500" y="14400"/>
                  </a:cubicBezTo>
                  <a:cubicBezTo>
                    <a:pt x="19495" y="14387"/>
                    <a:pt x="19489" y="14372"/>
                    <a:pt x="19488" y="14354"/>
                  </a:cubicBezTo>
                  <a:lnTo>
                    <a:pt x="19449" y="14342"/>
                  </a:lnTo>
                  <a:lnTo>
                    <a:pt x="19427" y="14256"/>
                  </a:lnTo>
                  <a:cubicBezTo>
                    <a:pt x="19426" y="14252"/>
                    <a:pt x="19425" y="14248"/>
                    <a:pt x="19425" y="14244"/>
                  </a:cubicBezTo>
                  <a:cubicBezTo>
                    <a:pt x="19401" y="14237"/>
                    <a:pt x="19382" y="14226"/>
                    <a:pt x="19367" y="14208"/>
                  </a:cubicBezTo>
                  <a:cubicBezTo>
                    <a:pt x="19359" y="14200"/>
                    <a:pt x="19346" y="14191"/>
                    <a:pt x="19335" y="14182"/>
                  </a:cubicBezTo>
                  <a:cubicBezTo>
                    <a:pt x="19313" y="14166"/>
                    <a:pt x="19295" y="14151"/>
                    <a:pt x="19290" y="14145"/>
                  </a:cubicBezTo>
                  <a:lnTo>
                    <a:pt x="19227" y="14099"/>
                  </a:lnTo>
                  <a:lnTo>
                    <a:pt x="19255" y="14022"/>
                  </a:lnTo>
                  <a:cubicBezTo>
                    <a:pt x="19263" y="13994"/>
                    <a:pt x="19278" y="13977"/>
                    <a:pt x="19292" y="13965"/>
                  </a:cubicBezTo>
                  <a:cubicBezTo>
                    <a:pt x="19292" y="13964"/>
                    <a:pt x="19292" y="13963"/>
                    <a:pt x="19292" y="13962"/>
                  </a:cubicBezTo>
                  <a:cubicBezTo>
                    <a:pt x="19264" y="13927"/>
                    <a:pt x="19263" y="13888"/>
                    <a:pt x="19266" y="13865"/>
                  </a:cubicBezTo>
                  <a:cubicBezTo>
                    <a:pt x="19258" y="13814"/>
                    <a:pt x="19275" y="13767"/>
                    <a:pt x="19316" y="13735"/>
                  </a:cubicBezTo>
                  <a:lnTo>
                    <a:pt x="19323" y="13730"/>
                  </a:lnTo>
                  <a:cubicBezTo>
                    <a:pt x="19355" y="13642"/>
                    <a:pt x="19408" y="13624"/>
                    <a:pt x="19449" y="13624"/>
                  </a:cubicBezTo>
                  <a:cubicBezTo>
                    <a:pt x="19483" y="13620"/>
                    <a:pt x="19496" y="13618"/>
                    <a:pt x="19506" y="13618"/>
                  </a:cubicBezTo>
                  <a:lnTo>
                    <a:pt x="19548" y="13616"/>
                  </a:lnTo>
                  <a:cubicBezTo>
                    <a:pt x="19565" y="13583"/>
                    <a:pt x="19635" y="13521"/>
                    <a:pt x="19636" y="13520"/>
                  </a:cubicBezTo>
                  <a:cubicBezTo>
                    <a:pt x="19658" y="13501"/>
                    <a:pt x="19684" y="13478"/>
                    <a:pt x="19719" y="13469"/>
                  </a:cubicBezTo>
                  <a:cubicBezTo>
                    <a:pt x="19743" y="13450"/>
                    <a:pt x="19779" y="13430"/>
                    <a:pt x="19818" y="13430"/>
                  </a:cubicBezTo>
                  <a:lnTo>
                    <a:pt x="19857" y="13430"/>
                  </a:lnTo>
                  <a:lnTo>
                    <a:pt x="19892" y="13458"/>
                  </a:lnTo>
                  <a:cubicBezTo>
                    <a:pt x="19908" y="13473"/>
                    <a:pt x="19960" y="13532"/>
                    <a:pt x="19976" y="13584"/>
                  </a:cubicBezTo>
                  <a:cubicBezTo>
                    <a:pt x="19979" y="13592"/>
                    <a:pt x="19981" y="13599"/>
                    <a:pt x="19983" y="13607"/>
                  </a:cubicBezTo>
                  <a:cubicBezTo>
                    <a:pt x="20011" y="13646"/>
                    <a:pt x="20012" y="13695"/>
                    <a:pt x="20012" y="13726"/>
                  </a:cubicBezTo>
                  <a:cubicBezTo>
                    <a:pt x="20013" y="13758"/>
                    <a:pt x="20001" y="13851"/>
                    <a:pt x="19984" y="13911"/>
                  </a:cubicBezTo>
                  <a:cubicBezTo>
                    <a:pt x="20003" y="13905"/>
                    <a:pt x="20020" y="13899"/>
                    <a:pt x="20030" y="13894"/>
                  </a:cubicBezTo>
                  <a:cubicBezTo>
                    <a:pt x="20031" y="13889"/>
                    <a:pt x="20048" y="13868"/>
                    <a:pt x="20083" y="13855"/>
                  </a:cubicBezTo>
                  <a:cubicBezTo>
                    <a:pt x="20110" y="13836"/>
                    <a:pt x="20185" y="13821"/>
                    <a:pt x="20240" y="13873"/>
                  </a:cubicBezTo>
                  <a:cubicBezTo>
                    <a:pt x="20252" y="13884"/>
                    <a:pt x="20262" y="13895"/>
                    <a:pt x="20271" y="13904"/>
                  </a:cubicBezTo>
                  <a:cubicBezTo>
                    <a:pt x="20285" y="13911"/>
                    <a:pt x="20302" y="13923"/>
                    <a:pt x="20317" y="13939"/>
                  </a:cubicBezTo>
                  <a:cubicBezTo>
                    <a:pt x="20358" y="13917"/>
                    <a:pt x="20405" y="13892"/>
                    <a:pt x="20457" y="13864"/>
                  </a:cubicBezTo>
                  <a:cubicBezTo>
                    <a:pt x="20586" y="13795"/>
                    <a:pt x="20682" y="13742"/>
                    <a:pt x="20753" y="13702"/>
                  </a:cubicBezTo>
                  <a:cubicBezTo>
                    <a:pt x="20901" y="13619"/>
                    <a:pt x="20951" y="13592"/>
                    <a:pt x="21006" y="13589"/>
                  </a:cubicBezTo>
                  <a:cubicBezTo>
                    <a:pt x="21032" y="13587"/>
                    <a:pt x="21048" y="13586"/>
                    <a:pt x="21058" y="13583"/>
                  </a:cubicBezTo>
                  <a:cubicBezTo>
                    <a:pt x="21055" y="13581"/>
                    <a:pt x="21082" y="13561"/>
                    <a:pt x="21122" y="13558"/>
                  </a:cubicBezTo>
                  <a:cubicBezTo>
                    <a:pt x="21131" y="13558"/>
                    <a:pt x="21142" y="13557"/>
                    <a:pt x="21154" y="13557"/>
                  </a:cubicBezTo>
                  <a:cubicBezTo>
                    <a:pt x="21154" y="13555"/>
                    <a:pt x="21153" y="13553"/>
                    <a:pt x="21153" y="13552"/>
                  </a:cubicBezTo>
                  <a:cubicBezTo>
                    <a:pt x="21144" y="13545"/>
                    <a:pt x="21135" y="13538"/>
                    <a:pt x="21127" y="13529"/>
                  </a:cubicBezTo>
                  <a:cubicBezTo>
                    <a:pt x="21090" y="13483"/>
                    <a:pt x="21079" y="13418"/>
                    <a:pt x="21096" y="13363"/>
                  </a:cubicBezTo>
                  <a:cubicBezTo>
                    <a:pt x="21109" y="13321"/>
                    <a:pt x="21137" y="13297"/>
                    <a:pt x="21189" y="13254"/>
                  </a:cubicBezTo>
                  <a:cubicBezTo>
                    <a:pt x="21216" y="13231"/>
                    <a:pt x="21247" y="13206"/>
                    <a:pt x="21265" y="13183"/>
                  </a:cubicBezTo>
                  <a:cubicBezTo>
                    <a:pt x="21268" y="13177"/>
                    <a:pt x="21269" y="13151"/>
                    <a:pt x="21270" y="13134"/>
                  </a:cubicBezTo>
                  <a:cubicBezTo>
                    <a:pt x="21272" y="13102"/>
                    <a:pt x="21274" y="13061"/>
                    <a:pt x="21288" y="13019"/>
                  </a:cubicBezTo>
                  <a:cubicBezTo>
                    <a:pt x="21303" y="12972"/>
                    <a:pt x="21332" y="12931"/>
                    <a:pt x="21370" y="12899"/>
                  </a:cubicBezTo>
                  <a:cubicBezTo>
                    <a:pt x="21372" y="12883"/>
                    <a:pt x="21376" y="12868"/>
                    <a:pt x="21382" y="12856"/>
                  </a:cubicBezTo>
                  <a:close/>
                  <a:moveTo>
                    <a:pt x="21382" y="12856"/>
                  </a:moveTo>
                </a:path>
              </a:pathLst>
            </a:custGeom>
            <a:solidFill>
              <a:schemeClr val="bg1">
                <a:lumMod val="75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1800"/>
                <a:buFontTx/>
                <a:buNone/>
                <a:tabLst/>
                <a:defRPr/>
              </a:pPr>
              <a:endParaRPr kumimoji="0" sz="1400" b="0" i="0" u="none" strike="noStrike" kern="1200" cap="none" spc="0" normalizeH="0" baseline="0" noProof="0">
                <a:ln>
                  <a:noFill/>
                </a:ln>
                <a:solidFill>
                  <a:srgbClr val="513F3A"/>
                </a:solidFill>
                <a:effectLst/>
                <a:uLnTx/>
                <a:uFillTx/>
                <a:latin typeface="Arial"/>
                <a:ea typeface="Arial"/>
                <a:cs typeface="Arial"/>
                <a:sym typeface="Arial"/>
              </a:endParaRPr>
            </a:p>
          </p:txBody>
        </p:sp>
        <p:sp>
          <p:nvSpPr>
            <p:cNvPr id="15" name="Google Shape;469;p54">
              <a:extLst>
                <a:ext uri="{FF2B5EF4-FFF2-40B4-BE49-F238E27FC236}">
                  <a16:creationId xmlns:a16="http://schemas.microsoft.com/office/drawing/2014/main" id="{9B18BB48-829F-4DEE-91B6-97FB318CFF8F}"/>
                </a:ext>
              </a:extLst>
            </p:cNvPr>
            <p:cNvSpPr/>
            <p:nvPr/>
          </p:nvSpPr>
          <p:spPr>
            <a:xfrm>
              <a:off x="5318637" y="3167978"/>
              <a:ext cx="843642" cy="399600"/>
            </a:xfrm>
            <a:custGeom>
              <a:avLst/>
              <a:gdLst/>
              <a:ahLst/>
              <a:cxnLst/>
              <a:rect l="l" t="t" r="r" b="b"/>
              <a:pathLst>
                <a:path w="21600" h="21600" extrusionOk="0">
                  <a:moveTo>
                    <a:pt x="18910" y="20051"/>
                  </a:moveTo>
                  <a:lnTo>
                    <a:pt x="18954" y="20051"/>
                  </a:lnTo>
                  <a:lnTo>
                    <a:pt x="19004" y="20102"/>
                  </a:lnTo>
                  <a:cubicBezTo>
                    <a:pt x="19072" y="20183"/>
                    <a:pt x="19109" y="20275"/>
                    <a:pt x="19127" y="20362"/>
                  </a:cubicBezTo>
                  <a:lnTo>
                    <a:pt x="19158" y="20362"/>
                  </a:lnTo>
                  <a:lnTo>
                    <a:pt x="19174" y="20400"/>
                  </a:lnTo>
                  <a:lnTo>
                    <a:pt x="19185" y="20396"/>
                  </a:lnTo>
                  <a:cubicBezTo>
                    <a:pt x="19237" y="20396"/>
                    <a:pt x="19285" y="20440"/>
                    <a:pt x="19321" y="20521"/>
                  </a:cubicBezTo>
                  <a:cubicBezTo>
                    <a:pt x="19352" y="20489"/>
                    <a:pt x="19380" y="20485"/>
                    <a:pt x="19402" y="20479"/>
                  </a:cubicBezTo>
                  <a:lnTo>
                    <a:pt x="19425" y="20474"/>
                  </a:lnTo>
                  <a:cubicBezTo>
                    <a:pt x="19476" y="20359"/>
                    <a:pt x="19532" y="20347"/>
                    <a:pt x="19559" y="20353"/>
                  </a:cubicBezTo>
                  <a:cubicBezTo>
                    <a:pt x="19559" y="20353"/>
                    <a:pt x="19560" y="20352"/>
                    <a:pt x="19561" y="20352"/>
                  </a:cubicBezTo>
                  <a:lnTo>
                    <a:pt x="19566" y="20352"/>
                  </a:lnTo>
                  <a:cubicBezTo>
                    <a:pt x="19574" y="20337"/>
                    <a:pt x="19582" y="20322"/>
                    <a:pt x="19591" y="20308"/>
                  </a:cubicBezTo>
                  <a:cubicBezTo>
                    <a:pt x="19601" y="20223"/>
                    <a:pt x="19621" y="20124"/>
                    <a:pt x="19663" y="20037"/>
                  </a:cubicBezTo>
                  <a:cubicBezTo>
                    <a:pt x="19703" y="19840"/>
                    <a:pt x="19784" y="19808"/>
                    <a:pt x="19829" y="19808"/>
                  </a:cubicBezTo>
                  <a:lnTo>
                    <a:pt x="19867" y="19808"/>
                  </a:lnTo>
                  <a:lnTo>
                    <a:pt x="19925" y="19858"/>
                  </a:lnTo>
                  <a:cubicBezTo>
                    <a:pt x="19953" y="19886"/>
                    <a:pt x="19976" y="19915"/>
                    <a:pt x="19998" y="19944"/>
                  </a:cubicBezTo>
                  <a:cubicBezTo>
                    <a:pt x="20012" y="19962"/>
                    <a:pt x="20025" y="19981"/>
                    <a:pt x="20042" y="19995"/>
                  </a:cubicBezTo>
                  <a:cubicBezTo>
                    <a:pt x="20103" y="20041"/>
                    <a:pt x="20145" y="20072"/>
                    <a:pt x="20188" y="20160"/>
                  </a:cubicBezTo>
                  <a:cubicBezTo>
                    <a:pt x="20206" y="20201"/>
                    <a:pt x="20221" y="20236"/>
                    <a:pt x="20234" y="20265"/>
                  </a:cubicBezTo>
                  <a:cubicBezTo>
                    <a:pt x="20291" y="20275"/>
                    <a:pt x="20341" y="20340"/>
                    <a:pt x="20374" y="20444"/>
                  </a:cubicBezTo>
                  <a:cubicBezTo>
                    <a:pt x="20383" y="20442"/>
                    <a:pt x="20392" y="20440"/>
                    <a:pt x="20402" y="20440"/>
                  </a:cubicBezTo>
                  <a:lnTo>
                    <a:pt x="20464" y="20440"/>
                  </a:lnTo>
                  <a:lnTo>
                    <a:pt x="20490" y="20479"/>
                  </a:lnTo>
                  <a:cubicBezTo>
                    <a:pt x="20530" y="20496"/>
                    <a:pt x="20595" y="20538"/>
                    <a:pt x="20643" y="20672"/>
                  </a:cubicBezTo>
                  <a:cubicBezTo>
                    <a:pt x="20664" y="20732"/>
                    <a:pt x="20677" y="20794"/>
                    <a:pt x="20687" y="20840"/>
                  </a:cubicBezTo>
                  <a:cubicBezTo>
                    <a:pt x="20688" y="20841"/>
                    <a:pt x="20688" y="20842"/>
                    <a:pt x="20688" y="20843"/>
                  </a:cubicBezTo>
                  <a:cubicBezTo>
                    <a:pt x="20717" y="20883"/>
                    <a:pt x="20745" y="20938"/>
                    <a:pt x="20766" y="21034"/>
                  </a:cubicBezTo>
                  <a:cubicBezTo>
                    <a:pt x="20790" y="21059"/>
                    <a:pt x="20816" y="21093"/>
                    <a:pt x="20842" y="21138"/>
                  </a:cubicBezTo>
                  <a:cubicBezTo>
                    <a:pt x="20861" y="21121"/>
                    <a:pt x="20885" y="21110"/>
                    <a:pt x="20912" y="21110"/>
                  </a:cubicBezTo>
                  <a:lnTo>
                    <a:pt x="20950" y="21111"/>
                  </a:lnTo>
                  <a:cubicBezTo>
                    <a:pt x="20968" y="21101"/>
                    <a:pt x="20988" y="21094"/>
                    <a:pt x="21011" y="21094"/>
                  </a:cubicBezTo>
                  <a:lnTo>
                    <a:pt x="21092" y="21094"/>
                  </a:lnTo>
                  <a:lnTo>
                    <a:pt x="21162" y="21240"/>
                  </a:lnTo>
                  <a:cubicBezTo>
                    <a:pt x="21171" y="21264"/>
                    <a:pt x="21179" y="21292"/>
                    <a:pt x="21188" y="21320"/>
                  </a:cubicBezTo>
                  <a:cubicBezTo>
                    <a:pt x="21214" y="21352"/>
                    <a:pt x="21236" y="21399"/>
                    <a:pt x="21253" y="21455"/>
                  </a:cubicBezTo>
                  <a:cubicBezTo>
                    <a:pt x="21257" y="21461"/>
                    <a:pt x="21261" y="21467"/>
                    <a:pt x="21266" y="21473"/>
                  </a:cubicBezTo>
                  <a:cubicBezTo>
                    <a:pt x="21267" y="21475"/>
                    <a:pt x="21268" y="21477"/>
                    <a:pt x="21269" y="21478"/>
                  </a:cubicBezTo>
                  <a:cubicBezTo>
                    <a:pt x="21288" y="21466"/>
                    <a:pt x="21308" y="21459"/>
                    <a:pt x="21330" y="21459"/>
                  </a:cubicBezTo>
                  <a:lnTo>
                    <a:pt x="21399" y="21459"/>
                  </a:lnTo>
                  <a:lnTo>
                    <a:pt x="21441" y="21534"/>
                  </a:lnTo>
                  <a:cubicBezTo>
                    <a:pt x="21442" y="21534"/>
                    <a:pt x="21443" y="21534"/>
                    <a:pt x="21444" y="21534"/>
                  </a:cubicBezTo>
                  <a:lnTo>
                    <a:pt x="21500" y="21551"/>
                  </a:lnTo>
                  <a:cubicBezTo>
                    <a:pt x="21542" y="21553"/>
                    <a:pt x="21571" y="21574"/>
                    <a:pt x="21594" y="21597"/>
                  </a:cubicBezTo>
                  <a:cubicBezTo>
                    <a:pt x="21596" y="21599"/>
                    <a:pt x="21599" y="21599"/>
                    <a:pt x="21600" y="21600"/>
                  </a:cubicBezTo>
                  <a:lnTo>
                    <a:pt x="21437" y="10360"/>
                  </a:lnTo>
                  <a:lnTo>
                    <a:pt x="20791" y="3357"/>
                  </a:lnTo>
                  <a:lnTo>
                    <a:pt x="20770" y="3359"/>
                  </a:lnTo>
                  <a:lnTo>
                    <a:pt x="20761" y="3031"/>
                  </a:lnTo>
                  <a:lnTo>
                    <a:pt x="20725" y="2648"/>
                  </a:lnTo>
                  <a:lnTo>
                    <a:pt x="20750" y="2646"/>
                  </a:lnTo>
                  <a:lnTo>
                    <a:pt x="20682" y="306"/>
                  </a:lnTo>
                  <a:lnTo>
                    <a:pt x="20674" y="0"/>
                  </a:lnTo>
                  <a:cubicBezTo>
                    <a:pt x="19972" y="85"/>
                    <a:pt x="19269" y="151"/>
                    <a:pt x="18566" y="223"/>
                  </a:cubicBezTo>
                  <a:cubicBezTo>
                    <a:pt x="18152" y="265"/>
                    <a:pt x="17739" y="317"/>
                    <a:pt x="17325" y="355"/>
                  </a:cubicBezTo>
                  <a:cubicBezTo>
                    <a:pt x="16592" y="422"/>
                    <a:pt x="15859" y="470"/>
                    <a:pt x="15125" y="523"/>
                  </a:cubicBezTo>
                  <a:cubicBezTo>
                    <a:pt x="14710" y="553"/>
                    <a:pt x="14294" y="592"/>
                    <a:pt x="13879" y="618"/>
                  </a:cubicBezTo>
                  <a:cubicBezTo>
                    <a:pt x="13076" y="667"/>
                    <a:pt x="12276" y="697"/>
                    <a:pt x="11475" y="730"/>
                  </a:cubicBezTo>
                  <a:cubicBezTo>
                    <a:pt x="11132" y="743"/>
                    <a:pt x="10788" y="766"/>
                    <a:pt x="10445" y="776"/>
                  </a:cubicBezTo>
                  <a:cubicBezTo>
                    <a:pt x="9304" y="811"/>
                    <a:pt x="8166" y="830"/>
                    <a:pt x="7034" y="830"/>
                  </a:cubicBezTo>
                  <a:cubicBezTo>
                    <a:pt x="7033" y="830"/>
                    <a:pt x="7033" y="830"/>
                    <a:pt x="7032" y="830"/>
                  </a:cubicBezTo>
                  <a:cubicBezTo>
                    <a:pt x="7032" y="830"/>
                    <a:pt x="7031" y="830"/>
                    <a:pt x="7031" y="830"/>
                  </a:cubicBezTo>
                  <a:cubicBezTo>
                    <a:pt x="5995" y="830"/>
                    <a:pt x="4953" y="809"/>
                    <a:pt x="3913" y="780"/>
                  </a:cubicBezTo>
                  <a:cubicBezTo>
                    <a:pt x="3650" y="773"/>
                    <a:pt x="3390" y="765"/>
                    <a:pt x="3128" y="755"/>
                  </a:cubicBezTo>
                  <a:cubicBezTo>
                    <a:pt x="2899" y="747"/>
                    <a:pt x="2668" y="742"/>
                    <a:pt x="2440" y="733"/>
                  </a:cubicBezTo>
                  <a:lnTo>
                    <a:pt x="2440" y="734"/>
                  </a:lnTo>
                  <a:lnTo>
                    <a:pt x="2270" y="727"/>
                  </a:lnTo>
                  <a:lnTo>
                    <a:pt x="2101" y="720"/>
                  </a:lnTo>
                  <a:lnTo>
                    <a:pt x="2101" y="718"/>
                  </a:lnTo>
                  <a:cubicBezTo>
                    <a:pt x="1412" y="688"/>
                    <a:pt x="724" y="651"/>
                    <a:pt x="35" y="607"/>
                  </a:cubicBezTo>
                  <a:cubicBezTo>
                    <a:pt x="35" y="607"/>
                    <a:pt x="34" y="607"/>
                    <a:pt x="34" y="607"/>
                  </a:cubicBezTo>
                  <a:lnTo>
                    <a:pt x="17" y="1920"/>
                  </a:lnTo>
                  <a:lnTo>
                    <a:pt x="0" y="3233"/>
                  </a:lnTo>
                  <a:lnTo>
                    <a:pt x="7559" y="3525"/>
                  </a:lnTo>
                  <a:lnTo>
                    <a:pt x="7546" y="16355"/>
                  </a:lnTo>
                  <a:lnTo>
                    <a:pt x="7570" y="16363"/>
                  </a:lnTo>
                  <a:cubicBezTo>
                    <a:pt x="7633" y="16388"/>
                    <a:pt x="7681" y="16476"/>
                    <a:pt x="7712" y="16533"/>
                  </a:cubicBezTo>
                  <a:cubicBezTo>
                    <a:pt x="7713" y="16535"/>
                    <a:pt x="7714" y="16536"/>
                    <a:pt x="7715" y="16538"/>
                  </a:cubicBezTo>
                  <a:cubicBezTo>
                    <a:pt x="7767" y="16586"/>
                    <a:pt x="7808" y="16672"/>
                    <a:pt x="7830" y="16741"/>
                  </a:cubicBezTo>
                  <a:cubicBezTo>
                    <a:pt x="7837" y="16765"/>
                    <a:pt x="7876" y="16888"/>
                    <a:pt x="7900" y="16955"/>
                  </a:cubicBezTo>
                  <a:cubicBezTo>
                    <a:pt x="7922" y="16983"/>
                    <a:pt x="7948" y="17020"/>
                    <a:pt x="7972" y="17072"/>
                  </a:cubicBezTo>
                  <a:cubicBezTo>
                    <a:pt x="7995" y="17122"/>
                    <a:pt x="8012" y="17181"/>
                    <a:pt x="8030" y="17245"/>
                  </a:cubicBezTo>
                  <a:cubicBezTo>
                    <a:pt x="8088" y="17288"/>
                    <a:pt x="8127" y="17367"/>
                    <a:pt x="8150" y="17480"/>
                  </a:cubicBezTo>
                  <a:lnTo>
                    <a:pt x="8153" y="17494"/>
                  </a:lnTo>
                  <a:cubicBezTo>
                    <a:pt x="8203" y="17536"/>
                    <a:pt x="8244" y="17588"/>
                    <a:pt x="8271" y="17686"/>
                  </a:cubicBezTo>
                  <a:lnTo>
                    <a:pt x="8275" y="17698"/>
                  </a:lnTo>
                  <a:lnTo>
                    <a:pt x="8297" y="17689"/>
                  </a:lnTo>
                  <a:cubicBezTo>
                    <a:pt x="8297" y="17689"/>
                    <a:pt x="8298" y="17689"/>
                    <a:pt x="8299" y="17689"/>
                  </a:cubicBezTo>
                  <a:cubicBezTo>
                    <a:pt x="8306" y="17636"/>
                    <a:pt x="8319" y="17583"/>
                    <a:pt x="8340" y="17534"/>
                  </a:cubicBezTo>
                  <a:lnTo>
                    <a:pt x="8390" y="17418"/>
                  </a:lnTo>
                  <a:lnTo>
                    <a:pt x="8474" y="17410"/>
                  </a:lnTo>
                  <a:cubicBezTo>
                    <a:pt x="8480" y="17402"/>
                    <a:pt x="8507" y="17383"/>
                    <a:pt x="8542" y="17383"/>
                  </a:cubicBezTo>
                  <a:lnTo>
                    <a:pt x="8621" y="17407"/>
                  </a:lnTo>
                  <a:cubicBezTo>
                    <a:pt x="8624" y="17407"/>
                    <a:pt x="8626" y="17407"/>
                    <a:pt x="8629" y="17407"/>
                  </a:cubicBezTo>
                  <a:lnTo>
                    <a:pt x="8671" y="17407"/>
                  </a:lnTo>
                  <a:lnTo>
                    <a:pt x="8718" y="17454"/>
                  </a:lnTo>
                  <a:cubicBezTo>
                    <a:pt x="8736" y="17472"/>
                    <a:pt x="8755" y="17490"/>
                    <a:pt x="8775" y="17516"/>
                  </a:cubicBezTo>
                  <a:cubicBezTo>
                    <a:pt x="8780" y="17472"/>
                    <a:pt x="8788" y="17430"/>
                    <a:pt x="8800" y="17391"/>
                  </a:cubicBezTo>
                  <a:cubicBezTo>
                    <a:pt x="8851" y="17125"/>
                    <a:pt x="8941" y="17086"/>
                    <a:pt x="8991" y="17086"/>
                  </a:cubicBezTo>
                  <a:lnTo>
                    <a:pt x="9035" y="17096"/>
                  </a:lnTo>
                  <a:cubicBezTo>
                    <a:pt x="9086" y="17121"/>
                    <a:pt x="9216" y="17185"/>
                    <a:pt x="9245" y="17433"/>
                  </a:cubicBezTo>
                  <a:cubicBezTo>
                    <a:pt x="9315" y="17440"/>
                    <a:pt x="9369" y="17463"/>
                    <a:pt x="9413" y="17565"/>
                  </a:cubicBezTo>
                  <a:cubicBezTo>
                    <a:pt x="9452" y="17655"/>
                    <a:pt x="9461" y="17757"/>
                    <a:pt x="9460" y="17842"/>
                  </a:cubicBezTo>
                  <a:cubicBezTo>
                    <a:pt x="9496" y="17904"/>
                    <a:pt x="9527" y="17981"/>
                    <a:pt x="9535" y="18092"/>
                  </a:cubicBezTo>
                  <a:cubicBezTo>
                    <a:pt x="9578" y="18182"/>
                    <a:pt x="9586" y="18254"/>
                    <a:pt x="9591" y="18291"/>
                  </a:cubicBezTo>
                  <a:lnTo>
                    <a:pt x="9597" y="18380"/>
                  </a:lnTo>
                  <a:cubicBezTo>
                    <a:pt x="9597" y="18400"/>
                    <a:pt x="9598" y="18430"/>
                    <a:pt x="9600" y="18454"/>
                  </a:cubicBezTo>
                  <a:cubicBezTo>
                    <a:pt x="9616" y="18493"/>
                    <a:pt x="9633" y="18596"/>
                    <a:pt x="9638" y="18703"/>
                  </a:cubicBezTo>
                  <a:lnTo>
                    <a:pt x="9693" y="18703"/>
                  </a:lnTo>
                  <a:lnTo>
                    <a:pt x="9733" y="18771"/>
                  </a:lnTo>
                  <a:cubicBezTo>
                    <a:pt x="9741" y="18770"/>
                    <a:pt x="9748" y="18769"/>
                    <a:pt x="9756" y="18769"/>
                  </a:cubicBezTo>
                  <a:lnTo>
                    <a:pt x="9830" y="18795"/>
                  </a:lnTo>
                  <a:cubicBezTo>
                    <a:pt x="9839" y="18801"/>
                    <a:pt x="9847" y="18808"/>
                    <a:pt x="9855" y="18815"/>
                  </a:cubicBezTo>
                  <a:cubicBezTo>
                    <a:pt x="9883" y="18767"/>
                    <a:pt x="9922" y="18724"/>
                    <a:pt x="9978" y="18724"/>
                  </a:cubicBezTo>
                  <a:cubicBezTo>
                    <a:pt x="10008" y="18724"/>
                    <a:pt x="10090" y="18734"/>
                    <a:pt x="10150" y="18834"/>
                  </a:cubicBezTo>
                  <a:cubicBezTo>
                    <a:pt x="10181" y="18846"/>
                    <a:pt x="10215" y="18873"/>
                    <a:pt x="10247" y="18933"/>
                  </a:cubicBezTo>
                  <a:lnTo>
                    <a:pt x="10291" y="19051"/>
                  </a:lnTo>
                  <a:cubicBezTo>
                    <a:pt x="10305" y="19058"/>
                    <a:pt x="10343" y="19071"/>
                    <a:pt x="10381" y="19123"/>
                  </a:cubicBezTo>
                  <a:cubicBezTo>
                    <a:pt x="10384" y="19122"/>
                    <a:pt x="10391" y="19122"/>
                    <a:pt x="10390" y="19122"/>
                  </a:cubicBezTo>
                  <a:cubicBezTo>
                    <a:pt x="10459" y="19122"/>
                    <a:pt x="10541" y="19172"/>
                    <a:pt x="10598" y="19280"/>
                  </a:cubicBezTo>
                  <a:cubicBezTo>
                    <a:pt x="10610" y="19287"/>
                    <a:pt x="10624" y="19295"/>
                    <a:pt x="10637" y="19306"/>
                  </a:cubicBezTo>
                  <a:lnTo>
                    <a:pt x="10653" y="19295"/>
                  </a:lnTo>
                  <a:cubicBezTo>
                    <a:pt x="10670" y="19287"/>
                    <a:pt x="10691" y="19282"/>
                    <a:pt x="10714" y="19278"/>
                  </a:cubicBezTo>
                  <a:lnTo>
                    <a:pt x="10715" y="19283"/>
                  </a:lnTo>
                  <a:cubicBezTo>
                    <a:pt x="10747" y="19224"/>
                    <a:pt x="10790" y="19158"/>
                    <a:pt x="10824" y="19128"/>
                  </a:cubicBezTo>
                  <a:lnTo>
                    <a:pt x="10918" y="19099"/>
                  </a:lnTo>
                  <a:lnTo>
                    <a:pt x="10953" y="19115"/>
                  </a:lnTo>
                  <a:lnTo>
                    <a:pt x="11014" y="19104"/>
                  </a:lnTo>
                  <a:cubicBezTo>
                    <a:pt x="11040" y="19104"/>
                    <a:pt x="11131" y="19113"/>
                    <a:pt x="11193" y="19232"/>
                  </a:cubicBezTo>
                  <a:cubicBezTo>
                    <a:pt x="11210" y="19264"/>
                    <a:pt x="11221" y="19294"/>
                    <a:pt x="11270" y="19443"/>
                  </a:cubicBezTo>
                  <a:cubicBezTo>
                    <a:pt x="11291" y="19504"/>
                    <a:pt x="11315" y="19576"/>
                    <a:pt x="11336" y="19637"/>
                  </a:cubicBezTo>
                  <a:cubicBezTo>
                    <a:pt x="11347" y="19621"/>
                    <a:pt x="11360" y="19606"/>
                    <a:pt x="11374" y="19593"/>
                  </a:cubicBezTo>
                  <a:cubicBezTo>
                    <a:pt x="11376" y="19565"/>
                    <a:pt x="11380" y="19536"/>
                    <a:pt x="11386" y="19506"/>
                  </a:cubicBezTo>
                  <a:cubicBezTo>
                    <a:pt x="11396" y="19463"/>
                    <a:pt x="11473" y="19205"/>
                    <a:pt x="11555" y="19122"/>
                  </a:cubicBezTo>
                  <a:cubicBezTo>
                    <a:pt x="11629" y="19048"/>
                    <a:pt x="11719" y="19048"/>
                    <a:pt x="11804" y="19127"/>
                  </a:cubicBezTo>
                  <a:cubicBezTo>
                    <a:pt x="11841" y="19162"/>
                    <a:pt x="11867" y="19206"/>
                    <a:pt x="11886" y="19250"/>
                  </a:cubicBezTo>
                  <a:cubicBezTo>
                    <a:pt x="11887" y="19251"/>
                    <a:pt x="11889" y="19252"/>
                    <a:pt x="11891" y="19252"/>
                  </a:cubicBezTo>
                  <a:lnTo>
                    <a:pt x="12007" y="19242"/>
                  </a:lnTo>
                  <a:lnTo>
                    <a:pt x="12075" y="19288"/>
                  </a:lnTo>
                  <a:cubicBezTo>
                    <a:pt x="12087" y="19237"/>
                    <a:pt x="12107" y="19181"/>
                    <a:pt x="12137" y="19136"/>
                  </a:cubicBezTo>
                  <a:lnTo>
                    <a:pt x="12181" y="19072"/>
                  </a:lnTo>
                  <a:lnTo>
                    <a:pt x="12253" y="19067"/>
                  </a:lnTo>
                  <a:cubicBezTo>
                    <a:pt x="12304" y="19067"/>
                    <a:pt x="12400" y="19088"/>
                    <a:pt x="12458" y="19233"/>
                  </a:cubicBezTo>
                  <a:cubicBezTo>
                    <a:pt x="12511" y="19355"/>
                    <a:pt x="12545" y="19653"/>
                    <a:pt x="12507" y="19857"/>
                  </a:cubicBezTo>
                  <a:cubicBezTo>
                    <a:pt x="12499" y="19901"/>
                    <a:pt x="12487" y="19940"/>
                    <a:pt x="12475" y="19974"/>
                  </a:cubicBezTo>
                  <a:cubicBezTo>
                    <a:pt x="12488" y="20023"/>
                    <a:pt x="12499" y="20081"/>
                    <a:pt x="12503" y="20144"/>
                  </a:cubicBezTo>
                  <a:cubicBezTo>
                    <a:pt x="12507" y="20140"/>
                    <a:pt x="12512" y="20136"/>
                    <a:pt x="12516" y="20132"/>
                  </a:cubicBezTo>
                  <a:cubicBezTo>
                    <a:pt x="12555" y="20095"/>
                    <a:pt x="12596" y="20058"/>
                    <a:pt x="12643" y="20058"/>
                  </a:cubicBezTo>
                  <a:lnTo>
                    <a:pt x="12717" y="20091"/>
                  </a:lnTo>
                  <a:lnTo>
                    <a:pt x="12777" y="20178"/>
                  </a:lnTo>
                  <a:cubicBezTo>
                    <a:pt x="12844" y="20239"/>
                    <a:pt x="12902" y="20370"/>
                    <a:pt x="12902" y="20549"/>
                  </a:cubicBezTo>
                  <a:cubicBezTo>
                    <a:pt x="12902" y="20568"/>
                    <a:pt x="12894" y="20700"/>
                    <a:pt x="12871" y="20829"/>
                  </a:cubicBezTo>
                  <a:cubicBezTo>
                    <a:pt x="12876" y="20860"/>
                    <a:pt x="12878" y="20893"/>
                    <a:pt x="12878" y="20930"/>
                  </a:cubicBezTo>
                  <a:cubicBezTo>
                    <a:pt x="12878" y="20937"/>
                    <a:pt x="12878" y="20947"/>
                    <a:pt x="12878" y="20960"/>
                  </a:cubicBezTo>
                  <a:cubicBezTo>
                    <a:pt x="12901" y="20990"/>
                    <a:pt x="12922" y="21024"/>
                    <a:pt x="12942" y="21059"/>
                  </a:cubicBezTo>
                  <a:cubicBezTo>
                    <a:pt x="12958" y="21033"/>
                    <a:pt x="12983" y="20996"/>
                    <a:pt x="13001" y="20968"/>
                  </a:cubicBezTo>
                  <a:cubicBezTo>
                    <a:pt x="13007" y="20927"/>
                    <a:pt x="13014" y="20881"/>
                    <a:pt x="13028" y="20835"/>
                  </a:cubicBezTo>
                  <a:cubicBezTo>
                    <a:pt x="13060" y="20587"/>
                    <a:pt x="13148" y="20530"/>
                    <a:pt x="13186" y="20516"/>
                  </a:cubicBezTo>
                  <a:cubicBezTo>
                    <a:pt x="13191" y="20514"/>
                    <a:pt x="13197" y="20512"/>
                    <a:pt x="13203" y="20510"/>
                  </a:cubicBezTo>
                  <a:cubicBezTo>
                    <a:pt x="13248" y="20333"/>
                    <a:pt x="13312" y="20130"/>
                    <a:pt x="13427" y="20123"/>
                  </a:cubicBezTo>
                  <a:cubicBezTo>
                    <a:pt x="13427" y="20123"/>
                    <a:pt x="13428" y="20123"/>
                    <a:pt x="13428" y="20123"/>
                  </a:cubicBezTo>
                  <a:cubicBezTo>
                    <a:pt x="13483" y="20123"/>
                    <a:pt x="13634" y="20159"/>
                    <a:pt x="13717" y="20314"/>
                  </a:cubicBezTo>
                  <a:cubicBezTo>
                    <a:pt x="13744" y="20363"/>
                    <a:pt x="13791" y="20447"/>
                    <a:pt x="13816" y="20565"/>
                  </a:cubicBezTo>
                  <a:cubicBezTo>
                    <a:pt x="13836" y="20552"/>
                    <a:pt x="13857" y="20543"/>
                    <a:pt x="13881" y="20543"/>
                  </a:cubicBezTo>
                  <a:lnTo>
                    <a:pt x="13937" y="20560"/>
                  </a:lnTo>
                  <a:cubicBezTo>
                    <a:pt x="13977" y="20584"/>
                    <a:pt x="14004" y="20617"/>
                    <a:pt x="14019" y="20635"/>
                  </a:cubicBezTo>
                  <a:cubicBezTo>
                    <a:pt x="14019" y="20635"/>
                    <a:pt x="14019" y="20635"/>
                    <a:pt x="14019" y="20635"/>
                  </a:cubicBezTo>
                  <a:cubicBezTo>
                    <a:pt x="14034" y="20635"/>
                    <a:pt x="14148" y="20731"/>
                    <a:pt x="14186" y="20940"/>
                  </a:cubicBezTo>
                  <a:cubicBezTo>
                    <a:pt x="14215" y="20876"/>
                    <a:pt x="14256" y="20831"/>
                    <a:pt x="14313" y="20831"/>
                  </a:cubicBezTo>
                  <a:lnTo>
                    <a:pt x="14349" y="20831"/>
                  </a:lnTo>
                  <a:cubicBezTo>
                    <a:pt x="14372" y="20809"/>
                    <a:pt x="14393" y="20799"/>
                    <a:pt x="14407" y="20794"/>
                  </a:cubicBezTo>
                  <a:cubicBezTo>
                    <a:pt x="14422" y="20747"/>
                    <a:pt x="14441" y="20707"/>
                    <a:pt x="14464" y="20673"/>
                  </a:cubicBezTo>
                  <a:cubicBezTo>
                    <a:pt x="14504" y="20612"/>
                    <a:pt x="14568" y="20517"/>
                    <a:pt x="14648" y="20517"/>
                  </a:cubicBezTo>
                  <a:lnTo>
                    <a:pt x="14702" y="20517"/>
                  </a:lnTo>
                  <a:lnTo>
                    <a:pt x="14764" y="20594"/>
                  </a:lnTo>
                  <a:cubicBezTo>
                    <a:pt x="14825" y="20684"/>
                    <a:pt x="14903" y="20971"/>
                    <a:pt x="14927" y="21149"/>
                  </a:cubicBezTo>
                  <a:cubicBezTo>
                    <a:pt x="14935" y="21129"/>
                    <a:pt x="14946" y="21111"/>
                    <a:pt x="14957" y="21094"/>
                  </a:cubicBezTo>
                  <a:cubicBezTo>
                    <a:pt x="14985" y="21054"/>
                    <a:pt x="15011" y="21035"/>
                    <a:pt x="15033" y="21019"/>
                  </a:cubicBezTo>
                  <a:cubicBezTo>
                    <a:pt x="15040" y="21014"/>
                    <a:pt x="15047" y="21006"/>
                    <a:pt x="15052" y="20996"/>
                  </a:cubicBezTo>
                  <a:cubicBezTo>
                    <a:pt x="15002" y="20817"/>
                    <a:pt x="14995" y="20650"/>
                    <a:pt x="15031" y="20498"/>
                  </a:cubicBezTo>
                  <a:cubicBezTo>
                    <a:pt x="15065" y="20354"/>
                    <a:pt x="15145" y="20205"/>
                    <a:pt x="15238" y="20205"/>
                  </a:cubicBezTo>
                  <a:lnTo>
                    <a:pt x="15344" y="20224"/>
                  </a:lnTo>
                  <a:cubicBezTo>
                    <a:pt x="15366" y="20217"/>
                    <a:pt x="15387" y="20214"/>
                    <a:pt x="15403" y="20214"/>
                  </a:cubicBezTo>
                  <a:lnTo>
                    <a:pt x="15491" y="20214"/>
                  </a:lnTo>
                  <a:lnTo>
                    <a:pt x="15567" y="20377"/>
                  </a:lnTo>
                  <a:cubicBezTo>
                    <a:pt x="15590" y="20446"/>
                    <a:pt x="15597" y="20509"/>
                    <a:pt x="15614" y="20661"/>
                  </a:cubicBezTo>
                  <a:cubicBezTo>
                    <a:pt x="15617" y="20681"/>
                    <a:pt x="15619" y="20702"/>
                    <a:pt x="15621" y="20724"/>
                  </a:cubicBezTo>
                  <a:cubicBezTo>
                    <a:pt x="15624" y="20722"/>
                    <a:pt x="15625" y="20722"/>
                    <a:pt x="15630" y="20723"/>
                  </a:cubicBezTo>
                  <a:cubicBezTo>
                    <a:pt x="15653" y="20723"/>
                    <a:pt x="15766" y="20731"/>
                    <a:pt x="15854" y="20846"/>
                  </a:cubicBezTo>
                  <a:cubicBezTo>
                    <a:pt x="15862" y="20715"/>
                    <a:pt x="15883" y="20591"/>
                    <a:pt x="15945" y="20510"/>
                  </a:cubicBezTo>
                  <a:cubicBezTo>
                    <a:pt x="15958" y="20484"/>
                    <a:pt x="16007" y="20396"/>
                    <a:pt x="16081" y="20396"/>
                  </a:cubicBezTo>
                  <a:cubicBezTo>
                    <a:pt x="16122" y="20396"/>
                    <a:pt x="16183" y="20423"/>
                    <a:pt x="16238" y="20552"/>
                  </a:cubicBezTo>
                  <a:cubicBezTo>
                    <a:pt x="16242" y="20561"/>
                    <a:pt x="16245" y="20569"/>
                    <a:pt x="16248" y="20577"/>
                  </a:cubicBezTo>
                  <a:cubicBezTo>
                    <a:pt x="16368" y="20579"/>
                    <a:pt x="16432" y="20773"/>
                    <a:pt x="16432" y="20954"/>
                  </a:cubicBezTo>
                  <a:cubicBezTo>
                    <a:pt x="16432" y="20982"/>
                    <a:pt x="16431" y="21010"/>
                    <a:pt x="16430" y="21038"/>
                  </a:cubicBezTo>
                  <a:lnTo>
                    <a:pt x="16504" y="21038"/>
                  </a:lnTo>
                  <a:lnTo>
                    <a:pt x="16582" y="21210"/>
                  </a:lnTo>
                  <a:cubicBezTo>
                    <a:pt x="16596" y="21249"/>
                    <a:pt x="16608" y="21290"/>
                    <a:pt x="16616" y="21329"/>
                  </a:cubicBezTo>
                  <a:lnTo>
                    <a:pt x="16628" y="21323"/>
                  </a:lnTo>
                  <a:cubicBezTo>
                    <a:pt x="16670" y="21306"/>
                    <a:pt x="16690" y="21301"/>
                    <a:pt x="16705" y="21301"/>
                  </a:cubicBezTo>
                  <a:cubicBezTo>
                    <a:pt x="16744" y="21301"/>
                    <a:pt x="16841" y="21327"/>
                    <a:pt x="16890" y="21571"/>
                  </a:cubicBezTo>
                  <a:lnTo>
                    <a:pt x="16893" y="21584"/>
                  </a:lnTo>
                  <a:cubicBezTo>
                    <a:pt x="16932" y="21438"/>
                    <a:pt x="16988" y="21356"/>
                    <a:pt x="17060" y="21338"/>
                  </a:cubicBezTo>
                  <a:cubicBezTo>
                    <a:pt x="17093" y="21332"/>
                    <a:pt x="17126" y="21341"/>
                    <a:pt x="17156" y="21352"/>
                  </a:cubicBezTo>
                  <a:cubicBezTo>
                    <a:pt x="17162" y="21259"/>
                    <a:pt x="17186" y="21194"/>
                    <a:pt x="17206" y="21152"/>
                  </a:cubicBezTo>
                  <a:cubicBezTo>
                    <a:pt x="17216" y="21134"/>
                    <a:pt x="17229" y="21112"/>
                    <a:pt x="17243" y="21091"/>
                  </a:cubicBezTo>
                  <a:cubicBezTo>
                    <a:pt x="17263" y="20931"/>
                    <a:pt x="17339" y="20828"/>
                    <a:pt x="17412" y="20812"/>
                  </a:cubicBezTo>
                  <a:lnTo>
                    <a:pt x="17447" y="20807"/>
                  </a:lnTo>
                  <a:cubicBezTo>
                    <a:pt x="17450" y="20807"/>
                    <a:pt x="17453" y="20806"/>
                    <a:pt x="17456" y="20806"/>
                  </a:cubicBezTo>
                  <a:cubicBezTo>
                    <a:pt x="17489" y="20759"/>
                    <a:pt x="17533" y="20743"/>
                    <a:pt x="17565" y="20743"/>
                  </a:cubicBezTo>
                  <a:lnTo>
                    <a:pt x="17602" y="20750"/>
                  </a:lnTo>
                  <a:cubicBezTo>
                    <a:pt x="17648" y="20668"/>
                    <a:pt x="17707" y="20661"/>
                    <a:pt x="17742" y="20669"/>
                  </a:cubicBezTo>
                  <a:cubicBezTo>
                    <a:pt x="17780" y="20626"/>
                    <a:pt x="17816" y="20621"/>
                    <a:pt x="17833" y="20621"/>
                  </a:cubicBezTo>
                  <a:cubicBezTo>
                    <a:pt x="17842" y="20622"/>
                    <a:pt x="17849" y="20624"/>
                    <a:pt x="17856" y="20626"/>
                  </a:cubicBezTo>
                  <a:cubicBezTo>
                    <a:pt x="17894" y="20533"/>
                    <a:pt x="17938" y="20460"/>
                    <a:pt x="18006" y="20460"/>
                  </a:cubicBezTo>
                  <a:lnTo>
                    <a:pt x="18049" y="20460"/>
                  </a:lnTo>
                  <a:lnTo>
                    <a:pt x="18089" y="20505"/>
                  </a:lnTo>
                  <a:cubicBezTo>
                    <a:pt x="18097" y="20513"/>
                    <a:pt x="18151" y="20581"/>
                    <a:pt x="18207" y="20653"/>
                  </a:cubicBezTo>
                  <a:cubicBezTo>
                    <a:pt x="18225" y="20633"/>
                    <a:pt x="18243" y="20621"/>
                    <a:pt x="18259" y="20615"/>
                  </a:cubicBezTo>
                  <a:cubicBezTo>
                    <a:pt x="18308" y="20349"/>
                    <a:pt x="18406" y="20318"/>
                    <a:pt x="18449" y="20318"/>
                  </a:cubicBezTo>
                  <a:lnTo>
                    <a:pt x="18492" y="20328"/>
                  </a:lnTo>
                  <a:cubicBezTo>
                    <a:pt x="18503" y="20332"/>
                    <a:pt x="18515" y="20340"/>
                    <a:pt x="18527" y="20349"/>
                  </a:cubicBezTo>
                  <a:cubicBezTo>
                    <a:pt x="18552" y="20293"/>
                    <a:pt x="18582" y="20248"/>
                    <a:pt x="18624" y="20228"/>
                  </a:cubicBezTo>
                  <a:lnTo>
                    <a:pt x="18680" y="20211"/>
                  </a:lnTo>
                  <a:cubicBezTo>
                    <a:pt x="18678" y="20213"/>
                    <a:pt x="18678" y="20214"/>
                    <a:pt x="18678" y="20214"/>
                  </a:cubicBezTo>
                  <a:cubicBezTo>
                    <a:pt x="18680" y="20214"/>
                    <a:pt x="18814" y="20051"/>
                    <a:pt x="18910" y="20051"/>
                  </a:cubicBezTo>
                  <a:close/>
                  <a:moveTo>
                    <a:pt x="18910" y="20051"/>
                  </a:moveTo>
                </a:path>
              </a:pathLst>
            </a:custGeom>
            <a:solidFill>
              <a:schemeClr val="bg1">
                <a:lumMod val="75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2400"/>
                <a:buFontTx/>
                <a:buNone/>
                <a:tabLst/>
                <a:defRPr/>
              </a:pPr>
              <a:endParaRPr kumimoji="0" sz="1800" b="1" i="0" u="none" strike="noStrike" kern="1200" cap="none" spc="0" normalizeH="0" baseline="0" noProof="0">
                <a:ln>
                  <a:noFill/>
                </a:ln>
                <a:solidFill>
                  <a:srgbClr val="005A74"/>
                </a:solidFill>
                <a:effectLst/>
                <a:uLnTx/>
                <a:uFillTx/>
                <a:latin typeface="Arial"/>
                <a:ea typeface="Arial"/>
                <a:cs typeface="Arial"/>
                <a:sym typeface="Arial"/>
              </a:endParaRPr>
            </a:p>
          </p:txBody>
        </p:sp>
        <p:sp>
          <p:nvSpPr>
            <p:cNvPr id="16" name="Google Shape;470;p54">
              <a:extLst>
                <a:ext uri="{FF2B5EF4-FFF2-40B4-BE49-F238E27FC236}">
                  <a16:creationId xmlns:a16="http://schemas.microsoft.com/office/drawing/2014/main" id="{F2331C46-CEDB-4120-B602-2A84225347EA}"/>
                </a:ext>
              </a:extLst>
            </p:cNvPr>
            <p:cNvSpPr/>
            <p:nvPr/>
          </p:nvSpPr>
          <p:spPr>
            <a:xfrm>
              <a:off x="6226202" y="3638914"/>
              <a:ext cx="553986" cy="463536"/>
            </a:xfrm>
            <a:custGeom>
              <a:avLst/>
              <a:gdLst/>
              <a:ahLst/>
              <a:cxnLst/>
              <a:rect l="l" t="t" r="r" b="b"/>
              <a:pathLst>
                <a:path w="21600" h="21600" extrusionOk="0">
                  <a:moveTo>
                    <a:pt x="21581" y="20743"/>
                  </a:moveTo>
                  <a:cubicBezTo>
                    <a:pt x="21586" y="20722"/>
                    <a:pt x="21592" y="20702"/>
                    <a:pt x="21600" y="20682"/>
                  </a:cubicBezTo>
                  <a:cubicBezTo>
                    <a:pt x="21592" y="20661"/>
                    <a:pt x="21586" y="20637"/>
                    <a:pt x="21582" y="20611"/>
                  </a:cubicBezTo>
                  <a:cubicBezTo>
                    <a:pt x="21432" y="20559"/>
                    <a:pt x="21355" y="20423"/>
                    <a:pt x="21332" y="20379"/>
                  </a:cubicBezTo>
                  <a:lnTo>
                    <a:pt x="21270" y="20255"/>
                  </a:lnTo>
                  <a:lnTo>
                    <a:pt x="21274" y="20233"/>
                  </a:lnTo>
                  <a:cubicBezTo>
                    <a:pt x="21225" y="20191"/>
                    <a:pt x="21187" y="20143"/>
                    <a:pt x="21163" y="20079"/>
                  </a:cubicBezTo>
                  <a:cubicBezTo>
                    <a:pt x="21140" y="20066"/>
                    <a:pt x="21117" y="20050"/>
                    <a:pt x="21095" y="20030"/>
                  </a:cubicBezTo>
                  <a:cubicBezTo>
                    <a:pt x="21054" y="20057"/>
                    <a:pt x="21009" y="20073"/>
                    <a:pt x="20960" y="20073"/>
                  </a:cubicBezTo>
                  <a:lnTo>
                    <a:pt x="20890" y="20063"/>
                  </a:lnTo>
                  <a:cubicBezTo>
                    <a:pt x="20814" y="20039"/>
                    <a:pt x="20764" y="19980"/>
                    <a:pt x="20717" y="19924"/>
                  </a:cubicBezTo>
                  <a:cubicBezTo>
                    <a:pt x="20713" y="19918"/>
                    <a:pt x="20708" y="19913"/>
                    <a:pt x="20703" y="19908"/>
                  </a:cubicBezTo>
                  <a:cubicBezTo>
                    <a:pt x="20659" y="19934"/>
                    <a:pt x="20604" y="19956"/>
                    <a:pt x="20541" y="19956"/>
                  </a:cubicBezTo>
                  <a:lnTo>
                    <a:pt x="20466" y="19956"/>
                  </a:lnTo>
                  <a:lnTo>
                    <a:pt x="20371" y="19897"/>
                  </a:lnTo>
                  <a:cubicBezTo>
                    <a:pt x="20298" y="19842"/>
                    <a:pt x="20252" y="19784"/>
                    <a:pt x="20223" y="19727"/>
                  </a:cubicBezTo>
                  <a:cubicBezTo>
                    <a:pt x="20183" y="19745"/>
                    <a:pt x="20138" y="19755"/>
                    <a:pt x="20093" y="19755"/>
                  </a:cubicBezTo>
                  <a:cubicBezTo>
                    <a:pt x="20045" y="19751"/>
                    <a:pt x="20011" y="19744"/>
                    <a:pt x="19982" y="19734"/>
                  </a:cubicBezTo>
                  <a:cubicBezTo>
                    <a:pt x="19936" y="19780"/>
                    <a:pt x="19879" y="19814"/>
                    <a:pt x="19804" y="19814"/>
                  </a:cubicBezTo>
                  <a:lnTo>
                    <a:pt x="19709" y="19792"/>
                  </a:lnTo>
                  <a:cubicBezTo>
                    <a:pt x="19653" y="19768"/>
                    <a:pt x="19574" y="19680"/>
                    <a:pt x="19509" y="19576"/>
                  </a:cubicBezTo>
                  <a:cubicBezTo>
                    <a:pt x="19491" y="19581"/>
                    <a:pt x="19470" y="19584"/>
                    <a:pt x="19447" y="19584"/>
                  </a:cubicBezTo>
                  <a:lnTo>
                    <a:pt x="19296" y="19584"/>
                  </a:lnTo>
                  <a:lnTo>
                    <a:pt x="19185" y="19401"/>
                  </a:lnTo>
                  <a:cubicBezTo>
                    <a:pt x="19174" y="19386"/>
                    <a:pt x="19135" y="19344"/>
                    <a:pt x="19115" y="19321"/>
                  </a:cubicBezTo>
                  <a:lnTo>
                    <a:pt x="19099" y="19301"/>
                  </a:lnTo>
                  <a:cubicBezTo>
                    <a:pt x="19094" y="19301"/>
                    <a:pt x="19089" y="19301"/>
                    <a:pt x="19085" y="19301"/>
                  </a:cubicBezTo>
                  <a:lnTo>
                    <a:pt x="18972" y="19301"/>
                  </a:lnTo>
                  <a:lnTo>
                    <a:pt x="18855" y="19192"/>
                  </a:lnTo>
                  <a:cubicBezTo>
                    <a:pt x="18851" y="19188"/>
                    <a:pt x="18848" y="19184"/>
                    <a:pt x="18846" y="19180"/>
                  </a:cubicBezTo>
                  <a:cubicBezTo>
                    <a:pt x="18754" y="19119"/>
                    <a:pt x="18623" y="18995"/>
                    <a:pt x="18646" y="18797"/>
                  </a:cubicBezTo>
                  <a:lnTo>
                    <a:pt x="18660" y="18682"/>
                  </a:lnTo>
                  <a:lnTo>
                    <a:pt x="18692" y="18646"/>
                  </a:lnTo>
                  <a:cubicBezTo>
                    <a:pt x="18689" y="18619"/>
                    <a:pt x="18689" y="18586"/>
                    <a:pt x="18694" y="18550"/>
                  </a:cubicBezTo>
                  <a:lnTo>
                    <a:pt x="18702" y="18498"/>
                  </a:lnTo>
                  <a:cubicBezTo>
                    <a:pt x="18647" y="18398"/>
                    <a:pt x="18606" y="18267"/>
                    <a:pt x="18678" y="18125"/>
                  </a:cubicBezTo>
                  <a:cubicBezTo>
                    <a:pt x="18678" y="18125"/>
                    <a:pt x="18715" y="18050"/>
                    <a:pt x="18780" y="17987"/>
                  </a:cubicBezTo>
                  <a:cubicBezTo>
                    <a:pt x="18776" y="17953"/>
                    <a:pt x="18776" y="17922"/>
                    <a:pt x="18779" y="17893"/>
                  </a:cubicBezTo>
                  <a:lnTo>
                    <a:pt x="18756" y="17859"/>
                  </a:lnTo>
                  <a:lnTo>
                    <a:pt x="18786" y="17733"/>
                  </a:lnTo>
                  <a:cubicBezTo>
                    <a:pt x="18668" y="17497"/>
                    <a:pt x="18827" y="17323"/>
                    <a:pt x="18847" y="17303"/>
                  </a:cubicBezTo>
                  <a:cubicBezTo>
                    <a:pt x="18962" y="17187"/>
                    <a:pt x="19221" y="17149"/>
                    <a:pt x="19280" y="17149"/>
                  </a:cubicBezTo>
                  <a:cubicBezTo>
                    <a:pt x="19327" y="17151"/>
                    <a:pt x="19364" y="17159"/>
                    <a:pt x="19393" y="17169"/>
                  </a:cubicBezTo>
                  <a:cubicBezTo>
                    <a:pt x="19420" y="17159"/>
                    <a:pt x="19452" y="17151"/>
                    <a:pt x="19489" y="17151"/>
                  </a:cubicBezTo>
                  <a:lnTo>
                    <a:pt x="19562" y="17161"/>
                  </a:lnTo>
                  <a:cubicBezTo>
                    <a:pt x="19606" y="17173"/>
                    <a:pt x="19636" y="17188"/>
                    <a:pt x="19663" y="17202"/>
                  </a:cubicBezTo>
                  <a:cubicBezTo>
                    <a:pt x="19665" y="17197"/>
                    <a:pt x="19706" y="17195"/>
                    <a:pt x="19759" y="17218"/>
                  </a:cubicBezTo>
                  <a:cubicBezTo>
                    <a:pt x="19770" y="17203"/>
                    <a:pt x="19780" y="17190"/>
                    <a:pt x="19790" y="17177"/>
                  </a:cubicBezTo>
                  <a:cubicBezTo>
                    <a:pt x="19798" y="17136"/>
                    <a:pt x="19807" y="17092"/>
                    <a:pt x="19820" y="17049"/>
                  </a:cubicBezTo>
                  <a:lnTo>
                    <a:pt x="19824" y="16902"/>
                  </a:lnTo>
                  <a:cubicBezTo>
                    <a:pt x="19828" y="16805"/>
                    <a:pt x="19846" y="16726"/>
                    <a:pt x="19878" y="16662"/>
                  </a:cubicBezTo>
                  <a:lnTo>
                    <a:pt x="19869" y="16653"/>
                  </a:lnTo>
                  <a:lnTo>
                    <a:pt x="19828" y="16534"/>
                  </a:lnTo>
                  <a:cubicBezTo>
                    <a:pt x="19817" y="16505"/>
                    <a:pt x="19810" y="16477"/>
                    <a:pt x="19805" y="16452"/>
                  </a:cubicBezTo>
                  <a:cubicBezTo>
                    <a:pt x="19777" y="16441"/>
                    <a:pt x="19746" y="16426"/>
                    <a:pt x="19715" y="16401"/>
                  </a:cubicBezTo>
                  <a:cubicBezTo>
                    <a:pt x="19639" y="16337"/>
                    <a:pt x="19566" y="16244"/>
                    <a:pt x="19528" y="16138"/>
                  </a:cubicBezTo>
                  <a:lnTo>
                    <a:pt x="19502" y="16164"/>
                  </a:lnTo>
                  <a:cubicBezTo>
                    <a:pt x="19507" y="16164"/>
                    <a:pt x="19495" y="16191"/>
                    <a:pt x="19469" y="16225"/>
                  </a:cubicBezTo>
                  <a:cubicBezTo>
                    <a:pt x="19469" y="16226"/>
                    <a:pt x="19469" y="16227"/>
                    <a:pt x="19469" y="16229"/>
                  </a:cubicBezTo>
                  <a:cubicBezTo>
                    <a:pt x="19475" y="16271"/>
                    <a:pt x="19476" y="16380"/>
                    <a:pt x="19453" y="16486"/>
                  </a:cubicBezTo>
                  <a:cubicBezTo>
                    <a:pt x="19464" y="16585"/>
                    <a:pt x="19469" y="16715"/>
                    <a:pt x="19403" y="16828"/>
                  </a:cubicBezTo>
                  <a:cubicBezTo>
                    <a:pt x="19377" y="16873"/>
                    <a:pt x="19250" y="17050"/>
                    <a:pt x="19163" y="17104"/>
                  </a:cubicBezTo>
                  <a:cubicBezTo>
                    <a:pt x="19057" y="17165"/>
                    <a:pt x="18826" y="17171"/>
                    <a:pt x="18824" y="17171"/>
                  </a:cubicBezTo>
                  <a:lnTo>
                    <a:pt x="18771" y="17171"/>
                  </a:lnTo>
                  <a:lnTo>
                    <a:pt x="18675" y="17139"/>
                  </a:lnTo>
                  <a:cubicBezTo>
                    <a:pt x="18672" y="17138"/>
                    <a:pt x="18468" y="17011"/>
                    <a:pt x="18362" y="16851"/>
                  </a:cubicBezTo>
                  <a:cubicBezTo>
                    <a:pt x="18329" y="16865"/>
                    <a:pt x="18287" y="16876"/>
                    <a:pt x="18243" y="16876"/>
                  </a:cubicBezTo>
                  <a:lnTo>
                    <a:pt x="18176" y="16867"/>
                  </a:lnTo>
                  <a:cubicBezTo>
                    <a:pt x="18018" y="16826"/>
                    <a:pt x="17762" y="16435"/>
                    <a:pt x="17762" y="16235"/>
                  </a:cubicBezTo>
                  <a:cubicBezTo>
                    <a:pt x="17762" y="16105"/>
                    <a:pt x="17802" y="15981"/>
                    <a:pt x="17840" y="15909"/>
                  </a:cubicBezTo>
                  <a:cubicBezTo>
                    <a:pt x="17872" y="15839"/>
                    <a:pt x="17968" y="15624"/>
                    <a:pt x="18180" y="15579"/>
                  </a:cubicBezTo>
                  <a:cubicBezTo>
                    <a:pt x="18236" y="15567"/>
                    <a:pt x="18277" y="15560"/>
                    <a:pt x="18309" y="15555"/>
                  </a:cubicBezTo>
                  <a:cubicBezTo>
                    <a:pt x="18346" y="15485"/>
                    <a:pt x="18391" y="15441"/>
                    <a:pt x="18436" y="15417"/>
                  </a:cubicBezTo>
                  <a:cubicBezTo>
                    <a:pt x="18453" y="15364"/>
                    <a:pt x="18478" y="15312"/>
                    <a:pt x="18520" y="15268"/>
                  </a:cubicBezTo>
                  <a:cubicBezTo>
                    <a:pt x="18543" y="15242"/>
                    <a:pt x="18570" y="15221"/>
                    <a:pt x="18590" y="15207"/>
                  </a:cubicBezTo>
                  <a:cubicBezTo>
                    <a:pt x="18598" y="15194"/>
                    <a:pt x="18607" y="15181"/>
                    <a:pt x="18618" y="15166"/>
                  </a:cubicBezTo>
                  <a:cubicBezTo>
                    <a:pt x="18624" y="15109"/>
                    <a:pt x="18642" y="15063"/>
                    <a:pt x="18662" y="15029"/>
                  </a:cubicBezTo>
                  <a:lnTo>
                    <a:pt x="18699" y="14960"/>
                  </a:lnTo>
                  <a:cubicBezTo>
                    <a:pt x="18698" y="14958"/>
                    <a:pt x="18697" y="14955"/>
                    <a:pt x="18696" y="14953"/>
                  </a:cubicBezTo>
                  <a:cubicBezTo>
                    <a:pt x="18686" y="14935"/>
                    <a:pt x="18679" y="14917"/>
                    <a:pt x="18672" y="14898"/>
                  </a:cubicBezTo>
                  <a:cubicBezTo>
                    <a:pt x="18669" y="14890"/>
                    <a:pt x="18664" y="14882"/>
                    <a:pt x="18663" y="14874"/>
                  </a:cubicBezTo>
                  <a:cubicBezTo>
                    <a:pt x="18655" y="14848"/>
                    <a:pt x="18651" y="14823"/>
                    <a:pt x="18649" y="14800"/>
                  </a:cubicBezTo>
                  <a:cubicBezTo>
                    <a:pt x="18626" y="14763"/>
                    <a:pt x="18603" y="14724"/>
                    <a:pt x="18587" y="14678"/>
                  </a:cubicBezTo>
                  <a:cubicBezTo>
                    <a:pt x="18532" y="14575"/>
                    <a:pt x="18452" y="14412"/>
                    <a:pt x="18515" y="14243"/>
                  </a:cubicBezTo>
                  <a:cubicBezTo>
                    <a:pt x="18461" y="14176"/>
                    <a:pt x="18402" y="14092"/>
                    <a:pt x="18369" y="14016"/>
                  </a:cubicBezTo>
                  <a:cubicBezTo>
                    <a:pt x="18354" y="13978"/>
                    <a:pt x="18334" y="13914"/>
                    <a:pt x="18313" y="13838"/>
                  </a:cubicBezTo>
                  <a:cubicBezTo>
                    <a:pt x="18297" y="13781"/>
                    <a:pt x="18264" y="13662"/>
                    <a:pt x="18246" y="13628"/>
                  </a:cubicBezTo>
                  <a:cubicBezTo>
                    <a:pt x="18217" y="13597"/>
                    <a:pt x="18199" y="13590"/>
                    <a:pt x="18190" y="13587"/>
                  </a:cubicBezTo>
                  <a:cubicBezTo>
                    <a:pt x="18072" y="13542"/>
                    <a:pt x="17991" y="13422"/>
                    <a:pt x="17911" y="13306"/>
                  </a:cubicBezTo>
                  <a:lnTo>
                    <a:pt x="17866" y="13243"/>
                  </a:lnTo>
                  <a:cubicBezTo>
                    <a:pt x="17827" y="13190"/>
                    <a:pt x="17631" y="12917"/>
                    <a:pt x="17631" y="12670"/>
                  </a:cubicBezTo>
                  <a:cubicBezTo>
                    <a:pt x="17631" y="12660"/>
                    <a:pt x="17631" y="12651"/>
                    <a:pt x="17632" y="12642"/>
                  </a:cubicBezTo>
                  <a:cubicBezTo>
                    <a:pt x="17555" y="12589"/>
                    <a:pt x="17510" y="12496"/>
                    <a:pt x="17510" y="12382"/>
                  </a:cubicBezTo>
                  <a:cubicBezTo>
                    <a:pt x="17491" y="12082"/>
                    <a:pt x="17489" y="12008"/>
                    <a:pt x="17501" y="11947"/>
                  </a:cubicBezTo>
                  <a:cubicBezTo>
                    <a:pt x="17490" y="11888"/>
                    <a:pt x="17485" y="11827"/>
                    <a:pt x="17496" y="11753"/>
                  </a:cubicBezTo>
                  <a:cubicBezTo>
                    <a:pt x="17514" y="11621"/>
                    <a:pt x="17610" y="11469"/>
                    <a:pt x="17631" y="11435"/>
                  </a:cubicBezTo>
                  <a:cubicBezTo>
                    <a:pt x="17620" y="11365"/>
                    <a:pt x="17619" y="11278"/>
                    <a:pt x="17652" y="11189"/>
                  </a:cubicBezTo>
                  <a:cubicBezTo>
                    <a:pt x="17642" y="11114"/>
                    <a:pt x="17645" y="11011"/>
                    <a:pt x="17707" y="10901"/>
                  </a:cubicBezTo>
                  <a:cubicBezTo>
                    <a:pt x="17715" y="10888"/>
                    <a:pt x="17722" y="10875"/>
                    <a:pt x="17728" y="10861"/>
                  </a:cubicBezTo>
                  <a:cubicBezTo>
                    <a:pt x="17718" y="10827"/>
                    <a:pt x="17714" y="10795"/>
                    <a:pt x="17712" y="10764"/>
                  </a:cubicBezTo>
                  <a:cubicBezTo>
                    <a:pt x="15215" y="11106"/>
                    <a:pt x="12718" y="11400"/>
                    <a:pt x="10285" y="11637"/>
                  </a:cubicBezTo>
                  <a:lnTo>
                    <a:pt x="10137" y="11061"/>
                  </a:lnTo>
                  <a:cubicBezTo>
                    <a:pt x="10149" y="11052"/>
                    <a:pt x="10162" y="11043"/>
                    <a:pt x="10175" y="11032"/>
                  </a:cubicBezTo>
                  <a:cubicBezTo>
                    <a:pt x="10060" y="10937"/>
                    <a:pt x="9877" y="10762"/>
                    <a:pt x="9960" y="10493"/>
                  </a:cubicBezTo>
                  <a:cubicBezTo>
                    <a:pt x="9980" y="10429"/>
                    <a:pt x="10010" y="10377"/>
                    <a:pt x="10040" y="10335"/>
                  </a:cubicBezTo>
                  <a:cubicBezTo>
                    <a:pt x="9934" y="10244"/>
                    <a:pt x="9730" y="10042"/>
                    <a:pt x="9835" y="9734"/>
                  </a:cubicBezTo>
                  <a:cubicBezTo>
                    <a:pt x="9895" y="9558"/>
                    <a:pt x="10042" y="9460"/>
                    <a:pt x="10200" y="9472"/>
                  </a:cubicBezTo>
                  <a:cubicBezTo>
                    <a:pt x="10183" y="9435"/>
                    <a:pt x="10175" y="9401"/>
                    <a:pt x="10171" y="9378"/>
                  </a:cubicBezTo>
                  <a:lnTo>
                    <a:pt x="10165" y="9312"/>
                  </a:lnTo>
                  <a:cubicBezTo>
                    <a:pt x="10107" y="9224"/>
                    <a:pt x="10027" y="9066"/>
                    <a:pt x="10048" y="8886"/>
                  </a:cubicBezTo>
                  <a:cubicBezTo>
                    <a:pt x="10063" y="8756"/>
                    <a:pt x="10129" y="8646"/>
                    <a:pt x="10229" y="8585"/>
                  </a:cubicBezTo>
                  <a:cubicBezTo>
                    <a:pt x="10233" y="8582"/>
                    <a:pt x="10237" y="8580"/>
                    <a:pt x="10242" y="8577"/>
                  </a:cubicBezTo>
                  <a:cubicBezTo>
                    <a:pt x="10231" y="8514"/>
                    <a:pt x="10225" y="8461"/>
                    <a:pt x="10227" y="8411"/>
                  </a:cubicBezTo>
                  <a:cubicBezTo>
                    <a:pt x="10205" y="8224"/>
                    <a:pt x="10259" y="8110"/>
                    <a:pt x="10323" y="8041"/>
                  </a:cubicBezTo>
                  <a:cubicBezTo>
                    <a:pt x="10264" y="7967"/>
                    <a:pt x="10213" y="7876"/>
                    <a:pt x="10193" y="7776"/>
                  </a:cubicBezTo>
                  <a:cubicBezTo>
                    <a:pt x="10168" y="7648"/>
                    <a:pt x="10194" y="7522"/>
                    <a:pt x="10265" y="7427"/>
                  </a:cubicBezTo>
                  <a:cubicBezTo>
                    <a:pt x="10362" y="7301"/>
                    <a:pt x="10519" y="7273"/>
                    <a:pt x="10628" y="7320"/>
                  </a:cubicBezTo>
                  <a:cubicBezTo>
                    <a:pt x="10626" y="7299"/>
                    <a:pt x="10625" y="7280"/>
                    <a:pt x="10625" y="7263"/>
                  </a:cubicBezTo>
                  <a:cubicBezTo>
                    <a:pt x="10621" y="7107"/>
                    <a:pt x="10682" y="6970"/>
                    <a:pt x="10749" y="6865"/>
                  </a:cubicBezTo>
                  <a:cubicBezTo>
                    <a:pt x="10718" y="6753"/>
                    <a:pt x="10752" y="6653"/>
                    <a:pt x="10775" y="6604"/>
                  </a:cubicBezTo>
                  <a:lnTo>
                    <a:pt x="10782" y="6588"/>
                  </a:lnTo>
                  <a:cubicBezTo>
                    <a:pt x="10785" y="6467"/>
                    <a:pt x="10806" y="6276"/>
                    <a:pt x="10921" y="6136"/>
                  </a:cubicBezTo>
                  <a:cubicBezTo>
                    <a:pt x="11002" y="6040"/>
                    <a:pt x="11106" y="5982"/>
                    <a:pt x="11209" y="5973"/>
                  </a:cubicBezTo>
                  <a:cubicBezTo>
                    <a:pt x="11230" y="5953"/>
                    <a:pt x="11257" y="5930"/>
                    <a:pt x="11286" y="5905"/>
                  </a:cubicBezTo>
                  <a:cubicBezTo>
                    <a:pt x="11320" y="5876"/>
                    <a:pt x="11362" y="5844"/>
                    <a:pt x="11384" y="5817"/>
                  </a:cubicBezTo>
                  <a:cubicBezTo>
                    <a:pt x="11387" y="5812"/>
                    <a:pt x="11393" y="5803"/>
                    <a:pt x="11402" y="5791"/>
                  </a:cubicBezTo>
                  <a:cubicBezTo>
                    <a:pt x="11384" y="5704"/>
                    <a:pt x="11384" y="5624"/>
                    <a:pt x="11400" y="5549"/>
                  </a:cubicBezTo>
                  <a:cubicBezTo>
                    <a:pt x="11417" y="5474"/>
                    <a:pt x="11450" y="5405"/>
                    <a:pt x="11502" y="5346"/>
                  </a:cubicBezTo>
                  <a:cubicBezTo>
                    <a:pt x="11510" y="5336"/>
                    <a:pt x="11518" y="5328"/>
                    <a:pt x="11526" y="5320"/>
                  </a:cubicBezTo>
                  <a:cubicBezTo>
                    <a:pt x="11473" y="5235"/>
                    <a:pt x="11446" y="5122"/>
                    <a:pt x="11450" y="5000"/>
                  </a:cubicBezTo>
                  <a:cubicBezTo>
                    <a:pt x="11453" y="4943"/>
                    <a:pt x="11462" y="4871"/>
                    <a:pt x="11490" y="4805"/>
                  </a:cubicBezTo>
                  <a:cubicBezTo>
                    <a:pt x="11416" y="4719"/>
                    <a:pt x="11360" y="4617"/>
                    <a:pt x="11360" y="4489"/>
                  </a:cubicBezTo>
                  <a:cubicBezTo>
                    <a:pt x="11360" y="4227"/>
                    <a:pt x="11433" y="4046"/>
                    <a:pt x="11577" y="3949"/>
                  </a:cubicBezTo>
                  <a:cubicBezTo>
                    <a:pt x="11619" y="3922"/>
                    <a:pt x="11663" y="3902"/>
                    <a:pt x="11708" y="3890"/>
                  </a:cubicBezTo>
                  <a:cubicBezTo>
                    <a:pt x="11755" y="3833"/>
                    <a:pt x="11809" y="3806"/>
                    <a:pt x="11855" y="3792"/>
                  </a:cubicBezTo>
                  <a:cubicBezTo>
                    <a:pt x="11878" y="3786"/>
                    <a:pt x="11900" y="3782"/>
                    <a:pt x="11920" y="3780"/>
                  </a:cubicBezTo>
                  <a:cubicBezTo>
                    <a:pt x="11950" y="3745"/>
                    <a:pt x="11989" y="3712"/>
                    <a:pt x="12038" y="3691"/>
                  </a:cubicBezTo>
                  <a:cubicBezTo>
                    <a:pt x="12036" y="3657"/>
                    <a:pt x="12038" y="3622"/>
                    <a:pt x="12046" y="3584"/>
                  </a:cubicBezTo>
                  <a:lnTo>
                    <a:pt x="12063" y="3500"/>
                  </a:lnTo>
                  <a:cubicBezTo>
                    <a:pt x="12033" y="3474"/>
                    <a:pt x="12006" y="3441"/>
                    <a:pt x="11984" y="3398"/>
                  </a:cubicBezTo>
                  <a:lnTo>
                    <a:pt x="11920" y="3273"/>
                  </a:lnTo>
                  <a:lnTo>
                    <a:pt x="11947" y="3140"/>
                  </a:lnTo>
                  <a:cubicBezTo>
                    <a:pt x="11825" y="3098"/>
                    <a:pt x="11621" y="3023"/>
                    <a:pt x="11515" y="2842"/>
                  </a:cubicBezTo>
                  <a:cubicBezTo>
                    <a:pt x="11445" y="2721"/>
                    <a:pt x="11386" y="2536"/>
                    <a:pt x="11494" y="2331"/>
                  </a:cubicBezTo>
                  <a:cubicBezTo>
                    <a:pt x="11469" y="2317"/>
                    <a:pt x="11442" y="2298"/>
                    <a:pt x="11414" y="2273"/>
                  </a:cubicBezTo>
                  <a:cubicBezTo>
                    <a:pt x="11237" y="2108"/>
                    <a:pt x="11157" y="1696"/>
                    <a:pt x="11323" y="1431"/>
                  </a:cubicBezTo>
                  <a:cubicBezTo>
                    <a:pt x="11324" y="1429"/>
                    <a:pt x="11325" y="1428"/>
                    <a:pt x="11325" y="1427"/>
                  </a:cubicBezTo>
                  <a:cubicBezTo>
                    <a:pt x="11254" y="1400"/>
                    <a:pt x="11181" y="1344"/>
                    <a:pt x="11144" y="1226"/>
                  </a:cubicBezTo>
                  <a:cubicBezTo>
                    <a:pt x="11130" y="1173"/>
                    <a:pt x="11092" y="815"/>
                    <a:pt x="11146" y="550"/>
                  </a:cubicBezTo>
                  <a:cubicBezTo>
                    <a:pt x="11045" y="502"/>
                    <a:pt x="10926" y="384"/>
                    <a:pt x="10878" y="218"/>
                  </a:cubicBezTo>
                  <a:cubicBezTo>
                    <a:pt x="10857" y="147"/>
                    <a:pt x="10850" y="73"/>
                    <a:pt x="10858" y="0"/>
                  </a:cubicBezTo>
                  <a:cubicBezTo>
                    <a:pt x="10730" y="12"/>
                    <a:pt x="10607" y="23"/>
                    <a:pt x="10480" y="36"/>
                  </a:cubicBezTo>
                  <a:cubicBezTo>
                    <a:pt x="10148" y="68"/>
                    <a:pt x="9816" y="100"/>
                    <a:pt x="9489" y="130"/>
                  </a:cubicBezTo>
                  <a:cubicBezTo>
                    <a:pt x="9324" y="145"/>
                    <a:pt x="9162" y="160"/>
                    <a:pt x="8999" y="175"/>
                  </a:cubicBezTo>
                  <a:cubicBezTo>
                    <a:pt x="8674" y="206"/>
                    <a:pt x="8349" y="236"/>
                    <a:pt x="8029" y="265"/>
                  </a:cubicBezTo>
                  <a:cubicBezTo>
                    <a:pt x="7865" y="280"/>
                    <a:pt x="7704" y="294"/>
                    <a:pt x="7541" y="308"/>
                  </a:cubicBezTo>
                  <a:cubicBezTo>
                    <a:pt x="7226" y="337"/>
                    <a:pt x="6910" y="365"/>
                    <a:pt x="6599" y="392"/>
                  </a:cubicBezTo>
                  <a:cubicBezTo>
                    <a:pt x="6428" y="407"/>
                    <a:pt x="6262" y="421"/>
                    <a:pt x="6093" y="436"/>
                  </a:cubicBezTo>
                  <a:cubicBezTo>
                    <a:pt x="5797" y="461"/>
                    <a:pt x="5500" y="487"/>
                    <a:pt x="5208" y="511"/>
                  </a:cubicBezTo>
                  <a:cubicBezTo>
                    <a:pt x="4750" y="549"/>
                    <a:pt x="4296" y="587"/>
                    <a:pt x="3847" y="623"/>
                  </a:cubicBezTo>
                  <a:cubicBezTo>
                    <a:pt x="3793" y="627"/>
                    <a:pt x="3741" y="631"/>
                    <a:pt x="3687" y="636"/>
                  </a:cubicBezTo>
                  <a:cubicBezTo>
                    <a:pt x="3275" y="668"/>
                    <a:pt x="2867" y="700"/>
                    <a:pt x="2463" y="731"/>
                  </a:cubicBezTo>
                  <a:cubicBezTo>
                    <a:pt x="2412" y="735"/>
                    <a:pt x="2361" y="739"/>
                    <a:pt x="2310" y="742"/>
                  </a:cubicBezTo>
                  <a:cubicBezTo>
                    <a:pt x="1909" y="773"/>
                    <a:pt x="1510" y="803"/>
                    <a:pt x="1115" y="832"/>
                  </a:cubicBezTo>
                  <a:cubicBezTo>
                    <a:pt x="1054" y="836"/>
                    <a:pt x="995" y="840"/>
                    <a:pt x="934" y="844"/>
                  </a:cubicBezTo>
                  <a:cubicBezTo>
                    <a:pt x="622" y="867"/>
                    <a:pt x="309" y="890"/>
                    <a:pt x="0" y="911"/>
                  </a:cubicBezTo>
                  <a:cubicBezTo>
                    <a:pt x="99" y="2733"/>
                    <a:pt x="216" y="4902"/>
                    <a:pt x="291" y="6289"/>
                  </a:cubicBezTo>
                  <a:cubicBezTo>
                    <a:pt x="331" y="6312"/>
                    <a:pt x="362" y="6341"/>
                    <a:pt x="388" y="6378"/>
                  </a:cubicBezTo>
                  <a:cubicBezTo>
                    <a:pt x="393" y="6385"/>
                    <a:pt x="419" y="6431"/>
                    <a:pt x="452" y="6494"/>
                  </a:cubicBezTo>
                  <a:cubicBezTo>
                    <a:pt x="480" y="6548"/>
                    <a:pt x="519" y="6624"/>
                    <a:pt x="550" y="6677"/>
                  </a:cubicBezTo>
                  <a:lnTo>
                    <a:pt x="602" y="6689"/>
                  </a:lnTo>
                  <a:lnTo>
                    <a:pt x="732" y="6786"/>
                  </a:lnTo>
                  <a:cubicBezTo>
                    <a:pt x="701" y="6742"/>
                    <a:pt x="658" y="6721"/>
                    <a:pt x="650" y="6717"/>
                  </a:cubicBezTo>
                  <a:cubicBezTo>
                    <a:pt x="710" y="6741"/>
                    <a:pt x="802" y="6779"/>
                    <a:pt x="870" y="6874"/>
                  </a:cubicBezTo>
                  <a:cubicBezTo>
                    <a:pt x="873" y="6879"/>
                    <a:pt x="1038" y="7123"/>
                    <a:pt x="1063" y="7314"/>
                  </a:cubicBezTo>
                  <a:cubicBezTo>
                    <a:pt x="1190" y="7432"/>
                    <a:pt x="1277" y="7542"/>
                    <a:pt x="1283" y="7697"/>
                  </a:cubicBezTo>
                  <a:cubicBezTo>
                    <a:pt x="1284" y="7738"/>
                    <a:pt x="1280" y="7783"/>
                    <a:pt x="1273" y="7832"/>
                  </a:cubicBezTo>
                  <a:cubicBezTo>
                    <a:pt x="1273" y="7835"/>
                    <a:pt x="1273" y="7837"/>
                    <a:pt x="1273" y="7839"/>
                  </a:cubicBezTo>
                  <a:cubicBezTo>
                    <a:pt x="1332" y="7946"/>
                    <a:pt x="1377" y="8034"/>
                    <a:pt x="1383" y="8143"/>
                  </a:cubicBezTo>
                  <a:cubicBezTo>
                    <a:pt x="1388" y="8232"/>
                    <a:pt x="1367" y="8303"/>
                    <a:pt x="1338" y="8359"/>
                  </a:cubicBezTo>
                  <a:cubicBezTo>
                    <a:pt x="1365" y="8421"/>
                    <a:pt x="1379" y="8489"/>
                    <a:pt x="1379" y="8556"/>
                  </a:cubicBezTo>
                  <a:cubicBezTo>
                    <a:pt x="1379" y="8622"/>
                    <a:pt x="1364" y="8689"/>
                    <a:pt x="1333" y="8747"/>
                  </a:cubicBezTo>
                  <a:cubicBezTo>
                    <a:pt x="1331" y="8752"/>
                    <a:pt x="1328" y="8757"/>
                    <a:pt x="1326" y="8762"/>
                  </a:cubicBezTo>
                  <a:lnTo>
                    <a:pt x="1337" y="8782"/>
                  </a:lnTo>
                  <a:cubicBezTo>
                    <a:pt x="1342" y="8789"/>
                    <a:pt x="1350" y="8803"/>
                    <a:pt x="1359" y="8818"/>
                  </a:cubicBezTo>
                  <a:cubicBezTo>
                    <a:pt x="1468" y="8811"/>
                    <a:pt x="1549" y="8846"/>
                    <a:pt x="1615" y="8917"/>
                  </a:cubicBezTo>
                  <a:cubicBezTo>
                    <a:pt x="1693" y="9007"/>
                    <a:pt x="1745" y="9157"/>
                    <a:pt x="1745" y="9288"/>
                  </a:cubicBezTo>
                  <a:lnTo>
                    <a:pt x="1746" y="9381"/>
                  </a:lnTo>
                  <a:cubicBezTo>
                    <a:pt x="1819" y="9461"/>
                    <a:pt x="1867" y="9529"/>
                    <a:pt x="1886" y="9605"/>
                  </a:cubicBezTo>
                  <a:cubicBezTo>
                    <a:pt x="1964" y="9686"/>
                    <a:pt x="2043" y="9805"/>
                    <a:pt x="2043" y="9953"/>
                  </a:cubicBezTo>
                  <a:cubicBezTo>
                    <a:pt x="2043" y="10021"/>
                    <a:pt x="2028" y="10084"/>
                    <a:pt x="2008" y="10163"/>
                  </a:cubicBezTo>
                  <a:cubicBezTo>
                    <a:pt x="2030" y="10183"/>
                    <a:pt x="2053" y="10210"/>
                    <a:pt x="2073" y="10245"/>
                  </a:cubicBezTo>
                  <a:cubicBezTo>
                    <a:pt x="2214" y="10299"/>
                    <a:pt x="2257" y="10431"/>
                    <a:pt x="2270" y="10496"/>
                  </a:cubicBezTo>
                  <a:cubicBezTo>
                    <a:pt x="2276" y="10524"/>
                    <a:pt x="2283" y="10593"/>
                    <a:pt x="2287" y="10657"/>
                  </a:cubicBezTo>
                  <a:cubicBezTo>
                    <a:pt x="2291" y="10663"/>
                    <a:pt x="2294" y="10669"/>
                    <a:pt x="2298" y="10676"/>
                  </a:cubicBezTo>
                  <a:cubicBezTo>
                    <a:pt x="2317" y="10671"/>
                    <a:pt x="2337" y="10668"/>
                    <a:pt x="2359" y="10668"/>
                  </a:cubicBezTo>
                  <a:lnTo>
                    <a:pt x="2446" y="10668"/>
                  </a:lnTo>
                  <a:lnTo>
                    <a:pt x="2529" y="10737"/>
                  </a:lnTo>
                  <a:cubicBezTo>
                    <a:pt x="2636" y="10836"/>
                    <a:pt x="2672" y="10998"/>
                    <a:pt x="2670" y="11117"/>
                  </a:cubicBezTo>
                  <a:cubicBezTo>
                    <a:pt x="2669" y="11177"/>
                    <a:pt x="2660" y="11232"/>
                    <a:pt x="2642" y="11281"/>
                  </a:cubicBezTo>
                  <a:cubicBezTo>
                    <a:pt x="2654" y="11347"/>
                    <a:pt x="2649" y="11406"/>
                    <a:pt x="2637" y="11456"/>
                  </a:cubicBezTo>
                  <a:cubicBezTo>
                    <a:pt x="2676" y="11502"/>
                    <a:pt x="2715" y="11563"/>
                    <a:pt x="2729" y="11647"/>
                  </a:cubicBezTo>
                  <a:cubicBezTo>
                    <a:pt x="2755" y="11733"/>
                    <a:pt x="2823" y="11978"/>
                    <a:pt x="2667" y="12148"/>
                  </a:cubicBezTo>
                  <a:cubicBezTo>
                    <a:pt x="2666" y="12149"/>
                    <a:pt x="2665" y="12150"/>
                    <a:pt x="2664" y="12151"/>
                  </a:cubicBezTo>
                  <a:cubicBezTo>
                    <a:pt x="2729" y="12232"/>
                    <a:pt x="2778" y="12319"/>
                    <a:pt x="2778" y="12439"/>
                  </a:cubicBezTo>
                  <a:lnTo>
                    <a:pt x="2779" y="12573"/>
                  </a:lnTo>
                  <a:lnTo>
                    <a:pt x="2693" y="12678"/>
                  </a:lnTo>
                  <a:cubicBezTo>
                    <a:pt x="2669" y="12704"/>
                    <a:pt x="2646" y="12724"/>
                    <a:pt x="2623" y="12744"/>
                  </a:cubicBezTo>
                  <a:cubicBezTo>
                    <a:pt x="2622" y="12744"/>
                    <a:pt x="2621" y="12742"/>
                    <a:pt x="2620" y="12740"/>
                  </a:cubicBezTo>
                  <a:cubicBezTo>
                    <a:pt x="2674" y="12917"/>
                    <a:pt x="2740" y="13248"/>
                    <a:pt x="2549" y="13406"/>
                  </a:cubicBezTo>
                  <a:lnTo>
                    <a:pt x="2528" y="13423"/>
                  </a:lnTo>
                  <a:cubicBezTo>
                    <a:pt x="2518" y="13519"/>
                    <a:pt x="2499" y="13592"/>
                    <a:pt x="2467" y="13648"/>
                  </a:cubicBezTo>
                  <a:cubicBezTo>
                    <a:pt x="2471" y="13694"/>
                    <a:pt x="2469" y="13751"/>
                    <a:pt x="2454" y="13812"/>
                  </a:cubicBezTo>
                  <a:cubicBezTo>
                    <a:pt x="2456" y="13915"/>
                    <a:pt x="2450" y="14169"/>
                    <a:pt x="2247" y="14250"/>
                  </a:cubicBezTo>
                  <a:lnTo>
                    <a:pt x="2214" y="14262"/>
                  </a:lnTo>
                  <a:cubicBezTo>
                    <a:pt x="2228" y="14330"/>
                    <a:pt x="2231" y="14389"/>
                    <a:pt x="2228" y="14439"/>
                  </a:cubicBezTo>
                  <a:cubicBezTo>
                    <a:pt x="2217" y="14589"/>
                    <a:pt x="2142" y="14663"/>
                    <a:pt x="2092" y="14696"/>
                  </a:cubicBezTo>
                  <a:cubicBezTo>
                    <a:pt x="2138" y="14773"/>
                    <a:pt x="2156" y="14857"/>
                    <a:pt x="2145" y="14949"/>
                  </a:cubicBezTo>
                  <a:cubicBezTo>
                    <a:pt x="2143" y="14972"/>
                    <a:pt x="2145" y="15040"/>
                    <a:pt x="2149" y="15063"/>
                  </a:cubicBezTo>
                  <a:cubicBezTo>
                    <a:pt x="2189" y="15123"/>
                    <a:pt x="2301" y="15346"/>
                    <a:pt x="2160" y="15543"/>
                  </a:cubicBezTo>
                  <a:cubicBezTo>
                    <a:pt x="2146" y="15563"/>
                    <a:pt x="2107" y="15608"/>
                    <a:pt x="2059" y="15659"/>
                  </a:cubicBezTo>
                  <a:cubicBezTo>
                    <a:pt x="2044" y="15675"/>
                    <a:pt x="2027" y="15693"/>
                    <a:pt x="2011" y="15710"/>
                  </a:cubicBezTo>
                  <a:cubicBezTo>
                    <a:pt x="2018" y="15751"/>
                    <a:pt x="2021" y="15790"/>
                    <a:pt x="2019" y="15827"/>
                  </a:cubicBezTo>
                  <a:cubicBezTo>
                    <a:pt x="2129" y="15952"/>
                    <a:pt x="2206" y="16049"/>
                    <a:pt x="2206" y="16198"/>
                  </a:cubicBezTo>
                  <a:lnTo>
                    <a:pt x="2219" y="16231"/>
                  </a:lnTo>
                  <a:cubicBezTo>
                    <a:pt x="2245" y="16348"/>
                    <a:pt x="2269" y="16449"/>
                    <a:pt x="2252" y="16552"/>
                  </a:cubicBezTo>
                  <a:cubicBezTo>
                    <a:pt x="2246" y="16582"/>
                    <a:pt x="2239" y="16613"/>
                    <a:pt x="2229" y="16643"/>
                  </a:cubicBezTo>
                  <a:cubicBezTo>
                    <a:pt x="2232" y="16649"/>
                    <a:pt x="2235" y="16655"/>
                    <a:pt x="2238" y="16661"/>
                  </a:cubicBezTo>
                  <a:cubicBezTo>
                    <a:pt x="2261" y="16708"/>
                    <a:pt x="2283" y="16753"/>
                    <a:pt x="2301" y="16795"/>
                  </a:cubicBezTo>
                  <a:cubicBezTo>
                    <a:pt x="2356" y="16921"/>
                    <a:pt x="2380" y="17030"/>
                    <a:pt x="2322" y="17157"/>
                  </a:cubicBezTo>
                  <a:cubicBezTo>
                    <a:pt x="2299" y="17232"/>
                    <a:pt x="2280" y="17291"/>
                    <a:pt x="2260" y="17339"/>
                  </a:cubicBezTo>
                  <a:cubicBezTo>
                    <a:pt x="2275" y="17374"/>
                    <a:pt x="2286" y="17415"/>
                    <a:pt x="2289" y="17463"/>
                  </a:cubicBezTo>
                  <a:lnTo>
                    <a:pt x="2298" y="17603"/>
                  </a:lnTo>
                  <a:lnTo>
                    <a:pt x="2212" y="17715"/>
                  </a:lnTo>
                  <a:cubicBezTo>
                    <a:pt x="2196" y="17734"/>
                    <a:pt x="2180" y="17749"/>
                    <a:pt x="2164" y="17762"/>
                  </a:cubicBezTo>
                  <a:lnTo>
                    <a:pt x="2175" y="17836"/>
                  </a:lnTo>
                  <a:lnTo>
                    <a:pt x="2036" y="18007"/>
                  </a:lnTo>
                  <a:cubicBezTo>
                    <a:pt x="1940" y="18061"/>
                    <a:pt x="1923" y="18096"/>
                    <a:pt x="1918" y="18114"/>
                  </a:cubicBezTo>
                  <a:cubicBezTo>
                    <a:pt x="1908" y="18149"/>
                    <a:pt x="1906" y="18207"/>
                    <a:pt x="1902" y="18269"/>
                  </a:cubicBezTo>
                  <a:cubicBezTo>
                    <a:pt x="1896" y="18412"/>
                    <a:pt x="1887" y="18608"/>
                    <a:pt x="1765" y="18775"/>
                  </a:cubicBezTo>
                  <a:cubicBezTo>
                    <a:pt x="1710" y="18852"/>
                    <a:pt x="1624" y="18940"/>
                    <a:pt x="1543" y="19019"/>
                  </a:cubicBezTo>
                  <a:cubicBezTo>
                    <a:pt x="1578" y="19070"/>
                    <a:pt x="1597" y="19130"/>
                    <a:pt x="1601" y="19197"/>
                  </a:cubicBezTo>
                  <a:cubicBezTo>
                    <a:pt x="1612" y="19207"/>
                    <a:pt x="1623" y="19216"/>
                    <a:pt x="1634" y="19227"/>
                  </a:cubicBezTo>
                  <a:cubicBezTo>
                    <a:pt x="1731" y="19148"/>
                    <a:pt x="1868" y="19072"/>
                    <a:pt x="2065" y="19016"/>
                  </a:cubicBezTo>
                  <a:cubicBezTo>
                    <a:pt x="2458" y="18903"/>
                    <a:pt x="3011" y="18782"/>
                    <a:pt x="3262" y="18778"/>
                  </a:cubicBezTo>
                  <a:lnTo>
                    <a:pt x="3378" y="18777"/>
                  </a:lnTo>
                  <a:cubicBezTo>
                    <a:pt x="3524" y="18775"/>
                    <a:pt x="3570" y="18774"/>
                    <a:pt x="3643" y="18752"/>
                  </a:cubicBezTo>
                  <a:cubicBezTo>
                    <a:pt x="3719" y="18687"/>
                    <a:pt x="3793" y="18646"/>
                    <a:pt x="3929" y="18646"/>
                  </a:cubicBezTo>
                  <a:cubicBezTo>
                    <a:pt x="4224" y="18646"/>
                    <a:pt x="4403" y="18653"/>
                    <a:pt x="4505" y="18690"/>
                  </a:cubicBezTo>
                  <a:cubicBezTo>
                    <a:pt x="4677" y="18721"/>
                    <a:pt x="4909" y="18763"/>
                    <a:pt x="5393" y="18972"/>
                  </a:cubicBezTo>
                  <a:cubicBezTo>
                    <a:pt x="5649" y="19082"/>
                    <a:pt x="5803" y="19163"/>
                    <a:pt x="5933" y="19232"/>
                  </a:cubicBezTo>
                  <a:cubicBezTo>
                    <a:pt x="6113" y="19326"/>
                    <a:pt x="6231" y="19388"/>
                    <a:pt x="6522" y="19474"/>
                  </a:cubicBezTo>
                  <a:cubicBezTo>
                    <a:pt x="6938" y="19597"/>
                    <a:pt x="7058" y="19601"/>
                    <a:pt x="7197" y="19607"/>
                  </a:cubicBezTo>
                  <a:lnTo>
                    <a:pt x="7358" y="19613"/>
                  </a:lnTo>
                  <a:lnTo>
                    <a:pt x="7619" y="19605"/>
                  </a:lnTo>
                  <a:cubicBezTo>
                    <a:pt x="7695" y="19605"/>
                    <a:pt x="7784" y="19611"/>
                    <a:pt x="7863" y="19655"/>
                  </a:cubicBezTo>
                  <a:lnTo>
                    <a:pt x="7954" y="19661"/>
                  </a:lnTo>
                  <a:lnTo>
                    <a:pt x="8008" y="19658"/>
                  </a:lnTo>
                  <a:cubicBezTo>
                    <a:pt x="8064" y="19655"/>
                    <a:pt x="8124" y="19653"/>
                    <a:pt x="8167" y="19646"/>
                  </a:cubicBezTo>
                  <a:cubicBezTo>
                    <a:pt x="8249" y="19575"/>
                    <a:pt x="8381" y="19468"/>
                    <a:pt x="8507" y="19394"/>
                  </a:cubicBezTo>
                  <a:cubicBezTo>
                    <a:pt x="8506" y="19392"/>
                    <a:pt x="8506" y="19391"/>
                    <a:pt x="8505" y="19390"/>
                  </a:cubicBezTo>
                  <a:cubicBezTo>
                    <a:pt x="8488" y="19342"/>
                    <a:pt x="8468" y="19275"/>
                    <a:pt x="8452" y="19216"/>
                  </a:cubicBezTo>
                  <a:lnTo>
                    <a:pt x="8434" y="19152"/>
                  </a:lnTo>
                  <a:cubicBezTo>
                    <a:pt x="8351" y="18992"/>
                    <a:pt x="8378" y="18858"/>
                    <a:pt x="8415" y="18775"/>
                  </a:cubicBezTo>
                  <a:cubicBezTo>
                    <a:pt x="8461" y="18671"/>
                    <a:pt x="8622" y="18476"/>
                    <a:pt x="8765" y="18351"/>
                  </a:cubicBezTo>
                  <a:lnTo>
                    <a:pt x="8844" y="18280"/>
                  </a:lnTo>
                  <a:cubicBezTo>
                    <a:pt x="8955" y="18180"/>
                    <a:pt x="9036" y="18107"/>
                    <a:pt x="9148" y="18098"/>
                  </a:cubicBezTo>
                  <a:cubicBezTo>
                    <a:pt x="9192" y="18041"/>
                    <a:pt x="9245" y="17987"/>
                    <a:pt x="9319" y="17959"/>
                  </a:cubicBezTo>
                  <a:lnTo>
                    <a:pt x="9402" y="17943"/>
                  </a:lnTo>
                  <a:cubicBezTo>
                    <a:pt x="9478" y="17822"/>
                    <a:pt x="9581" y="17793"/>
                    <a:pt x="9660" y="17793"/>
                  </a:cubicBezTo>
                  <a:cubicBezTo>
                    <a:pt x="9885" y="17822"/>
                    <a:pt x="10009" y="17978"/>
                    <a:pt x="10065" y="18115"/>
                  </a:cubicBezTo>
                  <a:cubicBezTo>
                    <a:pt x="10084" y="18157"/>
                    <a:pt x="10099" y="18212"/>
                    <a:pt x="10108" y="18273"/>
                  </a:cubicBezTo>
                  <a:cubicBezTo>
                    <a:pt x="10143" y="18259"/>
                    <a:pt x="10180" y="18248"/>
                    <a:pt x="10218" y="18241"/>
                  </a:cubicBezTo>
                  <a:cubicBezTo>
                    <a:pt x="10314" y="18223"/>
                    <a:pt x="10380" y="18231"/>
                    <a:pt x="10432" y="18246"/>
                  </a:cubicBezTo>
                  <a:cubicBezTo>
                    <a:pt x="10465" y="18230"/>
                    <a:pt x="10505" y="18218"/>
                    <a:pt x="10552" y="18218"/>
                  </a:cubicBezTo>
                  <a:cubicBezTo>
                    <a:pt x="10640" y="18196"/>
                    <a:pt x="10698" y="18186"/>
                    <a:pt x="10735" y="18186"/>
                  </a:cubicBezTo>
                  <a:lnTo>
                    <a:pt x="10844" y="18207"/>
                  </a:lnTo>
                  <a:cubicBezTo>
                    <a:pt x="11066" y="18254"/>
                    <a:pt x="11115" y="18459"/>
                    <a:pt x="11109" y="18577"/>
                  </a:cubicBezTo>
                  <a:lnTo>
                    <a:pt x="11107" y="18660"/>
                  </a:lnTo>
                  <a:cubicBezTo>
                    <a:pt x="11106" y="18697"/>
                    <a:pt x="11106" y="18730"/>
                    <a:pt x="11105" y="18761"/>
                  </a:cubicBezTo>
                  <a:cubicBezTo>
                    <a:pt x="11267" y="18801"/>
                    <a:pt x="11416" y="18926"/>
                    <a:pt x="11464" y="19134"/>
                  </a:cubicBezTo>
                  <a:cubicBezTo>
                    <a:pt x="11472" y="19167"/>
                    <a:pt x="11478" y="19205"/>
                    <a:pt x="11482" y="19244"/>
                  </a:cubicBezTo>
                  <a:lnTo>
                    <a:pt x="11604" y="19236"/>
                  </a:lnTo>
                  <a:lnTo>
                    <a:pt x="11677" y="19266"/>
                  </a:lnTo>
                  <a:cubicBezTo>
                    <a:pt x="11726" y="19289"/>
                    <a:pt x="11800" y="19330"/>
                    <a:pt x="11863" y="19396"/>
                  </a:cubicBezTo>
                  <a:cubicBezTo>
                    <a:pt x="11900" y="19370"/>
                    <a:pt x="11950" y="19350"/>
                    <a:pt x="12009" y="19350"/>
                  </a:cubicBezTo>
                  <a:lnTo>
                    <a:pt x="12132" y="19350"/>
                  </a:lnTo>
                  <a:lnTo>
                    <a:pt x="12230" y="19474"/>
                  </a:lnTo>
                  <a:cubicBezTo>
                    <a:pt x="12248" y="19499"/>
                    <a:pt x="12261" y="19525"/>
                    <a:pt x="12271" y="19550"/>
                  </a:cubicBezTo>
                  <a:cubicBezTo>
                    <a:pt x="12302" y="19539"/>
                    <a:pt x="12335" y="19532"/>
                    <a:pt x="12370" y="19532"/>
                  </a:cubicBezTo>
                  <a:lnTo>
                    <a:pt x="12498" y="19532"/>
                  </a:lnTo>
                  <a:lnTo>
                    <a:pt x="12599" y="19664"/>
                  </a:lnTo>
                  <a:cubicBezTo>
                    <a:pt x="12614" y="19689"/>
                    <a:pt x="12631" y="19722"/>
                    <a:pt x="12647" y="19764"/>
                  </a:cubicBezTo>
                  <a:cubicBezTo>
                    <a:pt x="12729" y="19783"/>
                    <a:pt x="12865" y="19844"/>
                    <a:pt x="12895" y="20038"/>
                  </a:cubicBezTo>
                  <a:cubicBezTo>
                    <a:pt x="12899" y="20060"/>
                    <a:pt x="12901" y="20077"/>
                    <a:pt x="12904" y="20092"/>
                  </a:cubicBezTo>
                  <a:cubicBezTo>
                    <a:pt x="12971" y="20193"/>
                    <a:pt x="13032" y="20366"/>
                    <a:pt x="12980" y="20546"/>
                  </a:cubicBezTo>
                  <a:cubicBezTo>
                    <a:pt x="12920" y="20842"/>
                    <a:pt x="12726" y="20840"/>
                    <a:pt x="12670" y="20833"/>
                  </a:cubicBezTo>
                  <a:cubicBezTo>
                    <a:pt x="12665" y="20862"/>
                    <a:pt x="12658" y="20890"/>
                    <a:pt x="12648" y="20916"/>
                  </a:cubicBezTo>
                  <a:cubicBezTo>
                    <a:pt x="12725" y="20934"/>
                    <a:pt x="12863" y="20944"/>
                    <a:pt x="12950" y="20951"/>
                  </a:cubicBezTo>
                  <a:cubicBezTo>
                    <a:pt x="13172" y="20968"/>
                    <a:pt x="13296" y="20977"/>
                    <a:pt x="13376" y="21125"/>
                  </a:cubicBezTo>
                  <a:cubicBezTo>
                    <a:pt x="13413" y="21121"/>
                    <a:pt x="13449" y="21117"/>
                    <a:pt x="13479" y="21117"/>
                  </a:cubicBezTo>
                  <a:lnTo>
                    <a:pt x="13546" y="21117"/>
                  </a:lnTo>
                  <a:lnTo>
                    <a:pt x="13654" y="21166"/>
                  </a:lnTo>
                  <a:lnTo>
                    <a:pt x="13652" y="21171"/>
                  </a:lnTo>
                  <a:cubicBezTo>
                    <a:pt x="13721" y="21132"/>
                    <a:pt x="13785" y="21109"/>
                    <a:pt x="13852" y="21109"/>
                  </a:cubicBezTo>
                  <a:lnTo>
                    <a:pt x="13940" y="21109"/>
                  </a:lnTo>
                  <a:lnTo>
                    <a:pt x="14031" y="21180"/>
                  </a:lnTo>
                  <a:cubicBezTo>
                    <a:pt x="14034" y="21182"/>
                    <a:pt x="14299" y="21435"/>
                    <a:pt x="14362" y="21544"/>
                  </a:cubicBezTo>
                  <a:lnTo>
                    <a:pt x="14350" y="21563"/>
                  </a:lnTo>
                  <a:cubicBezTo>
                    <a:pt x="14366" y="21572"/>
                    <a:pt x="14384" y="21584"/>
                    <a:pt x="14406" y="21600"/>
                  </a:cubicBezTo>
                  <a:cubicBezTo>
                    <a:pt x="14493" y="21476"/>
                    <a:pt x="14620" y="21342"/>
                    <a:pt x="14761" y="21342"/>
                  </a:cubicBezTo>
                  <a:lnTo>
                    <a:pt x="14816" y="21344"/>
                  </a:lnTo>
                  <a:cubicBezTo>
                    <a:pt x="14824" y="21344"/>
                    <a:pt x="14834" y="21344"/>
                    <a:pt x="14842" y="21343"/>
                  </a:cubicBezTo>
                  <a:lnTo>
                    <a:pt x="14882" y="21303"/>
                  </a:lnTo>
                  <a:cubicBezTo>
                    <a:pt x="14866" y="21199"/>
                    <a:pt x="14884" y="21086"/>
                    <a:pt x="14930" y="20994"/>
                  </a:cubicBezTo>
                  <a:cubicBezTo>
                    <a:pt x="14965" y="20872"/>
                    <a:pt x="15024" y="20809"/>
                    <a:pt x="15080" y="20775"/>
                  </a:cubicBezTo>
                  <a:cubicBezTo>
                    <a:pt x="15080" y="20677"/>
                    <a:pt x="15098" y="20553"/>
                    <a:pt x="15170" y="20461"/>
                  </a:cubicBezTo>
                  <a:cubicBezTo>
                    <a:pt x="15231" y="20383"/>
                    <a:pt x="15356" y="20301"/>
                    <a:pt x="15475" y="20301"/>
                  </a:cubicBezTo>
                  <a:lnTo>
                    <a:pt x="15512" y="20301"/>
                  </a:lnTo>
                  <a:cubicBezTo>
                    <a:pt x="15557" y="20266"/>
                    <a:pt x="15611" y="20243"/>
                    <a:pt x="15671" y="20240"/>
                  </a:cubicBezTo>
                  <a:cubicBezTo>
                    <a:pt x="15671" y="20240"/>
                    <a:pt x="15671" y="20240"/>
                    <a:pt x="15672" y="20240"/>
                  </a:cubicBezTo>
                  <a:cubicBezTo>
                    <a:pt x="15775" y="20240"/>
                    <a:pt x="15843" y="20291"/>
                    <a:pt x="15883" y="20331"/>
                  </a:cubicBezTo>
                  <a:cubicBezTo>
                    <a:pt x="15939" y="20346"/>
                    <a:pt x="16002" y="20369"/>
                    <a:pt x="16056" y="20412"/>
                  </a:cubicBezTo>
                  <a:cubicBezTo>
                    <a:pt x="16100" y="20327"/>
                    <a:pt x="16168" y="20286"/>
                    <a:pt x="16216" y="20268"/>
                  </a:cubicBezTo>
                  <a:lnTo>
                    <a:pt x="16334" y="20250"/>
                  </a:lnTo>
                  <a:cubicBezTo>
                    <a:pt x="16435" y="20250"/>
                    <a:pt x="16618" y="20274"/>
                    <a:pt x="16714" y="20436"/>
                  </a:cubicBezTo>
                  <a:cubicBezTo>
                    <a:pt x="16745" y="20489"/>
                    <a:pt x="16760" y="20540"/>
                    <a:pt x="16770" y="20576"/>
                  </a:cubicBezTo>
                  <a:cubicBezTo>
                    <a:pt x="16870" y="20675"/>
                    <a:pt x="17011" y="20832"/>
                    <a:pt x="16981" y="21022"/>
                  </a:cubicBezTo>
                  <a:cubicBezTo>
                    <a:pt x="17020" y="21040"/>
                    <a:pt x="17059" y="21064"/>
                    <a:pt x="17092" y="21098"/>
                  </a:cubicBezTo>
                  <a:cubicBezTo>
                    <a:pt x="17142" y="21055"/>
                    <a:pt x="17185" y="21016"/>
                    <a:pt x="17201" y="20998"/>
                  </a:cubicBezTo>
                  <a:cubicBezTo>
                    <a:pt x="17206" y="20989"/>
                    <a:pt x="17240" y="20947"/>
                    <a:pt x="17283" y="20894"/>
                  </a:cubicBezTo>
                  <a:cubicBezTo>
                    <a:pt x="17065" y="20598"/>
                    <a:pt x="17148" y="20420"/>
                    <a:pt x="17214" y="20336"/>
                  </a:cubicBezTo>
                  <a:cubicBezTo>
                    <a:pt x="17256" y="20283"/>
                    <a:pt x="17304" y="20255"/>
                    <a:pt x="17346" y="20240"/>
                  </a:cubicBezTo>
                  <a:lnTo>
                    <a:pt x="17367" y="20199"/>
                  </a:lnTo>
                  <a:cubicBezTo>
                    <a:pt x="17363" y="20177"/>
                    <a:pt x="17361" y="20154"/>
                    <a:pt x="17361" y="20129"/>
                  </a:cubicBezTo>
                  <a:lnTo>
                    <a:pt x="17369" y="20026"/>
                  </a:lnTo>
                  <a:cubicBezTo>
                    <a:pt x="17365" y="20015"/>
                    <a:pt x="17352" y="19953"/>
                    <a:pt x="17352" y="19868"/>
                  </a:cubicBezTo>
                  <a:lnTo>
                    <a:pt x="17357" y="19795"/>
                  </a:lnTo>
                  <a:cubicBezTo>
                    <a:pt x="17331" y="19675"/>
                    <a:pt x="17301" y="19450"/>
                    <a:pt x="17372" y="19282"/>
                  </a:cubicBezTo>
                  <a:cubicBezTo>
                    <a:pt x="17409" y="19181"/>
                    <a:pt x="17458" y="19041"/>
                    <a:pt x="17620" y="19003"/>
                  </a:cubicBezTo>
                  <a:cubicBezTo>
                    <a:pt x="17737" y="18974"/>
                    <a:pt x="17879" y="19007"/>
                    <a:pt x="17942" y="19067"/>
                  </a:cubicBezTo>
                  <a:cubicBezTo>
                    <a:pt x="17995" y="18993"/>
                    <a:pt x="18063" y="18927"/>
                    <a:pt x="18153" y="18898"/>
                  </a:cubicBezTo>
                  <a:lnTo>
                    <a:pt x="18211" y="18877"/>
                  </a:lnTo>
                  <a:cubicBezTo>
                    <a:pt x="18252" y="18862"/>
                    <a:pt x="18298" y="18844"/>
                    <a:pt x="18354" y="18844"/>
                  </a:cubicBezTo>
                  <a:lnTo>
                    <a:pt x="18443" y="18844"/>
                  </a:lnTo>
                  <a:lnTo>
                    <a:pt x="18536" y="18920"/>
                  </a:lnTo>
                  <a:cubicBezTo>
                    <a:pt x="18610" y="18991"/>
                    <a:pt x="18705" y="19170"/>
                    <a:pt x="18687" y="19347"/>
                  </a:cubicBezTo>
                  <a:cubicBezTo>
                    <a:pt x="18730" y="19405"/>
                    <a:pt x="18761" y="19473"/>
                    <a:pt x="18771" y="19544"/>
                  </a:cubicBezTo>
                  <a:cubicBezTo>
                    <a:pt x="18780" y="19595"/>
                    <a:pt x="18778" y="19656"/>
                    <a:pt x="18769" y="19716"/>
                  </a:cubicBezTo>
                  <a:cubicBezTo>
                    <a:pt x="18777" y="19716"/>
                    <a:pt x="18785" y="19715"/>
                    <a:pt x="18792" y="19715"/>
                  </a:cubicBezTo>
                  <a:lnTo>
                    <a:pt x="18895" y="19715"/>
                  </a:lnTo>
                  <a:lnTo>
                    <a:pt x="18998" y="19802"/>
                  </a:lnTo>
                  <a:cubicBezTo>
                    <a:pt x="19121" y="19808"/>
                    <a:pt x="19258" y="19841"/>
                    <a:pt x="19357" y="19894"/>
                  </a:cubicBezTo>
                  <a:cubicBezTo>
                    <a:pt x="19419" y="19927"/>
                    <a:pt x="19463" y="19961"/>
                    <a:pt x="19503" y="19993"/>
                  </a:cubicBezTo>
                  <a:cubicBezTo>
                    <a:pt x="19534" y="20017"/>
                    <a:pt x="19561" y="20018"/>
                    <a:pt x="19591" y="20020"/>
                  </a:cubicBezTo>
                  <a:cubicBezTo>
                    <a:pt x="19769" y="20034"/>
                    <a:pt x="20035" y="20053"/>
                    <a:pt x="20208" y="20245"/>
                  </a:cubicBezTo>
                  <a:cubicBezTo>
                    <a:pt x="20320" y="20371"/>
                    <a:pt x="20376" y="20467"/>
                    <a:pt x="20410" y="20525"/>
                  </a:cubicBezTo>
                  <a:cubicBezTo>
                    <a:pt x="20516" y="20640"/>
                    <a:pt x="20588" y="20719"/>
                    <a:pt x="20617" y="20827"/>
                  </a:cubicBezTo>
                  <a:cubicBezTo>
                    <a:pt x="20645" y="20839"/>
                    <a:pt x="20673" y="20858"/>
                    <a:pt x="20699" y="20883"/>
                  </a:cubicBezTo>
                  <a:cubicBezTo>
                    <a:pt x="20717" y="20900"/>
                    <a:pt x="20739" y="20923"/>
                    <a:pt x="20763" y="20950"/>
                  </a:cubicBezTo>
                  <a:cubicBezTo>
                    <a:pt x="20779" y="20914"/>
                    <a:pt x="20802" y="20879"/>
                    <a:pt x="20830" y="20850"/>
                  </a:cubicBezTo>
                  <a:cubicBezTo>
                    <a:pt x="20900" y="20777"/>
                    <a:pt x="21006" y="20732"/>
                    <a:pt x="21103" y="20732"/>
                  </a:cubicBezTo>
                  <a:lnTo>
                    <a:pt x="21211" y="20732"/>
                  </a:lnTo>
                  <a:lnTo>
                    <a:pt x="21335" y="20843"/>
                  </a:lnTo>
                  <a:cubicBezTo>
                    <a:pt x="21348" y="20859"/>
                    <a:pt x="21360" y="20876"/>
                    <a:pt x="21370" y="20893"/>
                  </a:cubicBezTo>
                  <a:cubicBezTo>
                    <a:pt x="21392" y="20858"/>
                    <a:pt x="21419" y="20826"/>
                    <a:pt x="21451" y="20801"/>
                  </a:cubicBezTo>
                  <a:cubicBezTo>
                    <a:pt x="21492" y="20768"/>
                    <a:pt x="21535" y="20752"/>
                    <a:pt x="21581" y="20743"/>
                  </a:cubicBezTo>
                  <a:close/>
                  <a:moveTo>
                    <a:pt x="21581" y="20743"/>
                  </a:moveTo>
                </a:path>
              </a:pathLst>
            </a:custGeom>
            <a:solidFill>
              <a:schemeClr val="bg1">
                <a:lumMod val="75000"/>
              </a:schemeClr>
            </a:solidFill>
            <a:ln>
              <a:noFill/>
            </a:ln>
          </p:spPr>
          <p:txBody>
            <a:bodyPr spcFirstLastPara="1"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
                  <a:srgbClr val="005A74"/>
                </a:buClr>
                <a:buSzPts val="2400"/>
                <a:buFontTx/>
                <a:buNone/>
                <a:tabLst/>
                <a:defRPr/>
              </a:pPr>
              <a:endParaRPr kumimoji="0" sz="1800" b="0" i="0" u="none" strike="noStrike" kern="1200" cap="none" spc="0" normalizeH="0" baseline="0" noProof="0">
                <a:ln>
                  <a:noFill/>
                </a:ln>
                <a:solidFill>
                  <a:srgbClr val="005A74"/>
                </a:solidFill>
                <a:effectLst/>
                <a:uLnTx/>
                <a:uFillTx/>
                <a:latin typeface="Arial"/>
                <a:ea typeface="Arial"/>
                <a:cs typeface="Arial"/>
                <a:sym typeface="Arial"/>
              </a:endParaRPr>
            </a:p>
          </p:txBody>
        </p:sp>
      </p:grpSp>
      <p:pic>
        <p:nvPicPr>
          <p:cNvPr id="101" name="Picture 100" descr="A person in a suit and tie&#10;&#10;Description automatically generated with medium confidence">
            <a:extLst>
              <a:ext uri="{FF2B5EF4-FFF2-40B4-BE49-F238E27FC236}">
                <a16:creationId xmlns:a16="http://schemas.microsoft.com/office/drawing/2014/main" id="{75286DD9-A7B0-45D1-A0DA-53BA843E429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464660" y="3589962"/>
            <a:ext cx="950122" cy="909475"/>
          </a:xfrm>
          <a:prstGeom prst="rect">
            <a:avLst/>
          </a:prstGeom>
          <a:ln w="28575" cap="sq">
            <a:solidFill>
              <a:srgbClr val="000000"/>
            </a:solidFill>
            <a:miter lim="800000"/>
          </a:ln>
          <a:effectLst>
            <a:outerShdw blurRad="57150" dist="50800" dir="2700000" algn="tl" rotWithShape="0">
              <a:srgbClr val="000000">
                <a:alpha val="40000"/>
              </a:srgbClr>
            </a:outerShdw>
          </a:effectLst>
        </p:spPr>
      </p:pic>
      <p:pic>
        <p:nvPicPr>
          <p:cNvPr id="103" name="Picture 102" descr="A person smiling for the camera&#10;&#10;Description automatically generated with low confidence">
            <a:extLst>
              <a:ext uri="{FF2B5EF4-FFF2-40B4-BE49-F238E27FC236}">
                <a16:creationId xmlns:a16="http://schemas.microsoft.com/office/drawing/2014/main" id="{65BF6330-3578-47CC-90A8-6A42B20DE45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84271" y="3035666"/>
            <a:ext cx="760732" cy="1104702"/>
          </a:xfrm>
          <a:prstGeom prst="rect">
            <a:avLst/>
          </a:prstGeom>
          <a:ln w="28575" cap="sq">
            <a:solidFill>
              <a:srgbClr val="000000"/>
            </a:solidFill>
            <a:miter lim="800000"/>
          </a:ln>
          <a:effectLst>
            <a:outerShdw blurRad="57150" dist="50800" dir="2700000" algn="tl" rotWithShape="0">
              <a:srgbClr val="000000">
                <a:alpha val="40000"/>
              </a:srgbClr>
            </a:outerShdw>
          </a:effectLst>
        </p:spPr>
      </p:pic>
      <p:pic>
        <p:nvPicPr>
          <p:cNvPr id="107" name="Picture 2">
            <a:extLst>
              <a:ext uri="{FF2B5EF4-FFF2-40B4-BE49-F238E27FC236}">
                <a16:creationId xmlns:a16="http://schemas.microsoft.com/office/drawing/2014/main" id="{14472E63-843D-4EE6-977E-9191B20410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44724" y="4620737"/>
            <a:ext cx="911743" cy="911743"/>
          </a:xfrm>
          <a:prstGeom prst="rect">
            <a:avLst/>
          </a:prstGeom>
          <a:ln w="28575" cap="sq">
            <a:solidFill>
              <a:srgbClr val="000000"/>
            </a:solidFill>
            <a:miter lim="800000"/>
          </a:ln>
          <a:effectLst>
            <a:outerShdw blurRad="57150" dist="50800" dir="2700000" algn="tl" rotWithShape="0">
              <a:srgbClr val="000000">
                <a:alpha val="40000"/>
              </a:srgbClr>
            </a:outerShdw>
          </a:effectLst>
          <a:extLst>
            <a:ext uri="{909E8E84-426E-40DD-AFC4-6F175D3DCCD1}">
              <a14:hiddenFill xmlns:a14="http://schemas.microsoft.com/office/drawing/2010/main">
                <a:solidFill>
                  <a:srgbClr val="FFFFFF"/>
                </a:solidFill>
              </a14:hiddenFill>
            </a:ext>
          </a:extLst>
        </p:spPr>
      </p:pic>
      <p:sp>
        <p:nvSpPr>
          <p:cNvPr id="109" name="TextBox 108">
            <a:extLst>
              <a:ext uri="{FF2B5EF4-FFF2-40B4-BE49-F238E27FC236}">
                <a16:creationId xmlns:a16="http://schemas.microsoft.com/office/drawing/2014/main" id="{8C56A5AE-2D09-4039-AFCD-172BC0B72471}"/>
              </a:ext>
            </a:extLst>
          </p:cNvPr>
          <p:cNvSpPr txBox="1"/>
          <p:nvPr/>
        </p:nvSpPr>
        <p:spPr>
          <a:xfrm>
            <a:off x="2793029" y="2850984"/>
            <a:ext cx="441207" cy="889016"/>
          </a:xfrm>
          <a:prstGeom prst="rect">
            <a:avLst/>
          </a:prstGeom>
        </p:spPr>
        <p:txBody>
          <a:bodyPr vert="horz" wrap="none" lIns="68580" tIns="34290" rIns="68580" bIns="34290" rtlCol="0" anchor="t">
            <a:norm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Black"/>
                <a:ea typeface="+mn-ea"/>
                <a:cs typeface="Arial Narrow"/>
              </a:rPr>
              <a:t>Rose Stephens-Booker</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Black"/>
                <a:ea typeface="+mn-ea"/>
                <a:cs typeface="Arial Narrow"/>
              </a:rPr>
              <a:t>West</a:t>
            </a: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Black"/>
              <a:ea typeface="+mn-ea"/>
              <a:cs typeface="Arial Narrow"/>
            </a:endParaRPr>
          </a:p>
        </p:txBody>
      </p:sp>
      <p:sp>
        <p:nvSpPr>
          <p:cNvPr id="111" name="TextBox 110">
            <a:extLst>
              <a:ext uri="{FF2B5EF4-FFF2-40B4-BE49-F238E27FC236}">
                <a16:creationId xmlns:a16="http://schemas.microsoft.com/office/drawing/2014/main" id="{C7933FB7-73F6-40B0-A182-F06BBF1CD378}"/>
              </a:ext>
            </a:extLst>
          </p:cNvPr>
          <p:cNvSpPr txBox="1"/>
          <p:nvPr/>
        </p:nvSpPr>
        <p:spPr>
          <a:xfrm>
            <a:off x="4538620" y="4532225"/>
            <a:ext cx="1113332" cy="411187"/>
          </a:xfrm>
          <a:prstGeom prst="rect">
            <a:avLst/>
          </a:prstGeom>
        </p:spPr>
        <p:txBody>
          <a:bodyPr vert="horz" wrap="none" lIns="68580" tIns="34290" rIns="68580" bIns="34290" rtlCol="0" anchor="t">
            <a:no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Black"/>
                <a:ea typeface="+mn-ea"/>
                <a:cs typeface="Arial Narrow"/>
              </a:rPr>
              <a:t>Christian Bato</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Black"/>
                <a:ea typeface="+mn-ea"/>
                <a:cs typeface="Arial Narrow"/>
              </a:rPr>
              <a:t>Southwest</a:t>
            </a:r>
          </a:p>
        </p:txBody>
      </p:sp>
      <p:sp>
        <p:nvSpPr>
          <p:cNvPr id="2" name="TextBox 1">
            <a:extLst>
              <a:ext uri="{FF2B5EF4-FFF2-40B4-BE49-F238E27FC236}">
                <a16:creationId xmlns:a16="http://schemas.microsoft.com/office/drawing/2014/main" id="{10ABFAAC-1AC4-4B13-8801-1F7F9E79963D}"/>
              </a:ext>
            </a:extLst>
          </p:cNvPr>
          <p:cNvSpPr txBox="1"/>
          <p:nvPr/>
        </p:nvSpPr>
        <p:spPr>
          <a:xfrm>
            <a:off x="8356229" y="4200913"/>
            <a:ext cx="847967" cy="359936"/>
          </a:xfrm>
          <a:prstGeom prst="rect">
            <a:avLst/>
          </a:prstGeom>
        </p:spPr>
        <p:txBody>
          <a:bodyPr vert="horz" wrap="none" lIns="68580" tIns="34290" rIns="68580" bIns="34290" rtlCol="0" anchor="t">
            <a:no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Narrow"/>
                <a:ea typeface="+mn-ea"/>
                <a:cs typeface="Arial Narrow"/>
              </a:rPr>
              <a:t>	</a:t>
            </a:r>
            <a:r>
              <a:rPr kumimoji="0" lang="en-US" sz="1100" b="1" i="0" u="none" strike="noStrike" kern="1200" cap="none" spc="0" normalizeH="0" baseline="0" noProof="0" err="1">
                <a:ln>
                  <a:noFill/>
                </a:ln>
                <a:solidFill>
                  <a:prstClr val="black"/>
                </a:solidFill>
                <a:effectLst/>
                <a:uLnTx/>
                <a:uFillTx/>
                <a:latin typeface="Arial Black"/>
                <a:ea typeface="+mn-ea"/>
                <a:cs typeface="Arial Narrow"/>
              </a:rPr>
              <a:t>Torend</a:t>
            </a:r>
            <a:r>
              <a:rPr kumimoji="0" lang="en-US" sz="1100" b="1" i="0" u="none" strike="noStrike" kern="1200" cap="none" spc="0" normalizeH="0" baseline="0" noProof="0">
                <a:ln>
                  <a:noFill/>
                </a:ln>
                <a:solidFill>
                  <a:prstClr val="black"/>
                </a:solidFill>
                <a:effectLst/>
                <a:uLnTx/>
                <a:uFillTx/>
                <a:latin typeface="Arial Black"/>
                <a:ea typeface="+mn-ea"/>
                <a:cs typeface="Arial Narrow"/>
              </a:rPr>
              <a:t> Collins</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Black"/>
                <a:ea typeface="+mn-ea"/>
                <a:cs typeface="Arial Narrow"/>
              </a:rPr>
              <a:t>	Appalachia</a:t>
            </a:r>
          </a:p>
        </p:txBody>
      </p:sp>
      <p:sp>
        <p:nvSpPr>
          <p:cNvPr id="106" name="TextBox 1">
            <a:extLst>
              <a:ext uri="{FF2B5EF4-FFF2-40B4-BE49-F238E27FC236}">
                <a16:creationId xmlns:a16="http://schemas.microsoft.com/office/drawing/2014/main" id="{02EA1175-434B-40AE-ADC8-0A5A64ACC044}"/>
              </a:ext>
            </a:extLst>
          </p:cNvPr>
          <p:cNvSpPr txBox="1"/>
          <p:nvPr/>
        </p:nvSpPr>
        <p:spPr>
          <a:xfrm>
            <a:off x="9731547" y="2385104"/>
            <a:ext cx="752500" cy="927526"/>
          </a:xfrm>
          <a:prstGeom prst="rect">
            <a:avLst/>
          </a:prstGeom>
        </p:spPr>
        <p:txBody>
          <a:bodyPr vert="horz" wrap="none" lIns="68580" tIns="34290" rIns="68580" bIns="3429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Arial Narrow"/>
              <a:ea typeface="+mn-ea"/>
              <a:cs typeface="Arial Narrow"/>
            </a:endParaRP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Black"/>
                <a:ea typeface="+mn-ea"/>
                <a:cs typeface="Arial Narrow"/>
              </a:rPr>
              <a:t>Spencer Thibodeau</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Black"/>
                <a:ea typeface="+mn-ea"/>
                <a:cs typeface="Arial Narrow"/>
              </a:rPr>
              <a:t>Northeas</a:t>
            </a:r>
            <a:r>
              <a:rPr kumimoji="0" lang="en-US" sz="1200" b="1" i="0" u="none" strike="noStrike" kern="1200" cap="none" spc="0" normalizeH="0" baseline="0" noProof="0">
                <a:ln>
                  <a:noFill/>
                </a:ln>
                <a:solidFill>
                  <a:prstClr val="black"/>
                </a:solidFill>
                <a:effectLst/>
                <a:uLnTx/>
                <a:uFillTx/>
                <a:latin typeface="Arial Black"/>
                <a:ea typeface="+mn-ea"/>
                <a:cs typeface="Arial Narrow"/>
              </a:rPr>
              <a:t>t</a:t>
            </a:r>
          </a:p>
        </p:txBody>
      </p:sp>
      <p:sp>
        <p:nvSpPr>
          <p:cNvPr id="10" name="TextBox 9">
            <a:extLst>
              <a:ext uri="{FF2B5EF4-FFF2-40B4-BE49-F238E27FC236}">
                <a16:creationId xmlns:a16="http://schemas.microsoft.com/office/drawing/2014/main" id="{D9B53DD4-4818-44FC-8CB6-E88508DB5B2E}"/>
              </a:ext>
            </a:extLst>
          </p:cNvPr>
          <p:cNvSpPr txBox="1"/>
          <p:nvPr/>
        </p:nvSpPr>
        <p:spPr>
          <a:xfrm>
            <a:off x="10197881" y="5584618"/>
            <a:ext cx="1975480" cy="672444"/>
          </a:xfrm>
          <a:prstGeom prst="rect">
            <a:avLst/>
          </a:prstGeom>
        </p:spPr>
        <p:txBody>
          <a:bodyPr vert="horz" wrap="none" lIns="68580" tIns="34290" rIns="68580" bIns="34290" rtlCol="0" anchor="t">
            <a:no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Black"/>
                <a:ea typeface="+mn-ea"/>
                <a:cs typeface="Arial Narrow"/>
              </a:rPr>
              <a:t>Aimee Witteman</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Black"/>
                <a:ea typeface="+mn-ea"/>
                <a:cs typeface="Arial Narrow"/>
              </a:rPr>
              <a:t>Deputy Asst Secretary for</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Black"/>
                <a:ea typeface="+mn-ea"/>
                <a:cs typeface="Arial Narrow"/>
              </a:rPr>
              <a:t>Intergovernmental Affairs</a:t>
            </a:r>
          </a:p>
        </p:txBody>
      </p:sp>
      <p:sp>
        <p:nvSpPr>
          <p:cNvPr id="12" name="TextBox 11">
            <a:extLst>
              <a:ext uri="{FF2B5EF4-FFF2-40B4-BE49-F238E27FC236}">
                <a16:creationId xmlns:a16="http://schemas.microsoft.com/office/drawing/2014/main" id="{521773CA-74C5-42AB-A677-2EB9B35229DE}"/>
              </a:ext>
            </a:extLst>
          </p:cNvPr>
          <p:cNvSpPr txBox="1"/>
          <p:nvPr/>
        </p:nvSpPr>
        <p:spPr>
          <a:xfrm>
            <a:off x="7453129" y="2914848"/>
            <a:ext cx="847967" cy="238631"/>
          </a:xfrm>
          <a:prstGeom prst="rect">
            <a:avLst/>
          </a:prstGeom>
        </p:spPr>
        <p:txBody>
          <a:bodyPr vert="horz" wrap="none" lIns="68580" tIns="34290" rIns="68580" bIns="34290" rtlCol="0" anchor="t">
            <a:no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Black"/>
                <a:ea typeface="+mn-ea"/>
                <a:cs typeface="Arial Narrow"/>
              </a:rPr>
              <a:t>Rose Dady</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Black"/>
                <a:ea typeface="+mn-ea"/>
                <a:cs typeface="Arial Narrow"/>
              </a:rPr>
              <a:t>Midwest</a:t>
            </a:r>
          </a:p>
        </p:txBody>
      </p:sp>
      <p:sp>
        <p:nvSpPr>
          <p:cNvPr id="98" name="TextBox 97">
            <a:extLst>
              <a:ext uri="{FF2B5EF4-FFF2-40B4-BE49-F238E27FC236}">
                <a16:creationId xmlns:a16="http://schemas.microsoft.com/office/drawing/2014/main" id="{A811DB0B-4D21-4B38-B45A-2CA3496531BB}"/>
              </a:ext>
            </a:extLst>
          </p:cNvPr>
          <p:cNvSpPr txBox="1"/>
          <p:nvPr/>
        </p:nvSpPr>
        <p:spPr>
          <a:xfrm>
            <a:off x="5182712" y="2533157"/>
            <a:ext cx="1897349" cy="351842"/>
          </a:xfrm>
          <a:prstGeom prst="rect">
            <a:avLst/>
          </a:prstGeom>
        </p:spPr>
        <p:txBody>
          <a:bodyPr vert="horz" wrap="none" lIns="68580" tIns="34290" rIns="68580" bIns="34290" rtlCol="0" anchor="t">
            <a:no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Black"/>
                <a:ea typeface="+mn-ea"/>
                <a:cs typeface="Arial Narrow"/>
              </a:rPr>
              <a:t>Inter-Mountain West</a:t>
            </a:r>
          </a:p>
        </p:txBody>
      </p:sp>
      <p:sp>
        <p:nvSpPr>
          <p:cNvPr id="114" name="TextBox 113">
            <a:extLst>
              <a:ext uri="{FF2B5EF4-FFF2-40B4-BE49-F238E27FC236}">
                <a16:creationId xmlns:a16="http://schemas.microsoft.com/office/drawing/2014/main" id="{5FCAC892-E5BB-45C3-9B27-EC8AAC84881D}"/>
              </a:ext>
            </a:extLst>
          </p:cNvPr>
          <p:cNvSpPr txBox="1"/>
          <p:nvPr/>
        </p:nvSpPr>
        <p:spPr>
          <a:xfrm>
            <a:off x="6620547" y="4977759"/>
            <a:ext cx="847967" cy="238631"/>
          </a:xfrm>
          <a:prstGeom prst="rect">
            <a:avLst/>
          </a:prstGeom>
        </p:spPr>
        <p:txBody>
          <a:bodyPr vert="horz" wrap="none" lIns="68580" tIns="34290" rIns="68580" bIns="34290" rtlCol="0" anchor="t">
            <a:no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Black"/>
                <a:ea typeface="+mn-ea"/>
                <a:cs typeface="Arial Narrow"/>
              </a:rPr>
              <a:t>Crystal Perkins</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Black"/>
                <a:ea typeface="+mn-ea"/>
                <a:cs typeface="Arial Narrow"/>
              </a:rPr>
              <a:t>South</a:t>
            </a:r>
          </a:p>
        </p:txBody>
      </p:sp>
      <p:sp>
        <p:nvSpPr>
          <p:cNvPr id="116" name="TextBox 115">
            <a:extLst>
              <a:ext uri="{FF2B5EF4-FFF2-40B4-BE49-F238E27FC236}">
                <a16:creationId xmlns:a16="http://schemas.microsoft.com/office/drawing/2014/main" id="{CC49E793-D99A-4D00-99F7-1765AD7FA336}"/>
              </a:ext>
            </a:extLst>
          </p:cNvPr>
          <p:cNvSpPr txBox="1"/>
          <p:nvPr/>
        </p:nvSpPr>
        <p:spPr>
          <a:xfrm>
            <a:off x="9034880" y="5075806"/>
            <a:ext cx="847967" cy="322613"/>
          </a:xfrm>
          <a:prstGeom prst="rect">
            <a:avLst/>
          </a:prstGeom>
        </p:spPr>
        <p:txBody>
          <a:bodyPr vert="horz" wrap="none" lIns="68580" tIns="34290" rIns="68580" bIns="34290" rtlCol="0" anchor="t">
            <a:no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Black"/>
                <a:ea typeface="+mn-ea"/>
                <a:cs typeface="Arial Narrow"/>
              </a:rPr>
              <a:t>Southeast</a:t>
            </a:r>
          </a:p>
        </p:txBody>
      </p:sp>
      <p:sp>
        <p:nvSpPr>
          <p:cNvPr id="118" name="TextBox 117">
            <a:extLst>
              <a:ext uri="{FF2B5EF4-FFF2-40B4-BE49-F238E27FC236}">
                <a16:creationId xmlns:a16="http://schemas.microsoft.com/office/drawing/2014/main" id="{DB157D5D-1C2C-4E63-AD45-20BA4812B33B}"/>
              </a:ext>
            </a:extLst>
          </p:cNvPr>
          <p:cNvSpPr txBox="1"/>
          <p:nvPr/>
        </p:nvSpPr>
        <p:spPr>
          <a:xfrm>
            <a:off x="10233004" y="3756673"/>
            <a:ext cx="769385" cy="86216"/>
          </a:xfrm>
          <a:prstGeom prst="rect">
            <a:avLst/>
          </a:prstGeom>
        </p:spPr>
        <p:txBody>
          <a:bodyPr vert="horz" wrap="none" lIns="68580" tIns="34290" rIns="68580" bIns="34290" rtlCol="0">
            <a:no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Black"/>
                <a:ea typeface="+mn-ea"/>
                <a:cs typeface="Arial Narrow"/>
              </a:rPr>
              <a:t>Mid-Atlantic</a:t>
            </a:r>
          </a:p>
        </p:txBody>
      </p:sp>
      <p:sp>
        <p:nvSpPr>
          <p:cNvPr id="108" name="Title 1">
            <a:extLst>
              <a:ext uri="{FF2B5EF4-FFF2-40B4-BE49-F238E27FC236}">
                <a16:creationId xmlns:a16="http://schemas.microsoft.com/office/drawing/2014/main" id="{BB1A1CED-577F-40F4-A8BF-7B283E727DCE}"/>
              </a:ext>
            </a:extLst>
          </p:cNvPr>
          <p:cNvSpPr txBox="1">
            <a:spLocks/>
          </p:cNvSpPr>
          <p:nvPr/>
        </p:nvSpPr>
        <p:spPr>
          <a:xfrm>
            <a:off x="487231" y="207582"/>
            <a:ext cx="10389156" cy="1224251"/>
          </a:xfrm>
          <a:prstGeom prst="rect">
            <a:avLst/>
          </a:prstGeom>
          <a:solidFill>
            <a:schemeClr val="bg1"/>
          </a:solidFill>
          <a:effectLst>
            <a:outerShdw blurRad="50800" dist="38100" dir="5400000" algn="t" rotWithShape="0">
              <a:prstClr val="black">
                <a:alpha val="40000"/>
              </a:prstClr>
            </a:outerShdw>
          </a:effectLst>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Regional Specialists: Directing BIL Traffic</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DL-RegionalSpecialists@hq.doe.gov</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000" b="1" i="0" u="none" strike="noStrike" kern="1200" cap="none" spc="0" normalizeH="0" baseline="0" noProof="0" dirty="0">
              <a:ln>
                <a:noFill/>
              </a:ln>
              <a:solidFill>
                <a:prstClr val="black"/>
              </a:solidFill>
              <a:effectLst/>
              <a:uLnTx/>
              <a:uFillTx/>
              <a:latin typeface="Arial Black" panose="020B0A04020102020204" pitchFamily="34" charset="0"/>
              <a:ea typeface="+mj-ea"/>
              <a:cs typeface="+mj-cs"/>
            </a:endParaRPr>
          </a:p>
        </p:txBody>
      </p:sp>
      <p:pic>
        <p:nvPicPr>
          <p:cNvPr id="112" name="Picture 111" descr="A person wearing glasses&#10;&#10;Description automatically generated with low confidence">
            <a:extLst>
              <a:ext uri="{FF2B5EF4-FFF2-40B4-BE49-F238E27FC236}">
                <a16:creationId xmlns:a16="http://schemas.microsoft.com/office/drawing/2014/main" id="{5D419175-6215-450C-93B8-570E4899AD2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30534" y="1610658"/>
            <a:ext cx="874021" cy="1187121"/>
          </a:xfrm>
          <a:prstGeom prst="rect">
            <a:avLst/>
          </a:prstGeom>
          <a:ln w="28575" cap="sq">
            <a:solidFill>
              <a:srgbClr val="000000"/>
            </a:solidFill>
            <a:miter lim="800000"/>
          </a:ln>
          <a:effectLst>
            <a:outerShdw blurRad="57150" dist="50800" dir="2700000" algn="tl" rotWithShape="0">
              <a:srgbClr val="000000">
                <a:alpha val="40000"/>
              </a:srgbClr>
            </a:outerShdw>
          </a:effectLst>
        </p:spPr>
      </p:pic>
      <p:pic>
        <p:nvPicPr>
          <p:cNvPr id="1028" name="Picture 4" descr="See the source image">
            <a:extLst>
              <a:ext uri="{FF2B5EF4-FFF2-40B4-BE49-F238E27FC236}">
                <a16:creationId xmlns:a16="http://schemas.microsoft.com/office/drawing/2014/main" id="{06A4552D-87A6-4737-8DC8-A2092B4FC79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78249" y="3856068"/>
            <a:ext cx="1073817" cy="1085190"/>
          </a:xfrm>
          <a:prstGeom prst="rect">
            <a:avLst/>
          </a:prstGeom>
          <a:ln w="28575" cap="sq">
            <a:solidFill>
              <a:srgbClr val="000000"/>
            </a:solidFill>
            <a:miter lim="800000"/>
          </a:ln>
          <a:effectLst>
            <a:outerShdw blurRad="57150" dist="50800" dir="2700000" algn="tl" rotWithShape="0">
              <a:srgbClr val="000000">
                <a:alpha val="40000"/>
              </a:srgbClr>
            </a:outerShdw>
          </a:effectLst>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2C05FB47-F1FE-4A0D-8B59-F6AFB7198FA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97021" y="1697536"/>
            <a:ext cx="768696" cy="1157635"/>
          </a:xfrm>
          <a:prstGeom prst="rect">
            <a:avLst/>
          </a:prstGeom>
          <a:ln w="28575" cap="sq">
            <a:solidFill>
              <a:srgbClr val="000000"/>
            </a:solidFill>
            <a:miter lim="800000"/>
          </a:ln>
          <a:effectLst>
            <a:outerShdw blurRad="57150" dist="50800" dir="2700000" algn="tl" rotWithShape="0">
              <a:srgbClr val="000000">
                <a:alpha val="40000"/>
              </a:srgbClr>
            </a:outerShdw>
          </a:effectLst>
          <a:extLst>
            <a:ext uri="{909E8E84-426E-40DD-AFC4-6F175D3DCCD1}">
              <a14:hiddenFill xmlns:a14="http://schemas.microsoft.com/office/drawing/2010/main">
                <a:solidFill>
                  <a:srgbClr val="FFFFFF"/>
                </a:solidFill>
              </a14:hiddenFill>
            </a:ext>
          </a:extLst>
        </p:spPr>
      </p:pic>
      <p:pic>
        <p:nvPicPr>
          <p:cNvPr id="5" name="Picture 6">
            <a:extLst>
              <a:ext uri="{FF2B5EF4-FFF2-40B4-BE49-F238E27FC236}">
                <a16:creationId xmlns:a16="http://schemas.microsoft.com/office/drawing/2014/main" id="{3CB6C319-3A38-43FE-90BC-618CF30EC0E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844395" y="1522503"/>
            <a:ext cx="778875" cy="1013189"/>
          </a:xfrm>
          <a:prstGeom prst="rect">
            <a:avLst/>
          </a:prstGeom>
          <a:solidFill>
            <a:srgbClr val="000000">
              <a:shade val="95000"/>
            </a:srgbClr>
          </a:solidFill>
          <a:ln w="28575" cap="sq">
            <a:solidFill>
              <a:schemeClr val="tx1"/>
            </a:solidFill>
            <a:miter lim="800000"/>
          </a:ln>
          <a:effectLst>
            <a:outerShdw blurRad="254000" dist="190500" dir="2700000" sy="90000" algn="bl" rotWithShape="0">
              <a:srgbClr val="000000">
                <a:alpha val="40000"/>
              </a:srgbClr>
            </a:outerShdw>
          </a:effectLst>
        </p:spPr>
      </p:pic>
      <p:pic>
        <p:nvPicPr>
          <p:cNvPr id="8" name="Picture 10">
            <a:extLst>
              <a:ext uri="{FF2B5EF4-FFF2-40B4-BE49-F238E27FC236}">
                <a16:creationId xmlns:a16="http://schemas.microsoft.com/office/drawing/2014/main" id="{9BB504A2-1290-47B6-82D9-5E73D91EE1E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075910" y="2204119"/>
            <a:ext cx="1708418" cy="466724"/>
          </a:xfrm>
          <a:prstGeom prst="rect">
            <a:avLst/>
          </a:prstGeom>
        </p:spPr>
      </p:pic>
      <p:pic>
        <p:nvPicPr>
          <p:cNvPr id="11" name="Picture 98">
            <a:extLst>
              <a:ext uri="{FF2B5EF4-FFF2-40B4-BE49-F238E27FC236}">
                <a16:creationId xmlns:a16="http://schemas.microsoft.com/office/drawing/2014/main" id="{97DBF962-CDED-41F8-A065-8DFD0EAC204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914151" y="3388432"/>
            <a:ext cx="1800225" cy="466725"/>
          </a:xfrm>
          <a:prstGeom prst="rect">
            <a:avLst/>
          </a:prstGeom>
        </p:spPr>
      </p:pic>
      <p:pic>
        <p:nvPicPr>
          <p:cNvPr id="99" name="Picture 99">
            <a:extLst>
              <a:ext uri="{FF2B5EF4-FFF2-40B4-BE49-F238E27FC236}">
                <a16:creationId xmlns:a16="http://schemas.microsoft.com/office/drawing/2014/main" id="{6723C610-B53E-4C7C-9564-F2137854AF5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753815" y="5775420"/>
            <a:ext cx="1690057" cy="439183"/>
          </a:xfrm>
          <a:prstGeom prst="rect">
            <a:avLst/>
          </a:prstGeom>
        </p:spPr>
      </p:pic>
      <p:sp>
        <p:nvSpPr>
          <p:cNvPr id="113" name="TextBox 112">
            <a:extLst>
              <a:ext uri="{FF2B5EF4-FFF2-40B4-BE49-F238E27FC236}">
                <a16:creationId xmlns:a16="http://schemas.microsoft.com/office/drawing/2014/main" id="{7BCBBBE5-C9DE-4128-BA99-A8F9D5D81633}"/>
              </a:ext>
            </a:extLst>
          </p:cNvPr>
          <p:cNvSpPr txBox="1"/>
          <p:nvPr/>
        </p:nvSpPr>
        <p:spPr>
          <a:xfrm>
            <a:off x="2718739" y="6116168"/>
            <a:ext cx="847967" cy="238631"/>
          </a:xfrm>
          <a:prstGeom prst="rect">
            <a:avLst/>
          </a:prstGeom>
        </p:spPr>
        <p:txBody>
          <a:bodyPr vert="horz" wrap="none" lIns="68580" tIns="34290" rIns="68580" bIns="34290" rtlCol="0" anchor="t">
            <a:no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Black"/>
                <a:ea typeface="+mn-ea"/>
                <a:cs typeface="+mn-cs"/>
              </a:rPr>
              <a:t>Non-contiguous States</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16308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64"/>
        <p:cNvGrpSpPr/>
        <p:nvPr/>
      </p:nvGrpSpPr>
      <p:grpSpPr>
        <a:xfrm>
          <a:off x="0" y="0"/>
          <a:ext cx="0" cy="0"/>
          <a:chOff x="0" y="0"/>
          <a:chExt cx="0" cy="0"/>
        </a:xfrm>
      </p:grpSpPr>
      <p:sp>
        <p:nvSpPr>
          <p:cNvPr id="2" name="Title 1"/>
          <p:cNvSpPr>
            <a:spLocks noGrp="1"/>
          </p:cNvSpPr>
          <p:nvPr>
            <p:ph type="title"/>
          </p:nvPr>
        </p:nvSpPr>
        <p:spPr/>
        <p:txBody>
          <a:bodyPr/>
          <a:lstStyle/>
          <a:p>
            <a:r>
              <a:rPr lang="en-US" dirty="0"/>
              <a:t>Arctic Energy Office (AEO)</a:t>
            </a:r>
          </a:p>
        </p:txBody>
      </p:sp>
      <p:sp>
        <p:nvSpPr>
          <p:cNvPr id="267" name="Google Shape;267;g9b3e272eed_0_102"/>
          <p:cNvSpPr txBox="1">
            <a:spLocks noGrp="1"/>
          </p:cNvSpPr>
          <p:nvPr>
            <p:ph idx="4294967295"/>
          </p:nvPr>
        </p:nvSpPr>
        <p:spPr>
          <a:xfrm>
            <a:off x="0" y="1281302"/>
            <a:ext cx="10515600" cy="2293049"/>
          </a:xfrm>
          <a:prstGeom prst="rect">
            <a:avLst/>
          </a:prstGeom>
          <a:noFill/>
          <a:ln>
            <a:noFill/>
          </a:ln>
        </p:spPr>
        <p:txBody>
          <a:bodyPr spcFirstLastPara="1" vert="horz" wrap="square" lIns="121900" tIns="60933" rIns="121900" bIns="60933" rtlCol="0" anchor="t" anchorCtr="0">
            <a:noAutofit/>
          </a:bodyPr>
          <a:lstStyle/>
          <a:p>
            <a:pPr marL="321725" indent="-321725">
              <a:lnSpc>
                <a:spcPct val="100000"/>
              </a:lnSpc>
              <a:spcBef>
                <a:spcPts val="0"/>
              </a:spcBef>
              <a:spcAft>
                <a:spcPts val="1600"/>
              </a:spcAft>
              <a:buSzPts val="2000"/>
            </a:pPr>
            <a:r>
              <a:rPr lang="en-US" sz="2400" dirty="0">
                <a:solidFill>
                  <a:srgbClr val="2E709D"/>
                </a:solidFill>
              </a:rPr>
              <a:t>Leads cross-cutting coordination in Arctic to address energy, science, and national security challenges of 21st century for United States &amp; allies </a:t>
            </a:r>
            <a:endParaRPr sz="2400" dirty="0">
              <a:solidFill>
                <a:srgbClr val="2E709D"/>
              </a:solidFill>
            </a:endParaRPr>
          </a:p>
          <a:p>
            <a:pPr marL="321725" indent="-321725">
              <a:lnSpc>
                <a:spcPct val="100000"/>
              </a:lnSpc>
              <a:spcBef>
                <a:spcPts val="0"/>
              </a:spcBef>
              <a:spcAft>
                <a:spcPts val="1600"/>
              </a:spcAft>
              <a:buSzPts val="2000"/>
            </a:pPr>
            <a:r>
              <a:rPr lang="en-US" sz="2400" dirty="0">
                <a:solidFill>
                  <a:srgbClr val="2E709D"/>
                </a:solidFill>
              </a:rPr>
              <a:t>Nexus for DOE activities &amp; represents DOE in Arctic engagements </a:t>
            </a:r>
          </a:p>
          <a:p>
            <a:pPr marL="321725" indent="-321725">
              <a:lnSpc>
                <a:spcPct val="100000"/>
              </a:lnSpc>
              <a:spcBef>
                <a:spcPts val="0"/>
              </a:spcBef>
              <a:spcAft>
                <a:spcPts val="1600"/>
              </a:spcAft>
              <a:buSzPts val="2000"/>
            </a:pPr>
            <a:r>
              <a:rPr lang="en-US" sz="2400" dirty="0">
                <a:solidFill>
                  <a:srgbClr val="2E709D"/>
                </a:solidFill>
              </a:rPr>
              <a:t>Coordinates / Consults / Communicates / Recommends / Advocates</a:t>
            </a:r>
            <a:endParaRPr sz="2400" dirty="0">
              <a:solidFill>
                <a:srgbClr val="2E709D"/>
              </a:solidFill>
            </a:endParaRPr>
          </a:p>
        </p:txBody>
      </p:sp>
      <p:sp>
        <p:nvSpPr>
          <p:cNvPr id="266" name="Google Shape;266;g9b3e272eed_0_102"/>
          <p:cNvSpPr txBox="1"/>
          <p:nvPr/>
        </p:nvSpPr>
        <p:spPr>
          <a:xfrm>
            <a:off x="4070136" y="6172200"/>
            <a:ext cx="8121864" cy="812800"/>
          </a:xfrm>
          <a:prstGeom prst="rect">
            <a:avLst/>
          </a:prstGeom>
          <a:noFill/>
          <a:ln>
            <a:noFill/>
          </a:ln>
        </p:spPr>
        <p:txBody>
          <a:bodyPr spcFirstLastPara="1" wrap="square" lIns="121900" tIns="60933" rIns="121900" bIns="60933" anchor="t" anchorCtr="0">
            <a:noAutofit/>
          </a:bodyPr>
          <a:lstStyle/>
          <a:p>
            <a:pPr>
              <a:buClr>
                <a:srgbClr val="000000"/>
              </a:buClr>
              <a:buSzPts val="1400"/>
            </a:pPr>
            <a:r>
              <a:rPr lang="en-US" sz="1867" b="1" dirty="0">
                <a:solidFill>
                  <a:srgbClr val="2E709D"/>
                </a:solidFill>
                <a:latin typeface="Arial"/>
                <a:ea typeface="Arial"/>
                <a:cs typeface="Arial"/>
                <a:sym typeface="Arial"/>
              </a:rPr>
              <a:t>Email:</a:t>
            </a:r>
            <a:r>
              <a:rPr lang="en-US" sz="1867" dirty="0">
                <a:solidFill>
                  <a:srgbClr val="2E709D"/>
                </a:solidFill>
                <a:latin typeface="Arial"/>
                <a:ea typeface="Arial"/>
                <a:cs typeface="Arial"/>
                <a:sym typeface="Arial"/>
              </a:rPr>
              <a:t> </a:t>
            </a:r>
            <a:r>
              <a:rPr lang="en-US" sz="1867" u="sng" dirty="0">
                <a:solidFill>
                  <a:srgbClr val="2E709D"/>
                </a:solidFill>
                <a:latin typeface="Arial"/>
                <a:ea typeface="Arial"/>
                <a:cs typeface="Arial"/>
                <a:sym typeface="Arial"/>
                <a:hlinkClick r:id="rId3"/>
              </a:rPr>
              <a:t>arcticenergy@hq.doe.gov</a:t>
            </a:r>
            <a:r>
              <a:rPr lang="en-US" sz="1867" dirty="0">
                <a:solidFill>
                  <a:srgbClr val="2E709D"/>
                </a:solidFill>
                <a:latin typeface="Arial"/>
                <a:ea typeface="Arial"/>
                <a:cs typeface="Arial"/>
                <a:sym typeface="Arial"/>
              </a:rPr>
              <a:t>  </a:t>
            </a:r>
            <a:r>
              <a:rPr lang="en-US" sz="1867" b="1" dirty="0">
                <a:solidFill>
                  <a:srgbClr val="4F81BD"/>
                </a:solidFill>
                <a:latin typeface="Arial"/>
                <a:ea typeface="Arial"/>
                <a:cs typeface="Arial"/>
                <a:sym typeface="Arial"/>
              </a:rPr>
              <a:t>Website:</a:t>
            </a:r>
            <a:r>
              <a:rPr lang="en-US" sz="1867" dirty="0">
                <a:solidFill>
                  <a:srgbClr val="2E709D"/>
                </a:solidFill>
                <a:latin typeface="Arial"/>
                <a:ea typeface="Arial"/>
                <a:cs typeface="Arial"/>
                <a:sym typeface="Arial"/>
              </a:rPr>
              <a:t> </a:t>
            </a:r>
            <a:r>
              <a:rPr lang="en-US" sz="1867" u="sng" dirty="0">
                <a:solidFill>
                  <a:srgbClr val="2E709D"/>
                </a:solidFill>
                <a:latin typeface="Arial"/>
                <a:ea typeface="Arial"/>
                <a:cs typeface="Arial"/>
                <a:sym typeface="Arial"/>
                <a:hlinkClick r:id="rId4"/>
              </a:rPr>
              <a:t>https://www.energy.gov/arctic/</a:t>
            </a:r>
            <a:endParaRPr lang="en-US" sz="1867" u="sng" dirty="0">
              <a:solidFill>
                <a:srgbClr val="2E709D"/>
              </a:solidFill>
              <a:latin typeface="Arial"/>
              <a:ea typeface="Arial"/>
              <a:cs typeface="Arial"/>
              <a:sym typeface="Arial"/>
            </a:endParaRPr>
          </a:p>
          <a:p>
            <a:pPr>
              <a:buClr>
                <a:srgbClr val="000000"/>
              </a:buClr>
              <a:buSzPts val="1400"/>
            </a:pPr>
            <a:r>
              <a:rPr lang="en-US" sz="1867" b="1" dirty="0">
                <a:solidFill>
                  <a:srgbClr val="2E709D"/>
                </a:solidFill>
                <a:latin typeface="Arial"/>
                <a:ea typeface="Arial"/>
                <a:cs typeface="Arial"/>
                <a:sym typeface="Arial"/>
              </a:rPr>
              <a:t>Twitter</a:t>
            </a:r>
            <a:r>
              <a:rPr lang="en-US" sz="1867" dirty="0">
                <a:solidFill>
                  <a:srgbClr val="2E709D"/>
                </a:solidFill>
                <a:latin typeface="Arial"/>
                <a:ea typeface="Arial"/>
                <a:cs typeface="Arial"/>
                <a:sym typeface="Arial"/>
              </a:rPr>
              <a:t>:  @ArcticEnergyDOE</a:t>
            </a:r>
            <a:endParaRPr sz="1867" dirty="0">
              <a:solidFill>
                <a:srgbClr val="2E709D"/>
              </a:solidFill>
              <a:latin typeface="Arial"/>
              <a:ea typeface="Arial"/>
              <a:cs typeface="Arial"/>
              <a:sym typeface="Arial"/>
            </a:endParaRPr>
          </a:p>
        </p:txBody>
      </p:sp>
      <p:pic>
        <p:nvPicPr>
          <p:cNvPr id="268" name="Google Shape;268;g9b3e272eed_0_102"/>
          <p:cNvPicPr preferRelativeResize="0">
            <a:picLocks noChangeAspect="1"/>
          </p:cNvPicPr>
          <p:nvPr/>
        </p:nvPicPr>
        <p:blipFill rotWithShape="1">
          <a:blip r:embed="rId5">
            <a:alphaModFix/>
            <a:extLst>
              <a:ext uri="{28A0092B-C50C-407E-A947-70E740481C1C}">
                <a14:useLocalDpi xmlns:a14="http://schemas.microsoft.com/office/drawing/2010/main" val="0"/>
              </a:ext>
            </a:extLst>
          </a:blip>
          <a:srcRect/>
          <a:stretch/>
        </p:blipFill>
        <p:spPr>
          <a:xfrm>
            <a:off x="202672" y="3528972"/>
            <a:ext cx="8819408" cy="2293049"/>
          </a:xfrm>
          <a:prstGeom prst="rect">
            <a:avLst/>
          </a:prstGeom>
          <a:noFill/>
          <a:ln>
            <a:noFill/>
          </a:ln>
        </p:spPr>
      </p:pic>
      <p:pic>
        <p:nvPicPr>
          <p:cNvPr id="269" name="Google Shape;269;g9b3e272eed_0_102"/>
          <p:cNvPicPr preferRelativeResize="0"/>
          <p:nvPr/>
        </p:nvPicPr>
        <p:blipFill rotWithShape="1">
          <a:blip r:embed="rId6">
            <a:alphaModFix/>
            <a:extLst>
              <a:ext uri="{28A0092B-C50C-407E-A947-70E740481C1C}">
                <a14:useLocalDpi xmlns:a14="http://schemas.microsoft.com/office/drawing/2010/main" val="0"/>
              </a:ext>
            </a:extLst>
          </a:blip>
          <a:srcRect/>
          <a:stretch/>
        </p:blipFill>
        <p:spPr>
          <a:xfrm>
            <a:off x="9962667" y="1397001"/>
            <a:ext cx="2229333" cy="2127735"/>
          </a:xfrm>
          <a:prstGeom prst="rect">
            <a:avLst/>
          </a:prstGeom>
          <a:noFill/>
          <a:ln>
            <a:noFill/>
          </a:ln>
        </p:spPr>
      </p:pic>
      <p:sp>
        <p:nvSpPr>
          <p:cNvPr id="4" name="Slide Number Placeholder 3">
            <a:extLst>
              <a:ext uri="{FF2B5EF4-FFF2-40B4-BE49-F238E27FC236}">
                <a16:creationId xmlns:a16="http://schemas.microsoft.com/office/drawing/2014/main" id="{1BE6DE89-957A-9B49-9B97-A0298F50EF18}"/>
              </a:ext>
            </a:extLst>
          </p:cNvPr>
          <p:cNvSpPr>
            <a:spLocks noGrp="1"/>
          </p:cNvSpPr>
          <p:nvPr>
            <p:ph type="sldNum" sz="quarter" idx="12"/>
          </p:nvPr>
        </p:nvSpPr>
        <p:spPr/>
        <p:txBody>
          <a:bodyPr/>
          <a:lstStyle/>
          <a:p>
            <a:fld id="{D5EA5792-F77B-D149-A94B-BE93FD6D287C}" type="slidenum">
              <a:rPr lang="en-US" smtClean="0"/>
              <a:pPr/>
              <a:t>18</a:t>
            </a:fld>
            <a:endParaRPr lang="en-US" dirty="0"/>
          </a:p>
        </p:txBody>
      </p:sp>
      <p:sp>
        <p:nvSpPr>
          <p:cNvPr id="3" name="Arrow: Right 2">
            <a:extLst>
              <a:ext uri="{FF2B5EF4-FFF2-40B4-BE49-F238E27FC236}">
                <a16:creationId xmlns:a16="http://schemas.microsoft.com/office/drawing/2014/main" id="{1A8C4C6E-15B0-4BB3-A504-C3948610BC17}"/>
              </a:ext>
            </a:extLst>
          </p:cNvPr>
          <p:cNvSpPr/>
          <p:nvPr/>
        </p:nvSpPr>
        <p:spPr>
          <a:xfrm rot="20362092">
            <a:off x="2292326" y="4817232"/>
            <a:ext cx="1327217" cy="796501"/>
          </a:xfrm>
          <a:prstGeom prst="rightArrow">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t>AEO!</a:t>
            </a:r>
          </a:p>
        </p:txBody>
      </p:sp>
      <p:sp>
        <p:nvSpPr>
          <p:cNvPr id="5" name="TextBox 4">
            <a:extLst>
              <a:ext uri="{FF2B5EF4-FFF2-40B4-BE49-F238E27FC236}">
                <a16:creationId xmlns:a16="http://schemas.microsoft.com/office/drawing/2014/main" id="{CE676863-7351-4FF8-B888-4B5713512711}"/>
              </a:ext>
            </a:extLst>
          </p:cNvPr>
          <p:cNvSpPr txBox="1"/>
          <p:nvPr/>
        </p:nvSpPr>
        <p:spPr>
          <a:xfrm>
            <a:off x="9052560" y="3484880"/>
            <a:ext cx="3129280" cy="2390911"/>
          </a:xfrm>
          <a:prstGeom prst="rect">
            <a:avLst/>
          </a:prstGeom>
          <a:noFill/>
        </p:spPr>
        <p:txBody>
          <a:bodyPr wrap="square" rtlCol="0">
            <a:spAutoFit/>
          </a:bodyPr>
          <a:lstStyle/>
          <a:p>
            <a:r>
              <a:rPr lang="en-US" sz="1867" i="1" dirty="0"/>
              <a:t>“The mission of the Energy Department is to ensure America’s security and prosperity by addressing its energy, environmental and nuclear challenges through transformative science and technology solutions.”</a:t>
            </a:r>
          </a:p>
        </p:txBody>
      </p:sp>
    </p:spTree>
    <p:extLst>
      <p:ext uri="{BB962C8B-B14F-4D97-AF65-F5344CB8AC3E}">
        <p14:creationId xmlns:p14="http://schemas.microsoft.com/office/powerpoint/2010/main" val="41170932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graphical user interface&#10;&#10;Description automatically generated">
            <a:extLst>
              <a:ext uri="{FF2B5EF4-FFF2-40B4-BE49-F238E27FC236}">
                <a16:creationId xmlns:a16="http://schemas.microsoft.com/office/drawing/2014/main" id="{E0CA2445-1428-4408-A33B-FEC6E84A21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2173" y="-94216"/>
            <a:ext cx="12187066" cy="6858000"/>
          </a:xfrm>
          <a:prstGeom prst="rect">
            <a:avLst/>
          </a:prstGeom>
        </p:spPr>
      </p:pic>
      <p:sp>
        <p:nvSpPr>
          <p:cNvPr id="7" name="TextBox 6">
            <a:extLst>
              <a:ext uri="{FF2B5EF4-FFF2-40B4-BE49-F238E27FC236}">
                <a16:creationId xmlns:a16="http://schemas.microsoft.com/office/drawing/2014/main" id="{FC21DD4B-A3F1-4DC8-8ED7-0C5B39F47B0C}"/>
              </a:ext>
            </a:extLst>
          </p:cNvPr>
          <p:cNvSpPr txBox="1"/>
          <p:nvPr/>
        </p:nvSpPr>
        <p:spPr>
          <a:xfrm>
            <a:off x="-336948" y="3917095"/>
            <a:ext cx="6325321" cy="2154436"/>
          </a:xfrm>
          <a:prstGeom prst="rect">
            <a:avLst/>
          </a:prstGeom>
          <a:noFill/>
        </p:spPr>
        <p:txBody>
          <a:bodyPr wrap="none" lIns="0" tIns="0" rIns="0" bIns="0" rtlCol="0">
            <a:spAutoFit/>
          </a:bodyPr>
          <a:lstStyle/>
          <a:p>
            <a:pPr algn="ctr"/>
            <a:r>
              <a:rPr lang="en-US" sz="4000" dirty="0">
                <a:solidFill>
                  <a:schemeClr val="bg1"/>
                </a:solidFill>
              </a:rPr>
              <a:t>Information &amp; Registration</a:t>
            </a:r>
          </a:p>
          <a:p>
            <a:pPr algn="ctr"/>
            <a:r>
              <a:rPr lang="en-US" sz="4000" dirty="0">
                <a:solidFill>
                  <a:schemeClr val="bg1"/>
                </a:solidFill>
              </a:rPr>
              <a:t>energy.gov/arcticx</a:t>
            </a:r>
          </a:p>
          <a:p>
            <a:pPr algn="ctr"/>
            <a:endParaRPr lang="en-US" sz="2000" dirty="0">
              <a:solidFill>
                <a:schemeClr val="bg1"/>
              </a:solidFill>
            </a:endParaRPr>
          </a:p>
          <a:p>
            <a:pPr algn="ctr"/>
            <a:r>
              <a:rPr lang="en-US" sz="4000" dirty="0">
                <a:solidFill>
                  <a:schemeClr val="bg1"/>
                </a:solidFill>
              </a:rPr>
              <a:t>23 May 2022 -Dena’ina Center</a:t>
            </a:r>
          </a:p>
        </p:txBody>
      </p:sp>
    </p:spTree>
    <p:extLst>
      <p:ext uri="{BB962C8B-B14F-4D97-AF65-F5344CB8AC3E}">
        <p14:creationId xmlns:p14="http://schemas.microsoft.com/office/powerpoint/2010/main" val="19772529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4F2B11-A824-4963-BE1F-04E73E4FB0D5}"/>
              </a:ext>
            </a:extLst>
          </p:cNvPr>
          <p:cNvSpPr>
            <a:spLocks noGrp="1"/>
          </p:cNvSpPr>
          <p:nvPr>
            <p:ph type="title"/>
          </p:nvPr>
        </p:nvSpPr>
        <p:spPr>
          <a:xfrm>
            <a:off x="852984" y="238425"/>
            <a:ext cx="10500815" cy="1325563"/>
          </a:xfrm>
        </p:spPr>
        <p:txBody>
          <a:bodyPr>
            <a:normAutofit/>
          </a:bodyPr>
          <a:lstStyle/>
          <a:p>
            <a:r>
              <a:rPr lang="en-US" sz="3600">
                <a:solidFill>
                  <a:schemeClr val="tx1"/>
                </a:solidFill>
              </a:rPr>
              <a:t>Bipartisan Infrastructure Law – DOE Programs </a:t>
            </a:r>
          </a:p>
        </p:txBody>
      </p:sp>
      <p:sp>
        <p:nvSpPr>
          <p:cNvPr id="3" name="Content Placeholder 2">
            <a:extLst>
              <a:ext uri="{FF2B5EF4-FFF2-40B4-BE49-F238E27FC236}">
                <a16:creationId xmlns:a16="http://schemas.microsoft.com/office/drawing/2014/main" id="{2C786588-8ADD-4138-AA65-62BA97E44539}"/>
              </a:ext>
            </a:extLst>
          </p:cNvPr>
          <p:cNvSpPr>
            <a:spLocks noGrp="1"/>
          </p:cNvSpPr>
          <p:nvPr>
            <p:ph idx="1"/>
          </p:nvPr>
        </p:nvSpPr>
        <p:spPr>
          <a:xfrm>
            <a:off x="375384" y="1202076"/>
            <a:ext cx="10631906" cy="4469929"/>
          </a:xfrm>
        </p:spPr>
        <p:txBody>
          <a:bodyPr vert="horz" lIns="91440" tIns="45720" rIns="91440" bIns="45720" rtlCol="0" anchor="t">
            <a:normAutofit/>
          </a:bodyPr>
          <a:lstStyle/>
          <a:p>
            <a:pPr>
              <a:buNone/>
            </a:pPr>
            <a:r>
              <a:rPr lang="en-US" sz="1600" b="1">
                <a:latin typeface="Franklin Gothic Book"/>
                <a:cs typeface="Arial"/>
              </a:rPr>
              <a:t> </a:t>
            </a:r>
            <a:endParaRPr lang="en-US" sz="2400" b="1">
              <a:latin typeface="Franklin Gothic Book"/>
              <a:cs typeface="Arial"/>
            </a:endParaRPr>
          </a:p>
          <a:p>
            <a:pPr>
              <a:buNone/>
            </a:pPr>
            <a:endParaRPr lang="en-US" sz="2400"/>
          </a:p>
          <a:p>
            <a:pPr marL="0" indent="0">
              <a:spcAft>
                <a:spcPts val="600"/>
              </a:spcAft>
              <a:buNone/>
            </a:pPr>
            <a:endParaRPr lang="en-US" sz="2400">
              <a:solidFill>
                <a:schemeClr val="tx1">
                  <a:lumMod val="75000"/>
                  <a:lumOff val="25000"/>
                </a:schemeClr>
              </a:solidFill>
              <a:latin typeface="Cormorant" panose="00000500000000000000" pitchFamily="2" charset="0"/>
              <a:cs typeface="Arial"/>
            </a:endParaRPr>
          </a:p>
          <a:p>
            <a:pPr marL="0" indent="0">
              <a:buNone/>
            </a:pPr>
            <a:endParaRPr lang="en-US"/>
          </a:p>
        </p:txBody>
      </p:sp>
      <p:sp>
        <p:nvSpPr>
          <p:cNvPr id="4" name="Slide Number Placeholder 3">
            <a:extLst>
              <a:ext uri="{FF2B5EF4-FFF2-40B4-BE49-F238E27FC236}">
                <a16:creationId xmlns:a16="http://schemas.microsoft.com/office/drawing/2014/main" id="{FCD58039-522B-431A-BA73-CE81B48813AF}"/>
              </a:ext>
            </a:extLst>
          </p:cNvPr>
          <p:cNvSpPr>
            <a:spLocks noGrp="1"/>
          </p:cNvSpPr>
          <p:nvPr>
            <p:ph type="sldNum" sz="quarter" idx="12"/>
          </p:nvPr>
        </p:nvSpPr>
        <p:spPr/>
        <p:txBody>
          <a:bodyPr/>
          <a:lstStyle/>
          <a:p>
            <a:fld id="{B617542F-3D05-4156-9308-A42F80506B15}" type="slidenum">
              <a:rPr lang="en-US" dirty="0" smtClean="0"/>
              <a:pPr/>
              <a:t>2</a:t>
            </a:fld>
            <a:endParaRPr lang="en-US"/>
          </a:p>
        </p:txBody>
      </p:sp>
      <p:pic>
        <p:nvPicPr>
          <p:cNvPr id="7" name="Picture 6">
            <a:extLst>
              <a:ext uri="{FF2B5EF4-FFF2-40B4-BE49-F238E27FC236}">
                <a16:creationId xmlns:a16="http://schemas.microsoft.com/office/drawing/2014/main" id="{5195C3C5-48D4-4E1F-AD18-FB7256CBC88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38200" y="1696720"/>
            <a:ext cx="10631906" cy="4531773"/>
          </a:xfrm>
          <a:prstGeom prst="rect">
            <a:avLst/>
          </a:prstGeom>
        </p:spPr>
      </p:pic>
      <p:sp>
        <p:nvSpPr>
          <p:cNvPr id="9" name="TextBox 8">
            <a:extLst>
              <a:ext uri="{FF2B5EF4-FFF2-40B4-BE49-F238E27FC236}">
                <a16:creationId xmlns:a16="http://schemas.microsoft.com/office/drawing/2014/main" id="{843B13B7-8F39-4A01-BB7A-3D206115F655}"/>
              </a:ext>
            </a:extLst>
          </p:cNvPr>
          <p:cNvSpPr txBox="1"/>
          <p:nvPr/>
        </p:nvSpPr>
        <p:spPr>
          <a:xfrm>
            <a:off x="2757370" y="1185995"/>
            <a:ext cx="8249920" cy="369332"/>
          </a:xfrm>
          <a:prstGeom prst="rect">
            <a:avLst/>
          </a:prstGeom>
          <a:noFill/>
        </p:spPr>
        <p:txBody>
          <a:bodyPr wrap="square">
            <a:spAutoFit/>
          </a:bodyPr>
          <a:lstStyle/>
          <a:p>
            <a:r>
              <a:rPr lang="en-US"/>
              <a:t>https://www.energy.gov/bil/bipartisan-infrastructure-law-homepage</a:t>
            </a:r>
          </a:p>
        </p:txBody>
      </p:sp>
    </p:spTree>
    <p:extLst>
      <p:ext uri="{BB962C8B-B14F-4D97-AF65-F5344CB8AC3E}">
        <p14:creationId xmlns:p14="http://schemas.microsoft.com/office/powerpoint/2010/main" val="30909961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7E84F0A-7E6C-0447-9227-2B8B3BFF5BCC}"/>
              </a:ext>
            </a:extLst>
          </p:cNvPr>
          <p:cNvSpPr>
            <a:spLocks noGrp="1"/>
          </p:cNvSpPr>
          <p:nvPr>
            <p:ph type="sldNum" sz="quarter" idx="15"/>
          </p:nvPr>
        </p:nvSpPr>
        <p:spPr/>
        <p:txBody>
          <a:bodyPr/>
          <a:lstStyle/>
          <a:p>
            <a:fld id="{960EC776-4F8E-46A8-A97F-EBE2F00A8093}" type="slidenum">
              <a:rPr lang="en-US" smtClean="0"/>
              <a:pPr/>
              <a:t>20</a:t>
            </a:fld>
            <a:endParaRPr lang="en-US"/>
          </a:p>
        </p:txBody>
      </p:sp>
      <p:sp>
        <p:nvSpPr>
          <p:cNvPr id="6" name="Text Placeholder 10">
            <a:extLst>
              <a:ext uri="{FF2B5EF4-FFF2-40B4-BE49-F238E27FC236}">
                <a16:creationId xmlns:a16="http://schemas.microsoft.com/office/drawing/2014/main" id="{408EA7DF-A3D5-0440-BC81-4D6EE0C06DEB}"/>
              </a:ext>
            </a:extLst>
          </p:cNvPr>
          <p:cNvSpPr txBox="1">
            <a:spLocks/>
          </p:cNvSpPr>
          <p:nvPr/>
        </p:nvSpPr>
        <p:spPr>
          <a:xfrm>
            <a:off x="270626" y="1805939"/>
            <a:ext cx="5082424" cy="4190915"/>
          </a:xfrm>
          <a:prstGeom prst="rect">
            <a:avLst/>
          </a:prstGeom>
        </p:spPr>
        <p:txBody>
          <a:bodyPr vert="horz" lIns="91440" tIns="45720" rIns="91440" bIns="45720" rtlCol="0">
            <a:normAutofit/>
          </a:bodyPr>
          <a:lstStyle>
            <a:lvl1pPr marL="342900" indent="-342900" algn="l" defTabSz="914400" rtl="0" eaLnBrk="1" latinLnBrk="0" hangingPunct="1">
              <a:lnSpc>
                <a:spcPct val="90000"/>
              </a:lnSpc>
              <a:spcBef>
                <a:spcPts val="1000"/>
              </a:spcBef>
              <a:buFont typeface="Arial" panose="020B0604020202020204" pitchFamily="34" charset="0"/>
              <a:buChar char="•"/>
              <a:defRPr sz="2200" b="0" kern="1200">
                <a:solidFill>
                  <a:schemeClr val="tx1"/>
                </a:solidFill>
                <a:latin typeface="Tw Cen MT" panose="020B0602020104020603" pitchFamily="34" charset="77"/>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entury Gothic" panose="020B0502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entury Gothic" panose="020B0502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Century Gothic" panose="020B0502020202020204" pitchFamily="34" charset="0"/>
              </a:rPr>
              <a:t>The Interagency Working Group (IWG) was established </a:t>
            </a:r>
            <a:br>
              <a:rPr lang="en-US" dirty="0">
                <a:latin typeface="Century Gothic" panose="020B0502020202020204" pitchFamily="34" charset="0"/>
              </a:rPr>
            </a:br>
            <a:r>
              <a:rPr lang="en-US" dirty="0">
                <a:latin typeface="Century Gothic" panose="020B0502020202020204" pitchFamily="34" charset="0"/>
              </a:rPr>
              <a:t>by </a:t>
            </a:r>
            <a:r>
              <a:rPr lang="en-US" dirty="0">
                <a:solidFill>
                  <a:schemeClr val="accent4"/>
                </a:solidFill>
                <a:latin typeface="Century Gothic" panose="020B0502020202020204" pitchFamily="34" charset="0"/>
                <a:hlinkClick r:id="rId3">
                  <a:extLst>
                    <a:ext uri="{A12FA001-AC4F-418D-AE19-62706E023703}">
                      <ahyp:hlinkClr xmlns:ahyp="http://schemas.microsoft.com/office/drawing/2018/hyperlinkcolor" val="tx"/>
                    </a:ext>
                  </a:extLst>
                </a:hlinkClick>
              </a:rPr>
              <a:t>Executive Order 14008</a:t>
            </a:r>
            <a:r>
              <a:rPr lang="en-US" dirty="0">
                <a:latin typeface="Century Gothic" panose="020B0502020202020204" pitchFamily="34" charset="0"/>
              </a:rPr>
              <a:t>, Sec. 218, on Jan. 27</a:t>
            </a:r>
            <a:br>
              <a:rPr lang="en-US" dirty="0">
                <a:latin typeface="Century Gothic" panose="020B0502020202020204" pitchFamily="34" charset="0"/>
              </a:rPr>
            </a:br>
            <a:endParaRPr lang="en-US" dirty="0">
              <a:latin typeface="Century Gothic" panose="020B0502020202020204" pitchFamily="34" charset="0"/>
            </a:endParaRPr>
          </a:p>
          <a:p>
            <a:r>
              <a:rPr lang="en-US" dirty="0">
                <a:latin typeface="Century Gothic" panose="020B0502020202020204" pitchFamily="34" charset="0"/>
              </a:rPr>
              <a:t>The IWG released an </a:t>
            </a:r>
            <a:r>
              <a:rPr lang="en-US" dirty="0">
                <a:solidFill>
                  <a:schemeClr val="accent4"/>
                </a:solidFill>
                <a:latin typeface="Century Gothic" panose="020B0502020202020204" pitchFamily="34" charset="0"/>
                <a:hlinkClick r:id="rId4">
                  <a:extLst>
                    <a:ext uri="{A12FA001-AC4F-418D-AE19-62706E023703}">
                      <ahyp:hlinkClr xmlns:ahyp="http://schemas.microsoft.com/office/drawing/2018/hyperlinkcolor" val="tx"/>
                    </a:ext>
                  </a:extLst>
                </a:hlinkClick>
              </a:rPr>
              <a:t>Initial Report</a:t>
            </a:r>
            <a:r>
              <a:rPr lang="en-US" dirty="0">
                <a:solidFill>
                  <a:schemeClr val="accent4"/>
                </a:solidFill>
                <a:latin typeface="Century Gothic" panose="020B0502020202020204" pitchFamily="34" charset="0"/>
              </a:rPr>
              <a:t> </a:t>
            </a:r>
            <a:r>
              <a:rPr lang="en-US" dirty="0">
                <a:latin typeface="Century Gothic" panose="020B0502020202020204" pitchFamily="34" charset="0"/>
              </a:rPr>
              <a:t>with recommendations to catalyze robust economic activity and support workers in America’s energy sector</a:t>
            </a:r>
          </a:p>
        </p:txBody>
      </p:sp>
      <p:sp>
        <p:nvSpPr>
          <p:cNvPr id="7" name="Title 9">
            <a:extLst>
              <a:ext uri="{FF2B5EF4-FFF2-40B4-BE49-F238E27FC236}">
                <a16:creationId xmlns:a16="http://schemas.microsoft.com/office/drawing/2014/main" id="{0AAD3687-DF1D-0E49-859F-353B02150D42}"/>
              </a:ext>
            </a:extLst>
          </p:cNvPr>
          <p:cNvSpPr txBox="1">
            <a:spLocks/>
          </p:cNvSpPr>
          <p:nvPr/>
        </p:nvSpPr>
        <p:spPr>
          <a:xfrm>
            <a:off x="721894" y="196516"/>
            <a:ext cx="9929265" cy="105220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300" kern="1200">
                <a:solidFill>
                  <a:schemeClr val="tx1"/>
                </a:solidFill>
                <a:latin typeface="Tw Cen MT" panose="020B0602020104020603" pitchFamily="34" charset="77"/>
                <a:ea typeface="+mj-ea"/>
                <a:cs typeface="+mj-cs"/>
              </a:defRPr>
            </a:lvl1pPr>
          </a:lstStyle>
          <a:p>
            <a:r>
              <a:rPr lang="en-US" sz="3600" b="1" dirty="0"/>
              <a:t>Interagency Work Group (IWG) on Coal and Power Plant Communities and Economic Revitalization</a:t>
            </a:r>
          </a:p>
        </p:txBody>
      </p:sp>
      <p:sp>
        <p:nvSpPr>
          <p:cNvPr id="8" name="Rectangle 7">
            <a:extLst>
              <a:ext uri="{FF2B5EF4-FFF2-40B4-BE49-F238E27FC236}">
                <a16:creationId xmlns:a16="http://schemas.microsoft.com/office/drawing/2014/main" id="{14B3D7E4-3697-C542-91BD-9D6E6BA78BDE}"/>
              </a:ext>
            </a:extLst>
          </p:cNvPr>
          <p:cNvSpPr/>
          <p:nvPr/>
        </p:nvSpPr>
        <p:spPr>
          <a:xfrm>
            <a:off x="6094086" y="5115726"/>
            <a:ext cx="6013938" cy="430887"/>
          </a:xfrm>
          <a:prstGeom prst="rect">
            <a:avLst/>
          </a:prstGeom>
        </p:spPr>
        <p:txBody>
          <a:bodyPr wrap="square">
            <a:spAutoFit/>
          </a:bodyPr>
          <a:lstStyle/>
          <a:p>
            <a:pPr algn="ctr"/>
            <a:r>
              <a:rPr lang="en-US" sz="1100" b="1" i="1" dirty="0">
                <a:solidFill>
                  <a:srgbClr val="002060"/>
                </a:solidFill>
                <a:latin typeface="Century Gothic" panose="020B0502020202020204" pitchFamily="34" charset="0"/>
              </a:rPr>
              <a:t>Initial Report to the President on Empowering Workers Through Revitalizing Energy Communities, Released April 23, 2021</a:t>
            </a:r>
          </a:p>
        </p:txBody>
      </p:sp>
      <p:pic>
        <p:nvPicPr>
          <p:cNvPr id="9" name="Picture 8">
            <a:extLst>
              <a:ext uri="{FF2B5EF4-FFF2-40B4-BE49-F238E27FC236}">
                <a16:creationId xmlns:a16="http://schemas.microsoft.com/office/drawing/2014/main" id="{3326C152-99DA-FF43-8890-7B4BD116F62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21004305">
            <a:off x="6035726" y="2181821"/>
            <a:ext cx="1908171" cy="2483469"/>
          </a:xfrm>
          <a:prstGeom prst="rect">
            <a:avLst/>
          </a:prstGeom>
          <a:effectLst>
            <a:outerShdw blurRad="50800" dist="38100" dir="8100000" algn="tr" rotWithShape="0">
              <a:prstClr val="black">
                <a:alpha val="40000"/>
              </a:prstClr>
            </a:outerShdw>
          </a:effectLst>
        </p:spPr>
      </p:pic>
      <p:grpSp>
        <p:nvGrpSpPr>
          <p:cNvPr id="10" name="Group 9">
            <a:extLst>
              <a:ext uri="{FF2B5EF4-FFF2-40B4-BE49-F238E27FC236}">
                <a16:creationId xmlns:a16="http://schemas.microsoft.com/office/drawing/2014/main" id="{8B5E9C91-DFBA-4042-8566-9C79C4FA60DE}"/>
              </a:ext>
            </a:extLst>
          </p:cNvPr>
          <p:cNvGrpSpPr/>
          <p:nvPr/>
        </p:nvGrpSpPr>
        <p:grpSpPr>
          <a:xfrm>
            <a:off x="7544935" y="1805939"/>
            <a:ext cx="4392731" cy="2887185"/>
            <a:chOff x="5422184" y="1738866"/>
            <a:chExt cx="6508155" cy="4243019"/>
          </a:xfrm>
        </p:grpSpPr>
        <p:pic>
          <p:nvPicPr>
            <p:cNvPr id="11" name="Picture 30" descr="Logo&#10;&#10;Description automatically generated">
              <a:extLst>
                <a:ext uri="{FF2B5EF4-FFF2-40B4-BE49-F238E27FC236}">
                  <a16:creationId xmlns:a16="http://schemas.microsoft.com/office/drawing/2014/main" id="{C1003D6C-F7C1-DD41-A889-6FD894B5B86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22184" y="1738866"/>
              <a:ext cx="1182989" cy="118298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33" descr="Logo&#10;&#10;Description automatically generated">
              <a:extLst>
                <a:ext uri="{FF2B5EF4-FFF2-40B4-BE49-F238E27FC236}">
                  <a16:creationId xmlns:a16="http://schemas.microsoft.com/office/drawing/2014/main" id="{A6AAEED2-A9D3-A44D-B45A-E251780511C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72515" y="1738866"/>
              <a:ext cx="1182987" cy="118298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1" descr="A picture containing text, sign&#10;&#10;Description automatically generated">
              <a:extLst>
                <a:ext uri="{FF2B5EF4-FFF2-40B4-BE49-F238E27FC236}">
                  <a16:creationId xmlns:a16="http://schemas.microsoft.com/office/drawing/2014/main" id="{1929F593-EA88-A949-9CEC-9F48ED41E04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08787" y="1738866"/>
              <a:ext cx="1187726" cy="118298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6">
              <a:extLst>
                <a:ext uri="{FF2B5EF4-FFF2-40B4-BE49-F238E27FC236}">
                  <a16:creationId xmlns:a16="http://schemas.microsoft.com/office/drawing/2014/main" id="{2C8E53FF-194E-304C-A976-4A1B358AF7F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516758" y="3268881"/>
              <a:ext cx="1182987" cy="118298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5">
              <a:extLst>
                <a:ext uri="{FF2B5EF4-FFF2-40B4-BE49-F238E27FC236}">
                  <a16:creationId xmlns:a16="http://schemas.microsoft.com/office/drawing/2014/main" id="{AF357A54-518C-9B49-AE12-9D6560F15F6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841297" y="3268881"/>
              <a:ext cx="1182987" cy="118298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4">
              <a:extLst>
                <a:ext uri="{FF2B5EF4-FFF2-40B4-BE49-F238E27FC236}">
                  <a16:creationId xmlns:a16="http://schemas.microsoft.com/office/drawing/2014/main" id="{9C0959BC-C740-8B48-B94A-F1F601C885E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165833" y="3268881"/>
              <a:ext cx="1182989" cy="118298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0">
              <a:extLst>
                <a:ext uri="{FF2B5EF4-FFF2-40B4-BE49-F238E27FC236}">
                  <a16:creationId xmlns:a16="http://schemas.microsoft.com/office/drawing/2014/main" id="{1EAF60B9-4916-204D-B472-E5FF68E05E5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841295" y="4798896"/>
              <a:ext cx="1182989" cy="1182989"/>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2">
              <a:extLst>
                <a:ext uri="{FF2B5EF4-FFF2-40B4-BE49-F238E27FC236}">
                  <a16:creationId xmlns:a16="http://schemas.microsoft.com/office/drawing/2014/main" id="{F5BF29F4-5EED-FB4B-B9BD-FE9D9089BDE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286161" y="5072927"/>
              <a:ext cx="1644178" cy="63492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39">
              <a:extLst>
                <a:ext uri="{FF2B5EF4-FFF2-40B4-BE49-F238E27FC236}">
                  <a16:creationId xmlns:a16="http://schemas.microsoft.com/office/drawing/2014/main" id="{EE12C86F-BF4B-2847-9FEA-BFCFB6EA995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168991" y="4798897"/>
              <a:ext cx="1176671" cy="118298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7">
              <a:extLst>
                <a:ext uri="{FF2B5EF4-FFF2-40B4-BE49-F238E27FC236}">
                  <a16:creationId xmlns:a16="http://schemas.microsoft.com/office/drawing/2014/main" id="{D520AFEF-77DD-3A4C-A9FD-CCC6995CE61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90369" y="4798897"/>
              <a:ext cx="1182989" cy="118298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9">
              <a:extLst>
                <a:ext uri="{FF2B5EF4-FFF2-40B4-BE49-F238E27FC236}">
                  <a16:creationId xmlns:a16="http://schemas.microsoft.com/office/drawing/2014/main" id="{668964A1-13AA-174F-9341-93575774053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490369" y="3268880"/>
              <a:ext cx="1182989" cy="118298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32">
              <a:extLst>
                <a:ext uri="{FF2B5EF4-FFF2-40B4-BE49-F238E27FC236}">
                  <a16:creationId xmlns:a16="http://schemas.microsoft.com/office/drawing/2014/main" id="{A5B63330-985A-F947-9527-A8A1A67DECEF}"/>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800127" y="1738866"/>
              <a:ext cx="1168773" cy="118298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623097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3A814E3-7D4C-1A43-92C5-AA0562DEC27D}"/>
              </a:ext>
            </a:extLst>
          </p:cNvPr>
          <p:cNvSpPr>
            <a:spLocks noGrp="1"/>
          </p:cNvSpPr>
          <p:nvPr>
            <p:ph type="sldNum" sz="quarter" idx="15"/>
          </p:nvPr>
        </p:nvSpPr>
        <p:spPr/>
        <p:txBody>
          <a:bodyPr/>
          <a:lstStyle/>
          <a:p>
            <a:fld id="{960EC776-4F8E-46A8-A97F-EBE2F00A8093}" type="slidenum">
              <a:rPr lang="en-US" smtClean="0"/>
              <a:pPr/>
              <a:t>21</a:t>
            </a:fld>
            <a:endParaRPr lang="en-US"/>
          </a:p>
        </p:txBody>
      </p:sp>
      <p:sp>
        <p:nvSpPr>
          <p:cNvPr id="10" name="Content Placeholder 1">
            <a:extLst>
              <a:ext uri="{FF2B5EF4-FFF2-40B4-BE49-F238E27FC236}">
                <a16:creationId xmlns:a16="http://schemas.microsoft.com/office/drawing/2014/main" id="{F10D46D6-08ED-4849-BA3E-0C659E38BE8E}"/>
              </a:ext>
            </a:extLst>
          </p:cNvPr>
          <p:cNvSpPr>
            <a:spLocks noGrp="1"/>
          </p:cNvSpPr>
          <p:nvPr>
            <p:ph idx="1"/>
          </p:nvPr>
        </p:nvSpPr>
        <p:spPr>
          <a:xfrm>
            <a:off x="439390" y="1454764"/>
            <a:ext cx="3406593" cy="4309256"/>
          </a:xfrm>
          <a:noFill/>
          <a:ln>
            <a:noFill/>
          </a:ln>
        </p:spPr>
        <p:style>
          <a:lnRef idx="0">
            <a:scrgbClr r="0" g="0" b="0"/>
          </a:lnRef>
          <a:fillRef idx="0">
            <a:scrgbClr r="0" g="0" b="0"/>
          </a:fillRef>
          <a:effectRef idx="0">
            <a:scrgbClr r="0" g="0" b="0"/>
          </a:effectRef>
          <a:fontRef idx="minor">
            <a:schemeClr val="lt1"/>
          </a:fontRef>
        </p:style>
        <p:txBody>
          <a:bodyPr anchor="ctr">
            <a:normAutofit/>
          </a:bodyPr>
          <a:lstStyle/>
          <a:p>
            <a:pPr>
              <a:spcBef>
                <a:spcPts val="1200"/>
              </a:spcBef>
              <a:spcAft>
                <a:spcPts val="1200"/>
              </a:spcAft>
            </a:pPr>
            <a:r>
              <a:rPr lang="en-US" sz="2400" dirty="0">
                <a:solidFill>
                  <a:schemeClr val="tx1"/>
                </a:solidFill>
                <a:latin typeface="Century Gothic" panose="020B0502020202020204" pitchFamily="34" charset="0"/>
              </a:rPr>
              <a:t>Identified 25 priority Energy Communities</a:t>
            </a:r>
          </a:p>
          <a:p>
            <a:pPr>
              <a:spcBef>
                <a:spcPts val="1200"/>
              </a:spcBef>
              <a:spcAft>
                <a:spcPts val="1200"/>
              </a:spcAft>
            </a:pPr>
            <a:r>
              <a:rPr lang="en-US" sz="2400" dirty="0">
                <a:solidFill>
                  <a:schemeClr val="tx1"/>
                </a:solidFill>
                <a:latin typeface="Century Gothic" panose="020B0502020202020204" pitchFamily="34" charset="0"/>
              </a:rPr>
              <a:t>Coal communities identified as immediately challenged</a:t>
            </a:r>
          </a:p>
          <a:p>
            <a:pPr>
              <a:spcBef>
                <a:spcPts val="1200"/>
              </a:spcBef>
              <a:spcAft>
                <a:spcPts val="1200"/>
              </a:spcAft>
            </a:pPr>
            <a:r>
              <a:rPr lang="en-US" sz="2400" b="1" dirty="0">
                <a:solidFill>
                  <a:schemeClr val="tx1"/>
                </a:solidFill>
                <a:latin typeface="Century Gothic" panose="020B0502020202020204" pitchFamily="34" charset="0"/>
              </a:rPr>
              <a:t>Work now expanding into oil &amp; gas communities</a:t>
            </a:r>
          </a:p>
        </p:txBody>
      </p:sp>
      <p:sp>
        <p:nvSpPr>
          <p:cNvPr id="11" name="Title 3">
            <a:extLst>
              <a:ext uri="{FF2B5EF4-FFF2-40B4-BE49-F238E27FC236}">
                <a16:creationId xmlns:a16="http://schemas.microsoft.com/office/drawing/2014/main" id="{913B991B-69CE-0B48-94C7-66453CA8B88B}"/>
              </a:ext>
            </a:extLst>
          </p:cNvPr>
          <p:cNvSpPr>
            <a:spLocks noGrp="1"/>
          </p:cNvSpPr>
          <p:nvPr>
            <p:ph type="title"/>
          </p:nvPr>
        </p:nvSpPr>
        <p:spPr>
          <a:xfrm>
            <a:off x="760396" y="123919"/>
            <a:ext cx="9097979" cy="1052207"/>
          </a:xfrm>
        </p:spPr>
        <p:txBody>
          <a:bodyPr>
            <a:normAutofit/>
          </a:bodyPr>
          <a:lstStyle/>
          <a:p>
            <a:r>
              <a:rPr lang="en-US" sz="3600" dirty="0"/>
              <a:t>Prioritizing Those Most In Need of Support</a:t>
            </a:r>
          </a:p>
        </p:txBody>
      </p:sp>
      <p:sp>
        <p:nvSpPr>
          <p:cNvPr id="12" name="Rectangle 11">
            <a:extLst>
              <a:ext uri="{FF2B5EF4-FFF2-40B4-BE49-F238E27FC236}">
                <a16:creationId xmlns:a16="http://schemas.microsoft.com/office/drawing/2014/main" id="{DFB9CB6F-A2CC-BC45-A26E-D67928097D58}"/>
              </a:ext>
            </a:extLst>
          </p:cNvPr>
          <p:cNvSpPr/>
          <p:nvPr/>
        </p:nvSpPr>
        <p:spPr>
          <a:xfrm>
            <a:off x="5938464" y="6307958"/>
            <a:ext cx="5000506" cy="415498"/>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2060"/>
                </a:solidFill>
                <a:effectLst/>
                <a:uLnTx/>
                <a:uFillTx/>
                <a:latin typeface="Century Gothic" panose="020F0302020204030204"/>
                <a:ea typeface="+mn-ea"/>
                <a:cs typeface="+mn-cs"/>
              </a:rPr>
              <a:t>Figure 2 in the report. The IWG recommends focusing initial federal investments in areas with high concentrations of coal-dependent jobs.</a:t>
            </a:r>
          </a:p>
        </p:txBody>
      </p:sp>
      <p:pic>
        <p:nvPicPr>
          <p:cNvPr id="13" name="Content Placeholder 13" descr="Map&#10;&#10;Description automatically generated">
            <a:extLst>
              <a:ext uri="{FF2B5EF4-FFF2-40B4-BE49-F238E27FC236}">
                <a16:creationId xmlns:a16="http://schemas.microsoft.com/office/drawing/2014/main" id="{1444F699-A92F-7141-BC5E-EE5102DE60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64525" y="1454764"/>
            <a:ext cx="8108932" cy="4671817"/>
          </a:xfrm>
          <a:prstGeom prst="rect">
            <a:avLst/>
          </a:prstGeom>
        </p:spPr>
      </p:pic>
    </p:spTree>
    <p:extLst>
      <p:ext uri="{BB962C8B-B14F-4D97-AF65-F5344CB8AC3E}">
        <p14:creationId xmlns:p14="http://schemas.microsoft.com/office/powerpoint/2010/main" val="31265640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0DDA935-D5A5-47E3-965F-3CEA90FAE6BA}"/>
              </a:ext>
            </a:extLst>
          </p:cNvPr>
          <p:cNvSpPr>
            <a:spLocks noGrp="1"/>
          </p:cNvSpPr>
          <p:nvPr>
            <p:ph idx="1"/>
          </p:nvPr>
        </p:nvSpPr>
        <p:spPr>
          <a:xfrm>
            <a:off x="270627" y="1141632"/>
            <a:ext cx="11580921" cy="4870730"/>
          </a:xfrm>
        </p:spPr>
        <p:txBody>
          <a:bodyPr>
            <a:normAutofit/>
          </a:bodyPr>
          <a:lstStyle/>
          <a:p>
            <a:r>
              <a:rPr lang="en-US" sz="2800" dirty="0">
                <a:solidFill>
                  <a:schemeClr val="tx1"/>
                </a:solidFill>
              </a:rPr>
              <a:t>Need to </a:t>
            </a:r>
            <a:r>
              <a:rPr lang="en-US" sz="2800" b="1" dirty="0">
                <a:solidFill>
                  <a:schemeClr val="tx1"/>
                </a:solidFill>
              </a:rPr>
              <a:t>think ahead</a:t>
            </a:r>
            <a:r>
              <a:rPr lang="en-US" sz="2800" dirty="0">
                <a:solidFill>
                  <a:schemeClr val="tx1"/>
                </a:solidFill>
              </a:rPr>
              <a:t>: “Plan for transition or be run over by it.”</a:t>
            </a:r>
          </a:p>
          <a:p>
            <a:r>
              <a:rPr lang="en-US" sz="2800" b="1" dirty="0">
                <a:solidFill>
                  <a:schemeClr val="tx1"/>
                </a:solidFill>
              </a:rPr>
              <a:t>Economic diversification </a:t>
            </a:r>
            <a:r>
              <a:rPr lang="en-US" sz="2800" dirty="0">
                <a:solidFill>
                  <a:schemeClr val="tx1"/>
                </a:solidFill>
              </a:rPr>
              <a:t>is as important as energy transition.</a:t>
            </a:r>
          </a:p>
          <a:p>
            <a:r>
              <a:rPr lang="en-US" sz="2800" dirty="0">
                <a:solidFill>
                  <a:schemeClr val="tx1"/>
                </a:solidFill>
              </a:rPr>
              <a:t>Every community brings different challenges and opportunities. </a:t>
            </a:r>
          </a:p>
          <a:p>
            <a:pPr lvl="1"/>
            <a:r>
              <a:rPr lang="en-US" dirty="0">
                <a:solidFill>
                  <a:schemeClr val="tx1"/>
                </a:solidFill>
              </a:rPr>
              <a:t>There is </a:t>
            </a:r>
            <a:r>
              <a:rPr lang="en-US" b="1" dirty="0">
                <a:solidFill>
                  <a:schemeClr val="tx1"/>
                </a:solidFill>
              </a:rPr>
              <a:t>no “one size fits all” </a:t>
            </a:r>
            <a:r>
              <a:rPr lang="en-US" dirty="0">
                <a:solidFill>
                  <a:schemeClr val="tx1"/>
                </a:solidFill>
              </a:rPr>
              <a:t>approach to energy transition.</a:t>
            </a:r>
          </a:p>
          <a:p>
            <a:pPr lvl="1"/>
            <a:r>
              <a:rPr lang="en-US" dirty="0">
                <a:solidFill>
                  <a:schemeClr val="tx1"/>
                </a:solidFill>
              </a:rPr>
              <a:t>There are </a:t>
            </a:r>
            <a:r>
              <a:rPr lang="en-US" b="1" dirty="0">
                <a:solidFill>
                  <a:schemeClr val="tx1"/>
                </a:solidFill>
              </a:rPr>
              <a:t>no “silver bullets” </a:t>
            </a:r>
            <a:r>
              <a:rPr lang="en-US" dirty="0">
                <a:solidFill>
                  <a:schemeClr val="tx1"/>
                </a:solidFill>
              </a:rPr>
              <a:t>or 1:1 industry replacement.</a:t>
            </a:r>
          </a:p>
          <a:p>
            <a:r>
              <a:rPr lang="en-US" sz="2800" dirty="0">
                <a:solidFill>
                  <a:schemeClr val="tx1"/>
                </a:solidFill>
              </a:rPr>
              <a:t>Meaningful </a:t>
            </a:r>
            <a:r>
              <a:rPr lang="en-US" sz="2800" b="1" dirty="0">
                <a:solidFill>
                  <a:schemeClr val="tx1"/>
                </a:solidFill>
              </a:rPr>
              <a:t>community engagement </a:t>
            </a:r>
            <a:r>
              <a:rPr lang="en-US" sz="2800" dirty="0">
                <a:solidFill>
                  <a:schemeClr val="tx1"/>
                </a:solidFill>
              </a:rPr>
              <a:t>matters.</a:t>
            </a:r>
          </a:p>
          <a:p>
            <a:r>
              <a:rPr lang="en-US" sz="2800" dirty="0">
                <a:solidFill>
                  <a:schemeClr val="tx1"/>
                </a:solidFill>
              </a:rPr>
              <a:t>Need for immediate </a:t>
            </a:r>
            <a:r>
              <a:rPr lang="en-US" sz="2800" b="1" dirty="0">
                <a:solidFill>
                  <a:schemeClr val="tx1"/>
                </a:solidFill>
              </a:rPr>
              <a:t>high-quality </a:t>
            </a:r>
            <a:r>
              <a:rPr lang="en-US" sz="2800" dirty="0">
                <a:solidFill>
                  <a:schemeClr val="tx1"/>
                </a:solidFill>
              </a:rPr>
              <a:t>jobs, equitable access to these jobs, AND long-term economic strategies.</a:t>
            </a:r>
          </a:p>
          <a:p>
            <a:r>
              <a:rPr lang="en-US" sz="2800" dirty="0">
                <a:solidFill>
                  <a:schemeClr val="tx1"/>
                </a:solidFill>
              </a:rPr>
              <a:t>Basic infrastructure matters: </a:t>
            </a:r>
            <a:r>
              <a:rPr lang="en-US" sz="2800" b="1" dirty="0">
                <a:solidFill>
                  <a:schemeClr val="tx1"/>
                </a:solidFill>
              </a:rPr>
              <a:t>transportation, transmission, workforce, water</a:t>
            </a:r>
            <a:r>
              <a:rPr lang="en-US" sz="2800" dirty="0">
                <a:solidFill>
                  <a:schemeClr val="tx1"/>
                </a:solidFill>
              </a:rPr>
              <a:t>.</a:t>
            </a:r>
          </a:p>
        </p:txBody>
      </p:sp>
      <p:sp>
        <p:nvSpPr>
          <p:cNvPr id="4" name="Title 3">
            <a:extLst>
              <a:ext uri="{FF2B5EF4-FFF2-40B4-BE49-F238E27FC236}">
                <a16:creationId xmlns:a16="http://schemas.microsoft.com/office/drawing/2014/main" id="{2170F973-3D6A-45A6-81CD-AD89DEA6278B}"/>
              </a:ext>
            </a:extLst>
          </p:cNvPr>
          <p:cNvSpPr>
            <a:spLocks noGrp="1"/>
          </p:cNvSpPr>
          <p:nvPr>
            <p:ph type="title"/>
          </p:nvPr>
        </p:nvSpPr>
        <p:spPr>
          <a:xfrm>
            <a:off x="683394" y="0"/>
            <a:ext cx="9174982" cy="1044848"/>
          </a:xfrm>
        </p:spPr>
        <p:txBody>
          <a:bodyPr/>
          <a:lstStyle/>
          <a:p>
            <a:r>
              <a:rPr lang="en-US" dirty="0"/>
              <a:t>Key Learnings from Energy Communities</a:t>
            </a:r>
          </a:p>
        </p:txBody>
      </p:sp>
      <p:sp>
        <p:nvSpPr>
          <p:cNvPr id="5" name="Slide Number Placeholder 4">
            <a:extLst>
              <a:ext uri="{FF2B5EF4-FFF2-40B4-BE49-F238E27FC236}">
                <a16:creationId xmlns:a16="http://schemas.microsoft.com/office/drawing/2014/main" id="{F31F38A2-3369-4D4A-81EC-722A17D61B2B}"/>
              </a:ext>
            </a:extLst>
          </p:cNvPr>
          <p:cNvSpPr>
            <a:spLocks noGrp="1"/>
          </p:cNvSpPr>
          <p:nvPr>
            <p:ph type="sldNum" sz="quarter" idx="15"/>
          </p:nvPr>
        </p:nvSpPr>
        <p:spPr/>
        <p:txBody>
          <a:bodyPr/>
          <a:lstStyle/>
          <a:p>
            <a:fld id="{960EC776-4F8E-46A8-A97F-EBE2F00A8093}" type="slidenum">
              <a:rPr lang="en-US" smtClean="0"/>
              <a:t>22</a:t>
            </a:fld>
            <a:endParaRPr lang="en-US"/>
          </a:p>
        </p:txBody>
      </p:sp>
      <p:pic>
        <p:nvPicPr>
          <p:cNvPr id="8" name="Picture 7">
            <a:extLst>
              <a:ext uri="{FF2B5EF4-FFF2-40B4-BE49-F238E27FC236}">
                <a16:creationId xmlns:a16="http://schemas.microsoft.com/office/drawing/2014/main" id="{2018428E-B570-44C2-A807-7AB0095D7F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7926" y="5239820"/>
            <a:ext cx="1454971" cy="933960"/>
          </a:xfrm>
          <a:prstGeom prst="rect">
            <a:avLst/>
          </a:prstGeom>
        </p:spPr>
      </p:pic>
      <p:pic>
        <p:nvPicPr>
          <p:cNvPr id="9" name="Picture 8">
            <a:extLst>
              <a:ext uri="{FF2B5EF4-FFF2-40B4-BE49-F238E27FC236}">
                <a16:creationId xmlns:a16="http://schemas.microsoft.com/office/drawing/2014/main" id="{BF0F330E-CAD1-45BD-BFA8-C1B48058E3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83739" y="5239818"/>
            <a:ext cx="2104693" cy="933961"/>
          </a:xfrm>
          <a:prstGeom prst="rect">
            <a:avLst/>
          </a:prstGeom>
        </p:spPr>
      </p:pic>
      <p:pic>
        <p:nvPicPr>
          <p:cNvPr id="10" name="Picture 9">
            <a:extLst>
              <a:ext uri="{FF2B5EF4-FFF2-40B4-BE49-F238E27FC236}">
                <a16:creationId xmlns:a16="http://schemas.microsoft.com/office/drawing/2014/main" id="{D28A3B55-03C3-488E-A039-50A134E1C75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54445" y="5236472"/>
            <a:ext cx="2377959" cy="933961"/>
          </a:xfrm>
          <a:prstGeom prst="rect">
            <a:avLst/>
          </a:prstGeom>
        </p:spPr>
      </p:pic>
      <p:pic>
        <p:nvPicPr>
          <p:cNvPr id="11" name="Picture 10">
            <a:extLst>
              <a:ext uri="{FF2B5EF4-FFF2-40B4-BE49-F238E27FC236}">
                <a16:creationId xmlns:a16="http://schemas.microsoft.com/office/drawing/2014/main" id="{B2FB18BB-1929-474F-B59E-D766913BFAB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98417" y="5236472"/>
            <a:ext cx="2017875" cy="937308"/>
          </a:xfrm>
          <a:prstGeom prst="rect">
            <a:avLst/>
          </a:prstGeom>
        </p:spPr>
      </p:pic>
    </p:spTree>
    <p:extLst>
      <p:ext uri="{BB962C8B-B14F-4D97-AF65-F5344CB8AC3E}">
        <p14:creationId xmlns:p14="http://schemas.microsoft.com/office/powerpoint/2010/main" val="29650939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Empty Highway and coal power plant at sunrise. Germany, Weisweiler |  Rhodium Group">
            <a:extLst>
              <a:ext uri="{FF2B5EF4-FFF2-40B4-BE49-F238E27FC236}">
                <a16:creationId xmlns:a16="http://schemas.microsoft.com/office/drawing/2014/main" id="{28962224-2524-4868-9EBD-30C9A48ADC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26012" y="4108155"/>
            <a:ext cx="2549274" cy="1699515"/>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1">
            <a:extLst>
              <a:ext uri="{FF2B5EF4-FFF2-40B4-BE49-F238E27FC236}">
                <a16:creationId xmlns:a16="http://schemas.microsoft.com/office/drawing/2014/main" id="{097D2B4A-0BB4-4A3B-A70C-1C4DA84B9ED6}"/>
              </a:ext>
            </a:extLst>
          </p:cNvPr>
          <p:cNvSpPr>
            <a:spLocks noGrp="1"/>
          </p:cNvSpPr>
          <p:nvPr>
            <p:ph idx="1"/>
          </p:nvPr>
        </p:nvSpPr>
        <p:spPr>
          <a:xfrm>
            <a:off x="270626" y="1197602"/>
            <a:ext cx="8031744" cy="4933950"/>
          </a:xfrm>
        </p:spPr>
        <p:txBody>
          <a:bodyPr vert="horz" lIns="91440" tIns="45720" rIns="91440" bIns="45720" rtlCol="0">
            <a:noAutofit/>
          </a:bodyPr>
          <a:lstStyle/>
          <a:p>
            <a:r>
              <a:rPr lang="en-US" sz="2400" b="1" i="0" dirty="0">
                <a:solidFill>
                  <a:schemeClr val="tx1"/>
                </a:solidFill>
                <a:effectLst/>
                <a:latin typeface="+mn-lt"/>
                <a:cs typeface="+mn-cs"/>
              </a:rPr>
              <a:t>Built-in infrastructure and components can be repurposed for new industry:</a:t>
            </a:r>
          </a:p>
          <a:p>
            <a:pPr lvl="1"/>
            <a:r>
              <a:rPr lang="en-US" i="0" dirty="0">
                <a:solidFill>
                  <a:schemeClr val="tx1"/>
                </a:solidFill>
                <a:effectLst/>
                <a:latin typeface="+mn-lt"/>
                <a:cs typeface="+mn-cs"/>
              </a:rPr>
              <a:t>Transportation: access to roads, rail, ports and waterways </a:t>
            </a:r>
          </a:p>
          <a:p>
            <a:pPr lvl="1"/>
            <a:r>
              <a:rPr lang="en-US" i="0" dirty="0">
                <a:solidFill>
                  <a:schemeClr val="tx1"/>
                </a:solidFill>
                <a:effectLst/>
                <a:latin typeface="+mn-lt"/>
                <a:cs typeface="+mn-cs"/>
              </a:rPr>
              <a:t>Transmission: Pre-existing direct grid connection at the power plant</a:t>
            </a:r>
          </a:p>
          <a:p>
            <a:pPr lvl="1"/>
            <a:r>
              <a:rPr lang="en-US" dirty="0">
                <a:solidFill>
                  <a:schemeClr val="tx1"/>
                </a:solidFill>
                <a:latin typeface="+mn-lt"/>
                <a:cs typeface="+mn-cs"/>
              </a:rPr>
              <a:t>Water: existing access and water rights </a:t>
            </a:r>
          </a:p>
          <a:p>
            <a:pPr marL="457200" lvl="1" indent="0">
              <a:buNone/>
            </a:pPr>
            <a:endParaRPr lang="en-US" i="0" dirty="0">
              <a:solidFill>
                <a:schemeClr val="tx1"/>
              </a:solidFill>
              <a:effectLst/>
              <a:latin typeface="+mn-lt"/>
              <a:cs typeface="+mn-cs"/>
            </a:endParaRPr>
          </a:p>
          <a:p>
            <a:r>
              <a:rPr lang="en-US" sz="2400" b="1" dirty="0">
                <a:solidFill>
                  <a:schemeClr val="tx1"/>
                </a:solidFill>
                <a:latin typeface="+mn-lt"/>
                <a:cs typeface="+mn-cs"/>
              </a:rPr>
              <a:t>Options for Conversion to Clean Energy Assets:</a:t>
            </a:r>
          </a:p>
          <a:p>
            <a:pPr lvl="1"/>
            <a:r>
              <a:rPr lang="en-US" dirty="0">
                <a:solidFill>
                  <a:schemeClr val="tx1"/>
                </a:solidFill>
                <a:latin typeface="+mn-lt"/>
                <a:cs typeface="+mn-cs"/>
              </a:rPr>
              <a:t>Nuclear (SMRs and Microreactors)</a:t>
            </a:r>
          </a:p>
          <a:p>
            <a:pPr lvl="1"/>
            <a:r>
              <a:rPr lang="en-US" dirty="0">
                <a:solidFill>
                  <a:schemeClr val="tx1"/>
                </a:solidFill>
                <a:latin typeface="+mn-lt"/>
                <a:cs typeface="+mn-cs"/>
              </a:rPr>
              <a:t>Hydrogen</a:t>
            </a:r>
          </a:p>
          <a:p>
            <a:pPr lvl="1"/>
            <a:r>
              <a:rPr lang="en-US" dirty="0">
                <a:solidFill>
                  <a:schemeClr val="tx1"/>
                </a:solidFill>
                <a:latin typeface="+mn-lt"/>
                <a:cs typeface="+mn-cs"/>
              </a:rPr>
              <a:t>Battery Energy Storage System (BESS) </a:t>
            </a:r>
          </a:p>
          <a:p>
            <a:pPr lvl="1"/>
            <a:r>
              <a:rPr lang="en-US" dirty="0">
                <a:solidFill>
                  <a:schemeClr val="tx1"/>
                </a:solidFill>
                <a:latin typeface="+mn-lt"/>
                <a:cs typeface="+mn-cs"/>
              </a:rPr>
              <a:t>Solar and Wind  </a:t>
            </a:r>
          </a:p>
          <a:p>
            <a:pPr lvl="1"/>
            <a:r>
              <a:rPr lang="en-US" dirty="0">
                <a:solidFill>
                  <a:schemeClr val="tx1"/>
                </a:solidFill>
                <a:latin typeface="+mn-lt"/>
                <a:cs typeface="+mn-cs"/>
              </a:rPr>
              <a:t>Thermal Energy Storage (TES)</a:t>
            </a:r>
          </a:p>
          <a:p>
            <a:pPr lvl="1"/>
            <a:r>
              <a:rPr lang="en-US" dirty="0">
                <a:latin typeface="+mn-lt"/>
              </a:rPr>
              <a:t>Carbon storage</a:t>
            </a:r>
            <a:endParaRPr lang="en-US" dirty="0">
              <a:solidFill>
                <a:schemeClr val="tx1"/>
              </a:solidFill>
              <a:latin typeface="+mn-lt"/>
              <a:cs typeface="+mn-cs"/>
            </a:endParaRPr>
          </a:p>
          <a:p>
            <a:pPr lvl="1"/>
            <a:r>
              <a:rPr lang="en-US" dirty="0">
                <a:latin typeface="+mn-lt"/>
              </a:rPr>
              <a:t>And more…</a:t>
            </a:r>
            <a:endParaRPr lang="en-US" dirty="0">
              <a:solidFill>
                <a:schemeClr val="tx1"/>
              </a:solidFill>
              <a:latin typeface="+mn-lt"/>
              <a:cs typeface="+mn-cs"/>
            </a:endParaRPr>
          </a:p>
        </p:txBody>
      </p:sp>
      <p:sp>
        <p:nvSpPr>
          <p:cNvPr id="4" name="Subtitle 3">
            <a:extLst>
              <a:ext uri="{FF2B5EF4-FFF2-40B4-BE49-F238E27FC236}">
                <a16:creationId xmlns:a16="http://schemas.microsoft.com/office/drawing/2014/main" id="{26B3A4DC-9235-425F-9DAD-3710FE28D1C7}"/>
              </a:ext>
            </a:extLst>
          </p:cNvPr>
          <p:cNvSpPr>
            <a:spLocks noGrp="1"/>
          </p:cNvSpPr>
          <p:nvPr>
            <p:ph type="subTitle" idx="13"/>
          </p:nvPr>
        </p:nvSpPr>
        <p:spPr/>
        <p:txBody>
          <a:bodyPr/>
          <a:lstStyle/>
          <a:p>
            <a:endParaRPr lang="en-US" dirty="0"/>
          </a:p>
        </p:txBody>
      </p:sp>
      <p:sp>
        <p:nvSpPr>
          <p:cNvPr id="3" name="Title 2">
            <a:extLst>
              <a:ext uri="{FF2B5EF4-FFF2-40B4-BE49-F238E27FC236}">
                <a16:creationId xmlns:a16="http://schemas.microsoft.com/office/drawing/2014/main" id="{97C630D1-4EF3-49FE-9E28-82944A7791DE}"/>
              </a:ext>
            </a:extLst>
          </p:cNvPr>
          <p:cNvSpPr>
            <a:spLocks noGrp="1"/>
          </p:cNvSpPr>
          <p:nvPr>
            <p:ph type="title"/>
          </p:nvPr>
        </p:nvSpPr>
        <p:spPr>
          <a:xfrm>
            <a:off x="760396" y="122926"/>
            <a:ext cx="9097979" cy="609144"/>
          </a:xfrm>
        </p:spPr>
        <p:txBody>
          <a:bodyPr vert="horz" lIns="91440" tIns="45720" rIns="91440" bIns="45720" rtlCol="0" anchor="ctr">
            <a:normAutofit/>
          </a:bodyPr>
          <a:lstStyle/>
          <a:p>
            <a:r>
              <a:rPr lang="en-US" sz="3200" dirty="0">
                <a:solidFill>
                  <a:srgbClr val="005C82"/>
                </a:solidFill>
                <a:cs typeface="+mj-cs"/>
              </a:rPr>
              <a:t>Key BIL Opportunity: Repurposing Fossil Assets</a:t>
            </a:r>
          </a:p>
        </p:txBody>
      </p:sp>
      <p:pic>
        <p:nvPicPr>
          <p:cNvPr id="5" name="Picture 4" descr="What should coal communities do when power plants shut down? Ask Germany. -  Vox">
            <a:extLst>
              <a:ext uri="{FF2B5EF4-FFF2-40B4-BE49-F238E27FC236}">
                <a16:creationId xmlns:a16="http://schemas.microsoft.com/office/drawing/2014/main" id="{BBD4BAEC-34A9-4CDD-A77E-CA16871016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81695" y="1673069"/>
            <a:ext cx="2549274" cy="143490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Mount Storm Power Station - Wikipedia">
            <a:extLst>
              <a:ext uri="{FF2B5EF4-FFF2-40B4-BE49-F238E27FC236}">
                <a16:creationId xmlns:a16="http://schemas.microsoft.com/office/drawing/2014/main" id="{D1961C0E-1093-45FD-B35D-C3B7452E4F3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63986" y="2643529"/>
            <a:ext cx="2549274" cy="16890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72692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06B2AB3-2551-4F64-B232-959DDE240C28}"/>
              </a:ext>
            </a:extLst>
          </p:cNvPr>
          <p:cNvSpPr>
            <a:spLocks noGrp="1"/>
          </p:cNvSpPr>
          <p:nvPr>
            <p:ph type="subTitle" idx="13"/>
          </p:nvPr>
        </p:nvSpPr>
        <p:spPr/>
        <p:txBody>
          <a:bodyPr/>
          <a:lstStyle/>
          <a:p>
            <a:endParaRPr lang="en-US" dirty="0"/>
          </a:p>
        </p:txBody>
      </p:sp>
      <p:sp>
        <p:nvSpPr>
          <p:cNvPr id="3" name="Title 2">
            <a:extLst>
              <a:ext uri="{FF2B5EF4-FFF2-40B4-BE49-F238E27FC236}">
                <a16:creationId xmlns:a16="http://schemas.microsoft.com/office/drawing/2014/main" id="{97C630D1-4EF3-49FE-9E28-82944A7791DE}"/>
              </a:ext>
            </a:extLst>
          </p:cNvPr>
          <p:cNvSpPr>
            <a:spLocks noGrp="1"/>
          </p:cNvSpPr>
          <p:nvPr>
            <p:ph type="title"/>
          </p:nvPr>
        </p:nvSpPr>
        <p:spPr>
          <a:xfrm>
            <a:off x="567891" y="122926"/>
            <a:ext cx="9290484" cy="609144"/>
          </a:xfrm>
        </p:spPr>
        <p:txBody>
          <a:bodyPr vert="horz" lIns="91440" tIns="45720" rIns="91440" bIns="45720" rtlCol="0" anchor="ctr">
            <a:normAutofit/>
          </a:bodyPr>
          <a:lstStyle/>
          <a:p>
            <a:r>
              <a:rPr lang="en-US" sz="3200" dirty="0">
                <a:solidFill>
                  <a:srgbClr val="005C82"/>
                </a:solidFill>
                <a:cs typeface="+mj-cs"/>
              </a:rPr>
              <a:t>Examples of Repurposed Coal-Fired Power Plants</a:t>
            </a:r>
          </a:p>
        </p:txBody>
      </p:sp>
      <p:pic>
        <p:nvPicPr>
          <p:cNvPr id="1026" name="Picture 2">
            <a:extLst>
              <a:ext uri="{FF2B5EF4-FFF2-40B4-BE49-F238E27FC236}">
                <a16:creationId xmlns:a16="http://schemas.microsoft.com/office/drawing/2014/main" id="{4B0026D3-B099-48B1-BB2E-1DB596E8E9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294551"/>
            <a:ext cx="3825962" cy="222384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5">
            <a:extLst>
              <a:ext uri="{FF2B5EF4-FFF2-40B4-BE49-F238E27FC236}">
                <a16:creationId xmlns:a16="http://schemas.microsoft.com/office/drawing/2014/main" id="{A6607520-6893-44D7-92AC-ED03C5523B44}"/>
              </a:ext>
            </a:extLst>
          </p:cNvPr>
          <p:cNvSpPr txBox="1">
            <a:spLocks/>
          </p:cNvSpPr>
          <p:nvPr/>
        </p:nvSpPr>
        <p:spPr bwMode="auto">
          <a:xfrm>
            <a:off x="10062848" y="1284792"/>
            <a:ext cx="1789702" cy="19138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defTabSz="457200" rtl="0" eaLnBrk="1" fontAlgn="base" hangingPunct="1">
              <a:spcBef>
                <a:spcPct val="20000"/>
              </a:spcBef>
              <a:spcAft>
                <a:spcPct val="0"/>
              </a:spcAft>
              <a:buFont typeface="Arial" charset="0"/>
              <a:buChar char="•"/>
              <a:defRPr sz="2600" kern="1200">
                <a:solidFill>
                  <a:srgbClr val="282B2E"/>
                </a:solidFill>
                <a:latin typeface="+mj-lt"/>
                <a:ea typeface="ヒラギノ角ゴ Pro W3" charset="0"/>
                <a:cs typeface="Arial"/>
              </a:defRPr>
            </a:lvl1pPr>
            <a:lvl2pPr marL="742950" indent="-285750" algn="l" defTabSz="457200" rtl="0" eaLnBrk="1" fontAlgn="base" hangingPunct="1">
              <a:spcBef>
                <a:spcPct val="20000"/>
              </a:spcBef>
              <a:spcAft>
                <a:spcPct val="0"/>
              </a:spcAft>
              <a:buFont typeface="Arial" charset="0"/>
              <a:buChar char="–"/>
              <a:defRPr sz="2400" kern="1200">
                <a:solidFill>
                  <a:srgbClr val="282B2E"/>
                </a:solidFill>
                <a:latin typeface="+mn-lt"/>
                <a:ea typeface="ヒラギノ角ゴ Pro W3" charset="0"/>
                <a:cs typeface="Arial"/>
              </a:defRPr>
            </a:lvl2pPr>
            <a:lvl3pPr marL="1143000" indent="-228600" algn="l" defTabSz="457200" rtl="0" eaLnBrk="1" fontAlgn="base" hangingPunct="1">
              <a:spcBef>
                <a:spcPct val="20000"/>
              </a:spcBef>
              <a:spcAft>
                <a:spcPct val="0"/>
              </a:spcAft>
              <a:buFont typeface="Arial" charset="0"/>
              <a:buChar char="•"/>
              <a:defRPr sz="2200" kern="1200">
                <a:solidFill>
                  <a:srgbClr val="282B2E"/>
                </a:solidFill>
                <a:latin typeface="+mn-lt"/>
                <a:ea typeface="ヒラギノ角ゴ Pro W3" charset="0"/>
                <a:cs typeface="Arial"/>
              </a:defRPr>
            </a:lvl3pPr>
            <a:lvl4pPr marL="1600200" indent="-228600" algn="l" defTabSz="457200" rtl="0" eaLnBrk="1" fontAlgn="base" hangingPunct="1">
              <a:spcBef>
                <a:spcPct val="20000"/>
              </a:spcBef>
              <a:spcAft>
                <a:spcPct val="0"/>
              </a:spcAft>
              <a:buFont typeface="Arial" charset="0"/>
              <a:buChar char="–"/>
              <a:defRPr sz="2000" kern="1200">
                <a:solidFill>
                  <a:srgbClr val="282B2E"/>
                </a:solidFill>
                <a:latin typeface="+mn-lt"/>
                <a:ea typeface="ヒラギノ角ゴ Pro W3" charset="0"/>
                <a:cs typeface="Arial"/>
              </a:defRPr>
            </a:lvl4pPr>
            <a:lvl5pPr marL="2057400" indent="-228600" algn="l" defTabSz="457200" rtl="0" eaLnBrk="1" fontAlgn="base" hangingPunct="1">
              <a:spcBef>
                <a:spcPct val="20000"/>
              </a:spcBef>
              <a:spcAft>
                <a:spcPct val="0"/>
              </a:spcAft>
              <a:buFont typeface="Arial" charset="0"/>
              <a:buChar char="»"/>
              <a:defRPr kern="1200">
                <a:solidFill>
                  <a:srgbClr val="282B2E"/>
                </a:solidFill>
                <a:latin typeface="+mn-lt"/>
                <a:ea typeface="ヒラギノ角ゴ Pro W3"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charset="0"/>
              <a:buNone/>
            </a:pPr>
            <a:r>
              <a:rPr lang="en-US" sz="1400" b="1" i="0" dirty="0">
                <a:solidFill>
                  <a:srgbClr val="333333"/>
                </a:solidFill>
                <a:effectLst/>
                <a:latin typeface="+mn-lt"/>
              </a:rPr>
              <a:t>ENGIE North America and Holyoke Gas &amp; Electric:</a:t>
            </a:r>
            <a:r>
              <a:rPr lang="en-US" sz="1400" b="0" i="0" dirty="0">
                <a:solidFill>
                  <a:srgbClr val="333333"/>
                </a:solidFill>
                <a:effectLst/>
                <a:latin typeface="+mn-lt"/>
              </a:rPr>
              <a:t> The largest energy storage system (with solar) in Massachusetts, located at the site of the old Mt. Tom power plant.</a:t>
            </a:r>
            <a:endParaRPr lang="en-US" sz="1400" dirty="0">
              <a:latin typeface="+mn-lt"/>
            </a:endParaRPr>
          </a:p>
        </p:txBody>
      </p:sp>
      <p:grpSp>
        <p:nvGrpSpPr>
          <p:cNvPr id="9" name="object 2">
            <a:extLst>
              <a:ext uri="{FF2B5EF4-FFF2-40B4-BE49-F238E27FC236}">
                <a16:creationId xmlns:a16="http://schemas.microsoft.com/office/drawing/2014/main" id="{BF4C2046-382C-4500-B3EE-A53936E06311}"/>
              </a:ext>
            </a:extLst>
          </p:cNvPr>
          <p:cNvGrpSpPr/>
          <p:nvPr/>
        </p:nvGrpSpPr>
        <p:grpSpPr>
          <a:xfrm>
            <a:off x="243782" y="1275033"/>
            <a:ext cx="3785294" cy="2230167"/>
            <a:chOff x="0" y="904239"/>
            <a:chExt cx="12192000" cy="5740400"/>
          </a:xfrm>
        </p:grpSpPr>
        <p:pic>
          <p:nvPicPr>
            <p:cNvPr id="10" name="object 3">
              <a:extLst>
                <a:ext uri="{FF2B5EF4-FFF2-40B4-BE49-F238E27FC236}">
                  <a16:creationId xmlns:a16="http://schemas.microsoft.com/office/drawing/2014/main" id="{298F523C-75B9-43FF-B1EB-86FAFE86487C}"/>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182879" y="5933439"/>
              <a:ext cx="2255520" cy="619760"/>
            </a:xfrm>
            <a:prstGeom prst="rect">
              <a:avLst/>
            </a:prstGeom>
          </p:spPr>
        </p:pic>
        <p:pic>
          <p:nvPicPr>
            <p:cNvPr id="11" name="object 4">
              <a:extLst>
                <a:ext uri="{FF2B5EF4-FFF2-40B4-BE49-F238E27FC236}">
                  <a16:creationId xmlns:a16="http://schemas.microsoft.com/office/drawing/2014/main" id="{BBB5BA9B-861E-483A-BD08-7C8A0BF6A454}"/>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0" y="904239"/>
              <a:ext cx="12191999" cy="5740400"/>
            </a:xfrm>
            <a:prstGeom prst="rect">
              <a:avLst/>
            </a:prstGeom>
          </p:spPr>
        </p:pic>
      </p:grpSp>
      <p:pic>
        <p:nvPicPr>
          <p:cNvPr id="1028" name="Picture 4" descr="Powerhouse Eatery">
            <a:extLst>
              <a:ext uri="{FF2B5EF4-FFF2-40B4-BE49-F238E27FC236}">
                <a16:creationId xmlns:a16="http://schemas.microsoft.com/office/drawing/2014/main" id="{3E134799-B263-4EE8-BCC3-17D38FDB54A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3429" y="3763926"/>
            <a:ext cx="3730459" cy="2379700"/>
          </a:xfrm>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5">
            <a:extLst>
              <a:ext uri="{FF2B5EF4-FFF2-40B4-BE49-F238E27FC236}">
                <a16:creationId xmlns:a16="http://schemas.microsoft.com/office/drawing/2014/main" id="{55ABF748-B5A5-4D7A-9591-C57A50733DAC}"/>
              </a:ext>
            </a:extLst>
          </p:cNvPr>
          <p:cNvSpPr txBox="1">
            <a:spLocks/>
          </p:cNvSpPr>
          <p:nvPr/>
        </p:nvSpPr>
        <p:spPr bwMode="auto">
          <a:xfrm>
            <a:off x="4220358" y="3763925"/>
            <a:ext cx="1875642" cy="19138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defTabSz="457200" rtl="0" eaLnBrk="1" fontAlgn="base" hangingPunct="1">
              <a:spcBef>
                <a:spcPct val="20000"/>
              </a:spcBef>
              <a:spcAft>
                <a:spcPct val="0"/>
              </a:spcAft>
              <a:buFont typeface="Arial" charset="0"/>
              <a:buChar char="•"/>
              <a:defRPr sz="2600" kern="1200">
                <a:solidFill>
                  <a:srgbClr val="282B2E"/>
                </a:solidFill>
                <a:latin typeface="+mj-lt"/>
                <a:ea typeface="ヒラギノ角ゴ Pro W3" charset="0"/>
                <a:cs typeface="Arial"/>
              </a:defRPr>
            </a:lvl1pPr>
            <a:lvl2pPr marL="742950" indent="-285750" algn="l" defTabSz="457200" rtl="0" eaLnBrk="1" fontAlgn="base" hangingPunct="1">
              <a:spcBef>
                <a:spcPct val="20000"/>
              </a:spcBef>
              <a:spcAft>
                <a:spcPct val="0"/>
              </a:spcAft>
              <a:buFont typeface="Arial" charset="0"/>
              <a:buChar char="–"/>
              <a:defRPr sz="2400" kern="1200">
                <a:solidFill>
                  <a:srgbClr val="282B2E"/>
                </a:solidFill>
                <a:latin typeface="+mn-lt"/>
                <a:ea typeface="ヒラギノ角ゴ Pro W3" charset="0"/>
                <a:cs typeface="Arial"/>
              </a:defRPr>
            </a:lvl2pPr>
            <a:lvl3pPr marL="1143000" indent="-228600" algn="l" defTabSz="457200" rtl="0" eaLnBrk="1" fontAlgn="base" hangingPunct="1">
              <a:spcBef>
                <a:spcPct val="20000"/>
              </a:spcBef>
              <a:spcAft>
                <a:spcPct val="0"/>
              </a:spcAft>
              <a:buFont typeface="Arial" charset="0"/>
              <a:buChar char="•"/>
              <a:defRPr sz="2200" kern="1200">
                <a:solidFill>
                  <a:srgbClr val="282B2E"/>
                </a:solidFill>
                <a:latin typeface="+mn-lt"/>
                <a:ea typeface="ヒラギノ角ゴ Pro W3" charset="0"/>
                <a:cs typeface="Arial"/>
              </a:defRPr>
            </a:lvl3pPr>
            <a:lvl4pPr marL="1600200" indent="-228600" algn="l" defTabSz="457200" rtl="0" eaLnBrk="1" fontAlgn="base" hangingPunct="1">
              <a:spcBef>
                <a:spcPct val="20000"/>
              </a:spcBef>
              <a:spcAft>
                <a:spcPct val="0"/>
              </a:spcAft>
              <a:buFont typeface="Arial" charset="0"/>
              <a:buChar char="–"/>
              <a:defRPr sz="2000" kern="1200">
                <a:solidFill>
                  <a:srgbClr val="282B2E"/>
                </a:solidFill>
                <a:latin typeface="+mn-lt"/>
                <a:ea typeface="ヒラギノ角ゴ Pro W3" charset="0"/>
                <a:cs typeface="Arial"/>
              </a:defRPr>
            </a:lvl4pPr>
            <a:lvl5pPr marL="2057400" indent="-228600" algn="l" defTabSz="457200" rtl="0" eaLnBrk="1" fontAlgn="base" hangingPunct="1">
              <a:spcBef>
                <a:spcPct val="20000"/>
              </a:spcBef>
              <a:spcAft>
                <a:spcPct val="0"/>
              </a:spcAft>
              <a:buFont typeface="Arial" charset="0"/>
              <a:buChar char="»"/>
              <a:defRPr kern="1200">
                <a:solidFill>
                  <a:srgbClr val="282B2E"/>
                </a:solidFill>
                <a:latin typeface="+mn-lt"/>
                <a:ea typeface="ヒラギノ角ゴ Pro W3"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charset="0"/>
              <a:buNone/>
            </a:pPr>
            <a:r>
              <a:rPr lang="en-US" sz="1400" b="1" dirty="0">
                <a:latin typeface="+mn-lt"/>
              </a:rPr>
              <a:t>The Powerhouse Eatery: </a:t>
            </a:r>
            <a:r>
              <a:rPr lang="en-US" sz="1400" dirty="0">
                <a:latin typeface="+mn-lt"/>
              </a:rPr>
              <a:t>A former coal powerplant turned into a restaurant in Pennsylvania.</a:t>
            </a:r>
            <a:endParaRPr lang="en-US" sz="1400" dirty="0">
              <a:solidFill>
                <a:schemeClr val="tx1"/>
              </a:solidFill>
              <a:latin typeface="+mn-lt"/>
              <a:cs typeface="+mn-cs"/>
            </a:endParaRPr>
          </a:p>
          <a:p>
            <a:pPr marL="0" indent="0">
              <a:buFont typeface="Arial" charset="0"/>
              <a:buNone/>
            </a:pPr>
            <a:endParaRPr lang="en-US" dirty="0"/>
          </a:p>
        </p:txBody>
      </p:sp>
      <p:pic>
        <p:nvPicPr>
          <p:cNvPr id="1030" name="Picture 6" descr="Petcoke and biofuels will be feedstocks to create hydrogen at facility in Indiana. It will also capture and bury the CO2. ">
            <a:extLst>
              <a:ext uri="{FF2B5EF4-FFF2-40B4-BE49-F238E27FC236}">
                <a16:creationId xmlns:a16="http://schemas.microsoft.com/office/drawing/2014/main" id="{10813E53-3B20-4CDE-9823-C2A542FF61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90280" y="3751769"/>
            <a:ext cx="3825962" cy="2404013"/>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5">
            <a:extLst>
              <a:ext uri="{FF2B5EF4-FFF2-40B4-BE49-F238E27FC236}">
                <a16:creationId xmlns:a16="http://schemas.microsoft.com/office/drawing/2014/main" id="{0EE5E3A7-004B-4495-841E-91EE62F928AD}"/>
              </a:ext>
            </a:extLst>
          </p:cNvPr>
          <p:cNvSpPr txBox="1">
            <a:spLocks/>
          </p:cNvSpPr>
          <p:nvPr/>
        </p:nvSpPr>
        <p:spPr bwMode="auto">
          <a:xfrm>
            <a:off x="10033548" y="3763925"/>
            <a:ext cx="1855023" cy="23113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defTabSz="457200" rtl="0" eaLnBrk="1" fontAlgn="base" hangingPunct="1">
              <a:spcBef>
                <a:spcPct val="20000"/>
              </a:spcBef>
              <a:spcAft>
                <a:spcPct val="0"/>
              </a:spcAft>
              <a:buFont typeface="Arial" charset="0"/>
              <a:buChar char="•"/>
              <a:defRPr sz="2600" kern="1200">
                <a:solidFill>
                  <a:srgbClr val="282B2E"/>
                </a:solidFill>
                <a:latin typeface="+mj-lt"/>
                <a:ea typeface="ヒラギノ角ゴ Pro W3" charset="0"/>
                <a:cs typeface="Arial"/>
              </a:defRPr>
            </a:lvl1pPr>
            <a:lvl2pPr marL="742950" indent="-285750" algn="l" defTabSz="457200" rtl="0" eaLnBrk="1" fontAlgn="base" hangingPunct="1">
              <a:spcBef>
                <a:spcPct val="20000"/>
              </a:spcBef>
              <a:spcAft>
                <a:spcPct val="0"/>
              </a:spcAft>
              <a:buFont typeface="Arial" charset="0"/>
              <a:buChar char="–"/>
              <a:defRPr sz="2400" kern="1200">
                <a:solidFill>
                  <a:srgbClr val="282B2E"/>
                </a:solidFill>
                <a:latin typeface="+mn-lt"/>
                <a:ea typeface="ヒラギノ角ゴ Pro W3" charset="0"/>
                <a:cs typeface="Arial"/>
              </a:defRPr>
            </a:lvl2pPr>
            <a:lvl3pPr marL="1143000" indent="-228600" algn="l" defTabSz="457200" rtl="0" eaLnBrk="1" fontAlgn="base" hangingPunct="1">
              <a:spcBef>
                <a:spcPct val="20000"/>
              </a:spcBef>
              <a:spcAft>
                <a:spcPct val="0"/>
              </a:spcAft>
              <a:buFont typeface="Arial" charset="0"/>
              <a:buChar char="•"/>
              <a:defRPr sz="2200" kern="1200">
                <a:solidFill>
                  <a:srgbClr val="282B2E"/>
                </a:solidFill>
                <a:latin typeface="+mn-lt"/>
                <a:ea typeface="ヒラギノ角ゴ Pro W3" charset="0"/>
                <a:cs typeface="Arial"/>
              </a:defRPr>
            </a:lvl3pPr>
            <a:lvl4pPr marL="1600200" indent="-228600" algn="l" defTabSz="457200" rtl="0" eaLnBrk="1" fontAlgn="base" hangingPunct="1">
              <a:spcBef>
                <a:spcPct val="20000"/>
              </a:spcBef>
              <a:spcAft>
                <a:spcPct val="0"/>
              </a:spcAft>
              <a:buFont typeface="Arial" charset="0"/>
              <a:buChar char="–"/>
              <a:defRPr sz="2000" kern="1200">
                <a:solidFill>
                  <a:srgbClr val="282B2E"/>
                </a:solidFill>
                <a:latin typeface="+mn-lt"/>
                <a:ea typeface="ヒラギノ角ゴ Pro W3" charset="0"/>
                <a:cs typeface="Arial"/>
              </a:defRPr>
            </a:lvl4pPr>
            <a:lvl5pPr marL="2057400" indent="-228600" algn="l" defTabSz="457200" rtl="0" eaLnBrk="1" fontAlgn="base" hangingPunct="1">
              <a:spcBef>
                <a:spcPct val="20000"/>
              </a:spcBef>
              <a:spcAft>
                <a:spcPct val="0"/>
              </a:spcAft>
              <a:buFont typeface="Arial" charset="0"/>
              <a:buChar char="»"/>
              <a:defRPr kern="1200">
                <a:solidFill>
                  <a:srgbClr val="282B2E"/>
                </a:solidFill>
                <a:latin typeface="+mn-lt"/>
                <a:ea typeface="ヒラギノ角ゴ Pro W3"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charset="0"/>
              <a:buNone/>
            </a:pPr>
            <a:r>
              <a:rPr lang="en-US" sz="1400" b="1" i="0" dirty="0">
                <a:solidFill>
                  <a:schemeClr val="tx1"/>
                </a:solidFill>
                <a:effectLst/>
                <a:latin typeface="+mn-lt"/>
              </a:rPr>
              <a:t>Former gasification plant in West Terre Haute, Indiana</a:t>
            </a:r>
            <a:r>
              <a:rPr lang="en-US" sz="1400" i="0" dirty="0">
                <a:solidFill>
                  <a:schemeClr val="tx1"/>
                </a:solidFill>
                <a:effectLst/>
                <a:latin typeface="+mn-lt"/>
              </a:rPr>
              <a:t>: </a:t>
            </a:r>
            <a:r>
              <a:rPr lang="en-US" sz="1200" i="0" dirty="0">
                <a:solidFill>
                  <a:schemeClr val="tx1"/>
                </a:solidFill>
                <a:effectLst/>
                <a:latin typeface="+mn-lt"/>
              </a:rPr>
              <a:t>Wabash Valley Resources </a:t>
            </a:r>
            <a:r>
              <a:rPr lang="en-US" sz="1200" b="0" i="0" dirty="0">
                <a:solidFill>
                  <a:schemeClr val="tx1"/>
                </a:solidFill>
                <a:effectLst/>
                <a:latin typeface="+mn-lt"/>
              </a:rPr>
              <a:t>and Honeywell are converting the plant into a hydrogen facility. The fuel will be sold to power generators and chemical makers.</a:t>
            </a:r>
            <a:endParaRPr lang="en-US" sz="1400" dirty="0">
              <a:solidFill>
                <a:schemeClr val="tx1"/>
              </a:solidFill>
              <a:latin typeface="+mn-lt"/>
            </a:endParaRPr>
          </a:p>
        </p:txBody>
      </p:sp>
      <p:sp>
        <p:nvSpPr>
          <p:cNvPr id="16" name="Content Placeholder 15">
            <a:extLst>
              <a:ext uri="{FF2B5EF4-FFF2-40B4-BE49-F238E27FC236}">
                <a16:creationId xmlns:a16="http://schemas.microsoft.com/office/drawing/2014/main" id="{754061CC-C92C-4889-B4C7-AF36812A3F87}"/>
              </a:ext>
            </a:extLst>
          </p:cNvPr>
          <p:cNvSpPr txBox="1">
            <a:spLocks noGrp="1"/>
          </p:cNvSpPr>
          <p:nvPr>
            <p:ph idx="1"/>
          </p:nvPr>
        </p:nvSpPr>
        <p:spPr>
          <a:xfrm>
            <a:off x="4220358" y="1284792"/>
            <a:ext cx="1540361" cy="22488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latin typeface="+mn-lt"/>
              </a:rPr>
              <a:t>Mockup of the </a:t>
            </a:r>
            <a:r>
              <a:rPr lang="en-US" sz="1400" b="1" dirty="0" err="1">
                <a:solidFill>
                  <a:schemeClr val="tx1"/>
                </a:solidFill>
                <a:latin typeface="+mn-lt"/>
                <a:cs typeface="+mn-cs"/>
              </a:rPr>
              <a:t>TerraPower</a:t>
            </a:r>
            <a:r>
              <a:rPr lang="en-US" sz="1400" b="1" dirty="0">
                <a:solidFill>
                  <a:schemeClr val="tx1"/>
                </a:solidFill>
                <a:latin typeface="+mn-lt"/>
                <a:cs typeface="+mn-cs"/>
              </a:rPr>
              <a:t> 345 MW nuclear demonstration project: </a:t>
            </a:r>
            <a:r>
              <a:rPr lang="en-US" sz="1400" dirty="0">
                <a:solidFill>
                  <a:schemeClr val="tx1"/>
                </a:solidFill>
                <a:latin typeface="+mn-lt"/>
                <a:cs typeface="+mn-cs"/>
              </a:rPr>
              <a:t>A former coal generation site in Wyoming.</a:t>
            </a:r>
          </a:p>
          <a:p>
            <a:endParaRPr lang="en-US" dirty="0"/>
          </a:p>
        </p:txBody>
      </p:sp>
    </p:spTree>
    <p:extLst>
      <p:ext uri="{BB962C8B-B14F-4D97-AF65-F5344CB8AC3E}">
        <p14:creationId xmlns:p14="http://schemas.microsoft.com/office/powerpoint/2010/main" val="8429454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7117D1F-56F3-3948-B816-AF5B5149F4D5}"/>
              </a:ext>
            </a:extLst>
          </p:cNvPr>
          <p:cNvSpPr/>
          <p:nvPr/>
        </p:nvSpPr>
        <p:spPr>
          <a:xfrm>
            <a:off x="0" y="5715741"/>
            <a:ext cx="12192000" cy="4539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Dozens of new opportunities coming with the new Bipartisan Infrastructure Law (BIL)</a:t>
            </a:r>
          </a:p>
        </p:txBody>
      </p:sp>
      <p:sp>
        <p:nvSpPr>
          <p:cNvPr id="14" name="Subtitle 13">
            <a:extLst>
              <a:ext uri="{FF2B5EF4-FFF2-40B4-BE49-F238E27FC236}">
                <a16:creationId xmlns:a16="http://schemas.microsoft.com/office/drawing/2014/main" id="{87EDDE66-750E-41A3-B727-3252DB77C4BE}"/>
              </a:ext>
            </a:extLst>
          </p:cNvPr>
          <p:cNvSpPr>
            <a:spLocks noGrp="1"/>
          </p:cNvSpPr>
          <p:nvPr>
            <p:ph type="subTitle" idx="13"/>
          </p:nvPr>
        </p:nvSpPr>
        <p:spPr/>
        <p:txBody>
          <a:bodyPr/>
          <a:lstStyle/>
          <a:p>
            <a:endParaRPr lang="en-US"/>
          </a:p>
        </p:txBody>
      </p:sp>
      <p:sp>
        <p:nvSpPr>
          <p:cNvPr id="4" name="Title 3">
            <a:extLst>
              <a:ext uri="{FF2B5EF4-FFF2-40B4-BE49-F238E27FC236}">
                <a16:creationId xmlns:a16="http://schemas.microsoft.com/office/drawing/2014/main" id="{16255678-8386-4867-8D6F-620B16DB9BA4}"/>
              </a:ext>
            </a:extLst>
          </p:cNvPr>
          <p:cNvSpPr>
            <a:spLocks noGrp="1"/>
          </p:cNvSpPr>
          <p:nvPr>
            <p:ph type="title"/>
          </p:nvPr>
        </p:nvSpPr>
        <p:spPr>
          <a:xfrm>
            <a:off x="709121" y="123919"/>
            <a:ext cx="10167426" cy="1052207"/>
          </a:xfrm>
        </p:spPr>
        <p:txBody>
          <a:bodyPr>
            <a:normAutofit/>
          </a:bodyPr>
          <a:lstStyle/>
          <a:p>
            <a:r>
              <a:rPr lang="en-US" sz="3200" dirty="0"/>
              <a:t>IWG Clearinghouse: Doorway to BIL Opportunities for Energy Communities</a:t>
            </a:r>
          </a:p>
        </p:txBody>
      </p:sp>
      <p:sp>
        <p:nvSpPr>
          <p:cNvPr id="12" name="Content Placeholder 11">
            <a:extLst>
              <a:ext uri="{FF2B5EF4-FFF2-40B4-BE49-F238E27FC236}">
                <a16:creationId xmlns:a16="http://schemas.microsoft.com/office/drawing/2014/main" id="{CDC568C0-1D23-441E-A40D-D91C89B78E2A}"/>
              </a:ext>
            </a:extLst>
          </p:cNvPr>
          <p:cNvSpPr>
            <a:spLocks noGrp="1"/>
          </p:cNvSpPr>
          <p:nvPr>
            <p:ph idx="1"/>
          </p:nvPr>
        </p:nvSpPr>
        <p:spPr/>
        <p:txBody>
          <a:bodyPr/>
          <a:lstStyle/>
          <a:p>
            <a:endParaRPr lang="en-US"/>
          </a:p>
        </p:txBody>
      </p:sp>
      <p:sp>
        <p:nvSpPr>
          <p:cNvPr id="5" name="Slide Number Placeholder 4">
            <a:extLst>
              <a:ext uri="{FF2B5EF4-FFF2-40B4-BE49-F238E27FC236}">
                <a16:creationId xmlns:a16="http://schemas.microsoft.com/office/drawing/2014/main" id="{C60B5CFE-1948-4460-9F0D-E5CDEEEB434B}"/>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0EC776-4F8E-46A8-A97F-EBE2F00A8093}" type="slidenum">
              <a:rPr kumimoji="0" lang="en-US" sz="1200" b="1" i="0" u="none" strike="noStrike" kern="1200" cap="none" spc="0" normalizeH="0" baseline="0" noProof="0" smtClean="0">
                <a:ln>
                  <a:noFill/>
                </a:ln>
                <a:solidFill>
                  <a:prstClr val="white"/>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graphicFrame>
        <p:nvGraphicFramePr>
          <p:cNvPr id="8" name="Table 8">
            <a:extLst>
              <a:ext uri="{FF2B5EF4-FFF2-40B4-BE49-F238E27FC236}">
                <a16:creationId xmlns:a16="http://schemas.microsoft.com/office/drawing/2014/main" id="{436CF285-BEBB-4D9E-AD84-FFEDD275B862}"/>
              </a:ext>
            </a:extLst>
          </p:cNvPr>
          <p:cNvGraphicFramePr>
            <a:graphicFrameLocks noGrp="1"/>
          </p:cNvGraphicFramePr>
          <p:nvPr/>
        </p:nvGraphicFramePr>
        <p:xfrm>
          <a:off x="709121" y="1425180"/>
          <a:ext cx="10773759" cy="4181496"/>
        </p:xfrm>
        <a:graphic>
          <a:graphicData uri="http://schemas.openxmlformats.org/drawingml/2006/table">
            <a:tbl>
              <a:tblPr firstRow="1" bandRow="1">
                <a:tableStyleId>{5C22544A-7EE6-4342-B048-85BDC9FD1C3A}</a:tableStyleId>
              </a:tblPr>
              <a:tblGrid>
                <a:gridCol w="3591253">
                  <a:extLst>
                    <a:ext uri="{9D8B030D-6E8A-4147-A177-3AD203B41FA5}">
                      <a16:colId xmlns:a16="http://schemas.microsoft.com/office/drawing/2014/main" val="421692296"/>
                    </a:ext>
                  </a:extLst>
                </a:gridCol>
                <a:gridCol w="3591253">
                  <a:extLst>
                    <a:ext uri="{9D8B030D-6E8A-4147-A177-3AD203B41FA5}">
                      <a16:colId xmlns:a16="http://schemas.microsoft.com/office/drawing/2014/main" val="1229422887"/>
                    </a:ext>
                  </a:extLst>
                </a:gridCol>
                <a:gridCol w="3591253">
                  <a:extLst>
                    <a:ext uri="{9D8B030D-6E8A-4147-A177-3AD203B41FA5}">
                      <a16:colId xmlns:a16="http://schemas.microsoft.com/office/drawing/2014/main" val="2437359559"/>
                    </a:ext>
                  </a:extLst>
                </a:gridCol>
              </a:tblGrid>
              <a:tr h="2291736">
                <a:tc gridSpan="3">
                  <a:txBody>
                    <a:bodyPr/>
                    <a:lstStyle/>
                    <a:p>
                      <a:pPr algn="ctr"/>
                      <a:r>
                        <a:rPr lang="en-US" sz="6400" b="1" dirty="0">
                          <a:solidFill>
                            <a:schemeClr val="accent1"/>
                          </a:solidFill>
                          <a:latin typeface="Century Gothic" panose="020B0502020202020204" pitchFamily="34" charset="0"/>
                        </a:rPr>
                        <a:t>$199B+</a:t>
                      </a:r>
                    </a:p>
                    <a:p>
                      <a:pPr algn="ctr"/>
                      <a:r>
                        <a:rPr lang="en-US" sz="1600" b="1" dirty="0">
                          <a:solidFill>
                            <a:schemeClr val="tx1"/>
                          </a:solidFill>
                          <a:latin typeface="Century Gothic" panose="020B0502020202020204" pitchFamily="34" charset="0"/>
                        </a:rPr>
                        <a:t>Value of Open/Planned </a:t>
                      </a:r>
                      <a:br>
                        <a:rPr lang="en-US" sz="1600" b="1" dirty="0">
                          <a:solidFill>
                            <a:schemeClr val="tx1"/>
                          </a:solidFill>
                          <a:latin typeface="Century Gothic" panose="020B0502020202020204" pitchFamily="34" charset="0"/>
                        </a:rPr>
                      </a:br>
                      <a:r>
                        <a:rPr lang="en-US" sz="1600" b="1" dirty="0">
                          <a:solidFill>
                            <a:schemeClr val="tx1"/>
                          </a:solidFill>
                          <a:latin typeface="Century Gothic" panose="020B0502020202020204" pitchFamily="34" charset="0"/>
                        </a:rPr>
                        <a:t>Ongoing Appropriation Opportunities</a:t>
                      </a:r>
                    </a:p>
                    <a:p>
                      <a:pPr algn="ctr"/>
                      <a:endParaRPr lang="en-US" sz="1800" b="0" dirty="0">
                        <a:solidFill>
                          <a:schemeClr val="tx1"/>
                        </a:solidFill>
                        <a:latin typeface="Century Gothic" panose="020B0502020202020204" pitchFamily="34" charset="0"/>
                      </a:endParaRPr>
                    </a:p>
                    <a:p>
                      <a:pPr algn="ctr"/>
                      <a:endParaRPr lang="en-US" sz="1800" b="0" dirty="0">
                        <a:solidFill>
                          <a:schemeClr val="tx1"/>
                        </a:solidFill>
                        <a:latin typeface="Century Gothic" panose="020B0502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4148180604"/>
                  </a:ext>
                </a:extLst>
              </a:tr>
              <a:tr h="1626392">
                <a:tc>
                  <a:txBody>
                    <a:bodyPr/>
                    <a:lstStyle/>
                    <a:p>
                      <a:pPr algn="ctr"/>
                      <a:r>
                        <a:rPr lang="en-US" sz="6400" b="1" dirty="0">
                          <a:solidFill>
                            <a:srgbClr val="28BCEC"/>
                          </a:solidFill>
                          <a:latin typeface="Century Gothic" panose="020B0502020202020204" pitchFamily="34" charset="0"/>
                        </a:rPr>
                        <a:t>124</a:t>
                      </a:r>
                    </a:p>
                    <a:p>
                      <a:pPr algn="ctr"/>
                      <a:r>
                        <a:rPr lang="en-US" b="1" dirty="0">
                          <a:latin typeface="Century Gothic" panose="020B0502020202020204" pitchFamily="34" charset="0"/>
                        </a:rPr>
                        <a:t>Open/Planned </a:t>
                      </a:r>
                      <a:br>
                        <a:rPr lang="en-US" b="1" dirty="0">
                          <a:latin typeface="Century Gothic" panose="020B0502020202020204" pitchFamily="34" charset="0"/>
                        </a:rPr>
                      </a:br>
                      <a:r>
                        <a:rPr lang="en-US" b="1" dirty="0">
                          <a:latin typeface="Century Gothic" panose="020B0502020202020204" pitchFamily="34" charset="0"/>
                        </a:rPr>
                        <a:t>Ongoing Appropriation Opportunitie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6400" b="1" dirty="0">
                          <a:solidFill>
                            <a:srgbClr val="28BCEC"/>
                          </a:solidFill>
                          <a:latin typeface="Century Gothic" panose="020B0502020202020204" pitchFamily="34" charset="0"/>
                        </a:rPr>
                        <a:t>12</a:t>
                      </a:r>
                    </a:p>
                    <a:p>
                      <a:pPr algn="ctr"/>
                      <a:r>
                        <a:rPr lang="en-US" b="1" dirty="0">
                          <a:latin typeface="Century Gothic" panose="020B0502020202020204" pitchFamily="34" charset="0"/>
                        </a:rPr>
                        <a:t>Agencies </a:t>
                      </a:r>
                      <a:br>
                        <a:rPr lang="en-US" b="1" dirty="0">
                          <a:latin typeface="Century Gothic" panose="020B0502020202020204" pitchFamily="34" charset="0"/>
                        </a:rPr>
                      </a:br>
                      <a:r>
                        <a:rPr lang="en-US" b="1" dirty="0">
                          <a:latin typeface="Century Gothic" panose="020B0502020202020204" pitchFamily="34" charset="0"/>
                        </a:rPr>
                        <a:t>Represented</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6400" b="1" dirty="0">
                          <a:solidFill>
                            <a:srgbClr val="28BCEC"/>
                          </a:solidFill>
                          <a:latin typeface="Century Gothic" panose="020B0502020202020204" pitchFamily="34" charset="0"/>
                        </a:rPr>
                        <a:t>49</a:t>
                      </a:r>
                    </a:p>
                    <a:p>
                      <a:pPr algn="ctr"/>
                      <a:r>
                        <a:rPr lang="en-US" b="1" dirty="0">
                          <a:latin typeface="Century Gothic" panose="020B0502020202020204" pitchFamily="34" charset="0"/>
                        </a:rPr>
                        <a:t>Opportunities w/ </a:t>
                      </a:r>
                      <a:br>
                        <a:rPr lang="en-US" b="1" dirty="0">
                          <a:latin typeface="Century Gothic" panose="020B0502020202020204" pitchFamily="34" charset="0"/>
                        </a:rPr>
                      </a:br>
                      <a:r>
                        <a:rPr lang="en-US" b="1" dirty="0">
                          <a:latin typeface="Century Gothic" panose="020B0502020202020204" pitchFamily="34" charset="0"/>
                        </a:rPr>
                        <a:t>no cost share</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98620161"/>
                  </a:ext>
                </a:extLst>
              </a:tr>
            </a:tbl>
          </a:graphicData>
        </a:graphic>
      </p:graphicFrame>
      <p:pic>
        <p:nvPicPr>
          <p:cNvPr id="3" name="Picture 2">
            <a:extLst>
              <a:ext uri="{FF2B5EF4-FFF2-40B4-BE49-F238E27FC236}">
                <a16:creationId xmlns:a16="http://schemas.microsoft.com/office/drawing/2014/main" id="{347B8E36-5FA1-F548-BD96-663C76053EC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101418" y="1194709"/>
            <a:ext cx="3732084" cy="2189534"/>
          </a:xfrm>
          <a:prstGeom prst="rect">
            <a:avLst/>
          </a:prstGeom>
          <a:ln w="28575">
            <a:solidFill>
              <a:srgbClr val="F4B238"/>
            </a:solid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CDBCEB6E-B7BA-E24F-B2EA-B655BF8FC37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58499" y="1194710"/>
            <a:ext cx="3732084" cy="2189534"/>
          </a:xfrm>
          <a:prstGeom prst="rect">
            <a:avLst/>
          </a:prstGeom>
          <a:ln w="28575">
            <a:solidFill>
              <a:srgbClr val="F4B238"/>
            </a:solidFill>
          </a:ln>
          <a:effectLst>
            <a:outerShdw blurRad="190500" algn="tl" rotWithShape="0">
              <a:srgbClr val="000000">
                <a:alpha val="70000"/>
              </a:srgbClr>
            </a:outerShdw>
          </a:effectLst>
        </p:spPr>
      </p:pic>
      <p:cxnSp>
        <p:nvCxnSpPr>
          <p:cNvPr id="11" name="Straight Connector 10">
            <a:extLst>
              <a:ext uri="{FF2B5EF4-FFF2-40B4-BE49-F238E27FC236}">
                <a16:creationId xmlns:a16="http://schemas.microsoft.com/office/drawing/2014/main" id="{2773EA5B-CF33-084D-9E47-29C411F293CB}"/>
              </a:ext>
            </a:extLst>
          </p:cNvPr>
          <p:cNvCxnSpPr>
            <a:cxnSpLocks/>
          </p:cNvCxnSpPr>
          <p:nvPr/>
        </p:nvCxnSpPr>
        <p:spPr>
          <a:xfrm>
            <a:off x="4458586" y="3983665"/>
            <a:ext cx="0" cy="1375144"/>
          </a:xfrm>
          <a:prstGeom prst="line">
            <a:avLst/>
          </a:prstGeom>
          <a:ln w="28575">
            <a:solidFill>
              <a:srgbClr val="F4B238"/>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1DCBBFA-808C-BD44-9FD9-0026FCECD0D4}"/>
              </a:ext>
            </a:extLst>
          </p:cNvPr>
          <p:cNvCxnSpPr>
            <a:cxnSpLocks/>
          </p:cNvCxnSpPr>
          <p:nvPr/>
        </p:nvCxnSpPr>
        <p:spPr>
          <a:xfrm>
            <a:off x="7917711" y="3983665"/>
            <a:ext cx="0" cy="1375144"/>
          </a:xfrm>
          <a:prstGeom prst="line">
            <a:avLst/>
          </a:prstGeom>
          <a:ln w="28575">
            <a:solidFill>
              <a:srgbClr val="F4B238"/>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9CDA9A2D-4249-BB41-8E95-D42D5A4381E9}"/>
              </a:ext>
            </a:extLst>
          </p:cNvPr>
          <p:cNvSpPr txBox="1"/>
          <p:nvPr/>
        </p:nvSpPr>
        <p:spPr>
          <a:xfrm>
            <a:off x="3351041" y="6321885"/>
            <a:ext cx="5489917" cy="400110"/>
          </a:xfrm>
          <a:prstGeom prst="rect">
            <a:avLst/>
          </a:prstGeom>
          <a:noFill/>
        </p:spPr>
        <p:txBody>
          <a:bodyPr wrap="square">
            <a:spAutoFit/>
          </a:bodyPr>
          <a:lstStyle/>
          <a:p>
            <a:r>
              <a:rPr lang="en-US" sz="2000" b="1" dirty="0">
                <a:solidFill>
                  <a:schemeClr val="bg1"/>
                </a:solidFill>
              </a:rPr>
              <a:t>https://</a:t>
            </a:r>
            <a:r>
              <a:rPr lang="en-US" sz="2000" b="1" dirty="0" err="1">
                <a:solidFill>
                  <a:schemeClr val="bg1"/>
                </a:solidFill>
              </a:rPr>
              <a:t>energycommunities.gov</a:t>
            </a:r>
            <a:r>
              <a:rPr lang="en-US" sz="2000" b="1" dirty="0">
                <a:solidFill>
                  <a:schemeClr val="bg1"/>
                </a:solidFill>
              </a:rPr>
              <a:t>/funding</a:t>
            </a:r>
          </a:p>
        </p:txBody>
      </p:sp>
    </p:spTree>
    <p:extLst>
      <p:ext uri="{BB962C8B-B14F-4D97-AF65-F5344CB8AC3E}">
        <p14:creationId xmlns:p14="http://schemas.microsoft.com/office/powerpoint/2010/main" val="22610661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Chart&#10;&#10;Description automatically generated">
            <a:extLst>
              <a:ext uri="{FF2B5EF4-FFF2-40B4-BE49-F238E27FC236}">
                <a16:creationId xmlns:a16="http://schemas.microsoft.com/office/drawing/2014/main" id="{5B0A2D4D-5495-EA41-A751-3E33189D1E0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736" y="0"/>
            <a:ext cx="12185904" cy="6858000"/>
          </a:xfrm>
          <a:prstGeom prst="rect">
            <a:avLst/>
          </a:prstGeom>
        </p:spPr>
      </p:pic>
      <p:sp>
        <p:nvSpPr>
          <p:cNvPr id="11" name="TextBox 10">
            <a:extLst>
              <a:ext uri="{FF2B5EF4-FFF2-40B4-BE49-F238E27FC236}">
                <a16:creationId xmlns:a16="http://schemas.microsoft.com/office/drawing/2014/main" id="{D5A3CECA-352C-4D4E-AFC6-0C63470A4F46}"/>
              </a:ext>
            </a:extLst>
          </p:cNvPr>
          <p:cNvSpPr txBox="1"/>
          <p:nvPr/>
        </p:nvSpPr>
        <p:spPr>
          <a:xfrm>
            <a:off x="557047" y="535918"/>
            <a:ext cx="7346732" cy="866904"/>
          </a:xfrm>
          <a:prstGeom prst="rect">
            <a:avLst/>
          </a:prstGeom>
          <a:noFill/>
        </p:spPr>
        <p:txBody>
          <a:bodyPr vert="horz" wrap="square" rtlCol="0">
            <a:spAutoFit/>
          </a:bodyPr>
          <a:lstStyle/>
          <a:p>
            <a:pPr marL="0" marR="0" lvl="0" indent="0" algn="l" defTabSz="914400" rtl="0" eaLnBrk="1" fontAlgn="auto" latinLnBrk="0" hangingPunct="1">
              <a:lnSpc>
                <a:spcPts val="6000"/>
              </a:lnSpc>
              <a:spcBef>
                <a:spcPts val="0"/>
              </a:spcBef>
              <a:spcAft>
                <a:spcPts val="0"/>
              </a:spcAft>
              <a:buClrTx/>
              <a:buSzTx/>
              <a:buFontTx/>
              <a:buNone/>
              <a:tabLst/>
              <a:defRPr/>
            </a:pPr>
            <a:r>
              <a:rPr kumimoji="0" lang="en-US" sz="6000" b="1" i="0" u="none" strike="noStrike" kern="1200" cap="none" spc="0" normalizeH="0" baseline="0" noProof="0" dirty="0">
                <a:ln>
                  <a:noFill/>
                </a:ln>
                <a:solidFill>
                  <a:prstClr val="white"/>
                </a:solidFill>
                <a:effectLst/>
                <a:uLnTx/>
                <a:uFillTx/>
                <a:latin typeface="Tw Cen MT" panose="020B0602020104020603" pitchFamily="34" charset="77"/>
                <a:ea typeface="+mn-ea"/>
                <a:cs typeface="+mn-cs"/>
              </a:rPr>
              <a:t>Thank You!</a:t>
            </a:r>
          </a:p>
        </p:txBody>
      </p:sp>
      <p:sp>
        <p:nvSpPr>
          <p:cNvPr id="12" name="TextBox 11">
            <a:extLst>
              <a:ext uri="{FF2B5EF4-FFF2-40B4-BE49-F238E27FC236}">
                <a16:creationId xmlns:a16="http://schemas.microsoft.com/office/drawing/2014/main" id="{00A11AE0-700A-3140-B705-F85D3C56CA6A}"/>
              </a:ext>
            </a:extLst>
          </p:cNvPr>
          <p:cNvSpPr txBox="1"/>
          <p:nvPr/>
        </p:nvSpPr>
        <p:spPr>
          <a:xfrm>
            <a:off x="566141" y="1732411"/>
            <a:ext cx="7549263" cy="3170099"/>
          </a:xfrm>
          <a:prstGeom prst="rect">
            <a:avLst/>
          </a:prstGeom>
          <a:noFill/>
        </p:spPr>
        <p:txBody>
          <a:bodyPr vert="horz" wrap="square" rtlCol="0">
            <a:sp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C000"/>
                </a:solidFill>
                <a:effectLst/>
                <a:uLnTx/>
                <a:uFillTx/>
                <a:latin typeface="Tw Cen MT" panose="020B0602020104020603" pitchFamily="34" charset="77"/>
                <a:ea typeface="+mn-ea"/>
                <a:cs typeface="+mn-cs"/>
              </a:rPr>
              <a:t>Interagency Working Group on </a:t>
            </a:r>
            <a:br>
              <a:rPr kumimoji="0" lang="en-US" sz="2800" b="1" i="0" u="none" strike="noStrike" kern="1200" cap="none" spc="0" normalizeH="0" baseline="0" noProof="0" dirty="0">
                <a:ln>
                  <a:noFill/>
                </a:ln>
                <a:solidFill>
                  <a:srgbClr val="FFC000"/>
                </a:solidFill>
                <a:effectLst/>
                <a:uLnTx/>
                <a:uFillTx/>
                <a:latin typeface="Tw Cen MT" panose="020B0602020104020603" pitchFamily="34" charset="77"/>
                <a:ea typeface="+mn-ea"/>
                <a:cs typeface="+mn-cs"/>
              </a:rPr>
            </a:br>
            <a:r>
              <a:rPr kumimoji="0" lang="en-US" sz="2800" b="1" i="0" u="none" strike="noStrike" kern="1200" cap="none" spc="0" normalizeH="0" baseline="0" noProof="0" dirty="0">
                <a:ln>
                  <a:noFill/>
                </a:ln>
                <a:solidFill>
                  <a:srgbClr val="FFC000"/>
                </a:solidFill>
                <a:effectLst/>
                <a:uLnTx/>
                <a:uFillTx/>
                <a:latin typeface="Tw Cen MT" panose="020B0602020104020603" pitchFamily="34" charset="77"/>
                <a:ea typeface="+mn-ea"/>
                <a:cs typeface="+mn-cs"/>
              </a:rPr>
              <a:t>Coal and Power Plant Communities and Economic Revitalization</a:t>
            </a:r>
          </a:p>
          <a:p>
            <a:pPr marL="0" marR="0" lvl="0" indent="0" algn="l" defTabSz="914400" rtl="0" eaLnBrk="1" fontAlgn="auto" latinLnBrk="0" hangingPunct="1">
              <a:lnSpc>
                <a:spcPts val="3000"/>
              </a:lnSpc>
              <a:spcBef>
                <a:spcPts val="0"/>
              </a:spcBef>
              <a:spcAft>
                <a:spcPts val="0"/>
              </a:spcAft>
              <a:buClrTx/>
              <a:buSzTx/>
              <a:buFontTx/>
              <a:buNone/>
              <a:tabLst/>
              <a:defRPr/>
            </a:pPr>
            <a:endParaRPr lang="en-US" sz="2800" b="1" dirty="0">
              <a:solidFill>
                <a:srgbClr val="FFC000"/>
              </a:solidFill>
              <a:latin typeface="Tw Cen MT" panose="020B0602020104020603" pitchFamily="34" charset="77"/>
            </a:endParaRPr>
          </a:p>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2800" b="1" i="1" u="none" strike="noStrike" kern="1200" cap="none" spc="0" normalizeH="0" baseline="0" noProof="0" dirty="0">
                <a:ln>
                  <a:noFill/>
                </a:ln>
                <a:solidFill>
                  <a:srgbClr val="FFC000"/>
                </a:solidFill>
                <a:effectLst/>
                <a:uLnTx/>
                <a:uFillTx/>
                <a:latin typeface="Tw Cen MT" panose="020B0602020104020603" pitchFamily="34" charset="77"/>
                <a:ea typeface="+mn-ea"/>
                <a:cs typeface="+mn-cs"/>
              </a:rPr>
              <a:t>For all Infrastructure Bill-related question please reach out to our regional specialists: </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2800" b="1" i="1" u="none" strike="noStrike" kern="1200" cap="none" spc="0" normalizeH="0" baseline="0" noProof="0" dirty="0">
                <a:ln>
                  <a:noFill/>
                </a:ln>
                <a:solidFill>
                  <a:srgbClr val="FFC000"/>
                </a:solidFill>
                <a:effectLst/>
                <a:uLnTx/>
                <a:uFillTx/>
                <a:latin typeface="Tw Cen MT" panose="020B0602020104020603" pitchFamily="34" charset="77"/>
                <a:ea typeface="+mn-ea"/>
                <a:cs typeface="+mn-cs"/>
              </a:rPr>
              <a:t>DL-RegionalSpecialists@hq.doe.gov</a:t>
            </a:r>
          </a:p>
          <a:p>
            <a:pPr marL="0" marR="0" lvl="0" indent="0" algn="l" defTabSz="914400" rtl="0" eaLnBrk="1" fontAlgn="auto" latinLnBrk="0" hangingPunct="1">
              <a:lnSpc>
                <a:spcPts val="3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FFC000"/>
              </a:solidFill>
              <a:effectLst/>
              <a:uLnTx/>
              <a:uFillTx/>
              <a:latin typeface="Tw Cen MT" panose="020B0602020104020603" pitchFamily="34" charset="77"/>
              <a:ea typeface="+mn-ea"/>
              <a:cs typeface="+mn-cs"/>
            </a:endParaRPr>
          </a:p>
        </p:txBody>
      </p:sp>
      <p:sp>
        <p:nvSpPr>
          <p:cNvPr id="6" name="Text Placeholder 4">
            <a:extLst>
              <a:ext uri="{FF2B5EF4-FFF2-40B4-BE49-F238E27FC236}">
                <a16:creationId xmlns:a16="http://schemas.microsoft.com/office/drawing/2014/main" id="{E7AF3E8A-6DD5-074F-A1EB-7136287C1D6C}"/>
              </a:ext>
            </a:extLst>
          </p:cNvPr>
          <p:cNvSpPr txBox="1">
            <a:spLocks/>
          </p:cNvSpPr>
          <p:nvPr>
            <p:custDataLst>
              <p:tags r:id="rId1"/>
            </p:custDataLst>
          </p:nvPr>
        </p:nvSpPr>
        <p:spPr>
          <a:xfrm>
            <a:off x="677082" y="5241723"/>
            <a:ext cx="5160963" cy="284242"/>
          </a:xfrm>
          <a:prstGeom prst="rect">
            <a:avLst/>
          </a:prstGeom>
        </p:spPr>
        <p:txBody>
          <a:bodyPr/>
          <a:lstStyle>
            <a:lvl1pPr marL="0" indent="0" algn="l" defTabSz="914400" rtl="0" eaLnBrk="1" latinLnBrk="0" hangingPunct="1">
              <a:lnSpc>
                <a:spcPct val="90000"/>
              </a:lnSpc>
              <a:spcBef>
                <a:spcPts val="200"/>
              </a:spcBef>
              <a:buFontTx/>
              <a:buNone/>
              <a:defRPr sz="1400" b="1" i="1"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Tx/>
              <a:buFontTx/>
              <a:buNone/>
              <a:tabLst/>
              <a:defRPr/>
            </a:pPr>
            <a:endParaRPr kumimoji="0" lang="en-US" sz="1500" b="1" i="0" u="none" strike="noStrike" kern="1200" cap="none" spc="0" normalizeH="0" baseline="0" noProof="0" dirty="0">
              <a:ln>
                <a:noFill/>
              </a:ln>
              <a:solidFill>
                <a:srgbClr val="003751"/>
              </a:solidFill>
              <a:effectLst/>
              <a:uLnTx/>
              <a:uFillTx/>
              <a:latin typeface="Century Gothic" panose="020B0502020202020204" pitchFamily="34" charset="0"/>
              <a:ea typeface="+mn-ea"/>
              <a:cs typeface="+mn-cs"/>
            </a:endParaRPr>
          </a:p>
        </p:txBody>
      </p:sp>
      <p:sp>
        <p:nvSpPr>
          <p:cNvPr id="7" name="Text Placeholder 4">
            <a:extLst>
              <a:ext uri="{FF2B5EF4-FFF2-40B4-BE49-F238E27FC236}">
                <a16:creationId xmlns:a16="http://schemas.microsoft.com/office/drawing/2014/main" id="{E35A10C9-2BBD-2B41-86A8-7159CD71BC0B}"/>
              </a:ext>
            </a:extLst>
          </p:cNvPr>
          <p:cNvSpPr txBox="1">
            <a:spLocks/>
          </p:cNvSpPr>
          <p:nvPr>
            <p:custDataLst>
              <p:tags r:id="rId2"/>
            </p:custDataLst>
          </p:nvPr>
        </p:nvSpPr>
        <p:spPr>
          <a:xfrm>
            <a:off x="677083" y="5525964"/>
            <a:ext cx="4628670" cy="796117"/>
          </a:xfrm>
          <a:prstGeom prst="rect">
            <a:avLst/>
          </a:prstGeom>
        </p:spPr>
        <p:txBody>
          <a:bodyPr/>
          <a:lstStyle>
            <a:lvl1pPr marL="0" indent="0" algn="l" defTabSz="914400" rtl="0" eaLnBrk="1" latinLnBrk="0" hangingPunct="1">
              <a:lnSpc>
                <a:spcPct val="90000"/>
              </a:lnSpc>
              <a:spcBef>
                <a:spcPts val="200"/>
              </a:spcBef>
              <a:buFontTx/>
              <a:buNone/>
              <a:defRPr sz="1400" i="1"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defRPr/>
            </a:pPr>
            <a:endParaRPr lang="en-US" sz="1100" i="0" dirty="0">
              <a:solidFill>
                <a:prstClr val="black"/>
              </a:solidFill>
            </a:endParaRPr>
          </a:p>
        </p:txBody>
      </p:sp>
      <p:sp>
        <p:nvSpPr>
          <p:cNvPr id="2" name="Slide Number Placeholder 1">
            <a:extLst>
              <a:ext uri="{FF2B5EF4-FFF2-40B4-BE49-F238E27FC236}">
                <a16:creationId xmlns:a16="http://schemas.microsoft.com/office/drawing/2014/main" id="{BC299518-7EB8-46CE-A7AD-318768E5A5DE}"/>
              </a:ext>
            </a:extLst>
          </p:cNvPr>
          <p:cNvSpPr>
            <a:spLocks noGrp="1"/>
          </p:cNvSpPr>
          <p:nvPr>
            <p:ph type="sldNum" sz="quarter" idx="12"/>
          </p:nvPr>
        </p:nvSpPr>
        <p:spPr>
          <a:xfrm>
            <a:off x="9162309" y="6359962"/>
            <a:ext cx="2743200" cy="365125"/>
          </a:xfrm>
        </p:spPr>
        <p:txBody>
          <a:bodyPr/>
          <a:lstStyle/>
          <a:p>
            <a:fld id="{C07BE98E-E6B9-4C86-9135-DA6B27DC0BC4}" type="slidenum">
              <a:rPr lang="en-US" smtClean="0">
                <a:solidFill>
                  <a:schemeClr val="bg1"/>
                </a:solidFill>
              </a:rPr>
              <a:t>26</a:t>
            </a:fld>
            <a:endParaRPr lang="en-US" dirty="0">
              <a:solidFill>
                <a:schemeClr val="bg1"/>
              </a:solidFill>
            </a:endParaRPr>
          </a:p>
        </p:txBody>
      </p:sp>
      <p:pic>
        <p:nvPicPr>
          <p:cNvPr id="10" name="Picture 9">
            <a:extLst>
              <a:ext uri="{FF2B5EF4-FFF2-40B4-BE49-F238E27FC236}">
                <a16:creationId xmlns:a16="http://schemas.microsoft.com/office/drawing/2014/main" id="{C16BCF37-8D09-4E78-A367-10AA89821F7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33909" y="175713"/>
            <a:ext cx="1357812" cy="1357812"/>
          </a:xfrm>
          <a:prstGeom prst="rect">
            <a:avLst/>
          </a:prstGeom>
        </p:spPr>
      </p:pic>
      <p:grpSp>
        <p:nvGrpSpPr>
          <p:cNvPr id="13" name="Group 12">
            <a:extLst>
              <a:ext uri="{FF2B5EF4-FFF2-40B4-BE49-F238E27FC236}">
                <a16:creationId xmlns:a16="http://schemas.microsoft.com/office/drawing/2014/main" id="{094EA1F5-DC84-42EF-99AC-A55F7B803F2C}"/>
              </a:ext>
            </a:extLst>
          </p:cNvPr>
          <p:cNvGrpSpPr/>
          <p:nvPr/>
        </p:nvGrpSpPr>
        <p:grpSpPr>
          <a:xfrm>
            <a:off x="236033" y="5638654"/>
            <a:ext cx="284243" cy="284243"/>
            <a:chOff x="6384032" y="3278924"/>
            <a:chExt cx="798148" cy="798148"/>
          </a:xfrm>
        </p:grpSpPr>
        <p:sp>
          <p:nvSpPr>
            <p:cNvPr id="14" name="Oval 13">
              <a:extLst>
                <a:ext uri="{FF2B5EF4-FFF2-40B4-BE49-F238E27FC236}">
                  <a16:creationId xmlns:a16="http://schemas.microsoft.com/office/drawing/2014/main" id="{77F8E232-7073-4D66-B433-23A7C11A3662}"/>
                </a:ext>
              </a:extLst>
            </p:cNvPr>
            <p:cNvSpPr/>
            <p:nvPr/>
          </p:nvSpPr>
          <p:spPr>
            <a:xfrm>
              <a:off x="6384032" y="3278924"/>
              <a:ext cx="798148" cy="798148"/>
            </a:xfrm>
            <a:prstGeom prst="ellipse">
              <a:avLst/>
            </a:prstGeom>
            <a:gradFill flip="none" rotWithShape="1">
              <a:gsLst>
                <a:gs pos="0">
                  <a:srgbClr val="F4B238">
                    <a:shade val="30000"/>
                    <a:satMod val="115000"/>
                  </a:srgbClr>
                </a:gs>
                <a:gs pos="50000">
                  <a:srgbClr val="F4B238">
                    <a:shade val="67500"/>
                    <a:satMod val="115000"/>
                  </a:srgbClr>
                </a:gs>
                <a:gs pos="100000">
                  <a:srgbClr val="F4B238">
                    <a:shade val="100000"/>
                    <a:satMod val="115000"/>
                  </a:srgbClr>
                </a:gs>
              </a:gsLst>
              <a:path path="circle">
                <a:fillToRect l="100000" b="100000"/>
              </a:path>
              <a:tileRect t="-100000" r="-100000"/>
            </a:gradFill>
            <a:ln>
              <a:noFill/>
            </a:ln>
            <a:effectLst>
              <a:outerShdw dist="38100" dir="324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8">
              <a:extLst>
                <a:ext uri="{FF2B5EF4-FFF2-40B4-BE49-F238E27FC236}">
                  <a16:creationId xmlns:a16="http://schemas.microsoft.com/office/drawing/2014/main" id="{15D9F40C-96BF-4A7A-BE6E-D870B73721C9}"/>
                </a:ext>
              </a:extLst>
            </p:cNvPr>
            <p:cNvSpPr>
              <a:spLocks/>
            </p:cNvSpPr>
            <p:nvPr/>
          </p:nvSpPr>
          <p:spPr bwMode="auto">
            <a:xfrm>
              <a:off x="6642073" y="3479660"/>
              <a:ext cx="244475" cy="414338"/>
            </a:xfrm>
            <a:custGeom>
              <a:avLst/>
              <a:gdLst>
                <a:gd name="T0" fmla="*/ 217 w 339"/>
                <a:gd name="T1" fmla="*/ 437 h 535"/>
                <a:gd name="T2" fmla="*/ 196 w 339"/>
                <a:gd name="T3" fmla="*/ 414 h 535"/>
                <a:gd name="T4" fmla="*/ 193 w 339"/>
                <a:gd name="T5" fmla="*/ 356 h 535"/>
                <a:gd name="T6" fmla="*/ 193 w 339"/>
                <a:gd name="T7" fmla="*/ 219 h 535"/>
                <a:gd name="T8" fmla="*/ 318 w 339"/>
                <a:gd name="T9" fmla="*/ 219 h 535"/>
                <a:gd name="T10" fmla="*/ 318 w 339"/>
                <a:gd name="T11" fmla="*/ 124 h 535"/>
                <a:gd name="T12" fmla="*/ 193 w 339"/>
                <a:gd name="T13" fmla="*/ 124 h 535"/>
                <a:gd name="T14" fmla="*/ 193 w 339"/>
                <a:gd name="T15" fmla="*/ 0 h 535"/>
                <a:gd name="T16" fmla="*/ 116 w 339"/>
                <a:gd name="T17" fmla="*/ 0 h 535"/>
                <a:gd name="T18" fmla="*/ 98 w 339"/>
                <a:gd name="T19" fmla="*/ 68 h 535"/>
                <a:gd name="T20" fmla="*/ 61 w 339"/>
                <a:gd name="T21" fmla="*/ 114 h 535"/>
                <a:gd name="T22" fmla="*/ 0 w 339"/>
                <a:gd name="T23" fmla="*/ 144 h 535"/>
                <a:gd name="T24" fmla="*/ 0 w 339"/>
                <a:gd name="T25" fmla="*/ 219 h 535"/>
                <a:gd name="T26" fmla="*/ 74 w 339"/>
                <a:gd name="T27" fmla="*/ 219 h 535"/>
                <a:gd name="T28" fmla="*/ 74 w 339"/>
                <a:gd name="T29" fmla="*/ 407 h 535"/>
                <a:gd name="T30" fmla="*/ 81 w 339"/>
                <a:gd name="T31" fmla="*/ 463 h 535"/>
                <a:gd name="T32" fmla="*/ 109 w 339"/>
                <a:gd name="T33" fmla="*/ 499 h 535"/>
                <a:gd name="T34" fmla="*/ 158 w 339"/>
                <a:gd name="T35" fmla="*/ 525 h 535"/>
                <a:gd name="T36" fmla="*/ 216 w 339"/>
                <a:gd name="T37" fmla="*/ 535 h 535"/>
                <a:gd name="T38" fmla="*/ 276 w 339"/>
                <a:gd name="T39" fmla="*/ 528 h 535"/>
                <a:gd name="T40" fmla="*/ 339 w 339"/>
                <a:gd name="T41" fmla="*/ 505 h 535"/>
                <a:gd name="T42" fmla="*/ 339 w 339"/>
                <a:gd name="T43" fmla="*/ 421 h 535"/>
                <a:gd name="T44" fmla="*/ 257 w 339"/>
                <a:gd name="T45" fmla="*/ 448 h 535"/>
                <a:gd name="T46" fmla="*/ 217 w 339"/>
                <a:gd name="T47" fmla="*/ 43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9" h="535">
                  <a:moveTo>
                    <a:pt x="217" y="437"/>
                  </a:moveTo>
                  <a:cubicBezTo>
                    <a:pt x="208" y="432"/>
                    <a:pt x="199" y="423"/>
                    <a:pt x="196" y="414"/>
                  </a:cubicBezTo>
                  <a:cubicBezTo>
                    <a:pt x="193" y="405"/>
                    <a:pt x="193" y="387"/>
                    <a:pt x="193" y="356"/>
                  </a:cubicBezTo>
                  <a:cubicBezTo>
                    <a:pt x="193" y="219"/>
                    <a:pt x="193" y="219"/>
                    <a:pt x="193" y="219"/>
                  </a:cubicBezTo>
                  <a:cubicBezTo>
                    <a:pt x="318" y="219"/>
                    <a:pt x="318" y="219"/>
                    <a:pt x="318" y="219"/>
                  </a:cubicBezTo>
                  <a:cubicBezTo>
                    <a:pt x="318" y="124"/>
                    <a:pt x="318" y="124"/>
                    <a:pt x="318" y="124"/>
                  </a:cubicBezTo>
                  <a:cubicBezTo>
                    <a:pt x="193" y="124"/>
                    <a:pt x="193" y="124"/>
                    <a:pt x="193" y="124"/>
                  </a:cubicBezTo>
                  <a:cubicBezTo>
                    <a:pt x="193" y="0"/>
                    <a:pt x="193" y="0"/>
                    <a:pt x="193" y="0"/>
                  </a:cubicBezTo>
                  <a:cubicBezTo>
                    <a:pt x="116" y="0"/>
                    <a:pt x="116" y="0"/>
                    <a:pt x="116" y="0"/>
                  </a:cubicBezTo>
                  <a:cubicBezTo>
                    <a:pt x="113" y="28"/>
                    <a:pt x="107" y="51"/>
                    <a:pt x="98" y="68"/>
                  </a:cubicBezTo>
                  <a:cubicBezTo>
                    <a:pt x="88" y="86"/>
                    <a:pt x="76" y="101"/>
                    <a:pt x="61" y="114"/>
                  </a:cubicBezTo>
                  <a:cubicBezTo>
                    <a:pt x="46" y="127"/>
                    <a:pt x="22" y="137"/>
                    <a:pt x="0" y="144"/>
                  </a:cubicBezTo>
                  <a:cubicBezTo>
                    <a:pt x="0" y="219"/>
                    <a:pt x="0" y="219"/>
                    <a:pt x="0" y="219"/>
                  </a:cubicBezTo>
                  <a:cubicBezTo>
                    <a:pt x="74" y="219"/>
                    <a:pt x="74" y="219"/>
                    <a:pt x="74" y="219"/>
                  </a:cubicBezTo>
                  <a:cubicBezTo>
                    <a:pt x="74" y="407"/>
                    <a:pt x="74" y="407"/>
                    <a:pt x="74" y="407"/>
                  </a:cubicBezTo>
                  <a:cubicBezTo>
                    <a:pt x="74" y="431"/>
                    <a:pt x="76" y="450"/>
                    <a:pt x="81" y="463"/>
                  </a:cubicBezTo>
                  <a:cubicBezTo>
                    <a:pt x="87" y="475"/>
                    <a:pt x="96" y="488"/>
                    <a:pt x="109" y="499"/>
                  </a:cubicBezTo>
                  <a:cubicBezTo>
                    <a:pt x="123" y="510"/>
                    <a:pt x="139" y="519"/>
                    <a:pt x="158" y="525"/>
                  </a:cubicBezTo>
                  <a:cubicBezTo>
                    <a:pt x="177" y="532"/>
                    <a:pt x="191" y="535"/>
                    <a:pt x="216" y="535"/>
                  </a:cubicBezTo>
                  <a:cubicBezTo>
                    <a:pt x="237" y="535"/>
                    <a:pt x="258" y="532"/>
                    <a:pt x="276" y="528"/>
                  </a:cubicBezTo>
                  <a:cubicBezTo>
                    <a:pt x="295" y="524"/>
                    <a:pt x="316" y="516"/>
                    <a:pt x="339" y="505"/>
                  </a:cubicBezTo>
                  <a:cubicBezTo>
                    <a:pt x="339" y="421"/>
                    <a:pt x="339" y="421"/>
                    <a:pt x="339" y="421"/>
                  </a:cubicBezTo>
                  <a:cubicBezTo>
                    <a:pt x="312" y="439"/>
                    <a:pt x="285" y="448"/>
                    <a:pt x="257" y="448"/>
                  </a:cubicBezTo>
                  <a:cubicBezTo>
                    <a:pt x="242" y="448"/>
                    <a:pt x="229" y="444"/>
                    <a:pt x="217" y="4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6" name="Group 15">
            <a:extLst>
              <a:ext uri="{FF2B5EF4-FFF2-40B4-BE49-F238E27FC236}">
                <a16:creationId xmlns:a16="http://schemas.microsoft.com/office/drawing/2014/main" id="{B3705B60-AB77-45D8-B1AB-82D5CBB87CB1}"/>
              </a:ext>
            </a:extLst>
          </p:cNvPr>
          <p:cNvGrpSpPr/>
          <p:nvPr/>
        </p:nvGrpSpPr>
        <p:grpSpPr>
          <a:xfrm>
            <a:off x="229339" y="6050799"/>
            <a:ext cx="284243" cy="284243"/>
            <a:chOff x="6384032" y="5373216"/>
            <a:chExt cx="798148" cy="798148"/>
          </a:xfrm>
        </p:grpSpPr>
        <p:sp>
          <p:nvSpPr>
            <p:cNvPr id="17" name="Oval 16">
              <a:extLst>
                <a:ext uri="{FF2B5EF4-FFF2-40B4-BE49-F238E27FC236}">
                  <a16:creationId xmlns:a16="http://schemas.microsoft.com/office/drawing/2014/main" id="{1359D1FA-709E-464E-A4FC-491FB41E6939}"/>
                </a:ext>
              </a:extLst>
            </p:cNvPr>
            <p:cNvSpPr/>
            <p:nvPr/>
          </p:nvSpPr>
          <p:spPr>
            <a:xfrm>
              <a:off x="6384032" y="5373216"/>
              <a:ext cx="798148" cy="798148"/>
            </a:xfrm>
            <a:prstGeom prst="ellipse">
              <a:avLst/>
            </a:prstGeom>
            <a:gradFill flip="none" rotWithShape="1">
              <a:gsLst>
                <a:gs pos="0">
                  <a:srgbClr val="F4B238">
                    <a:shade val="30000"/>
                    <a:satMod val="115000"/>
                  </a:srgbClr>
                </a:gs>
                <a:gs pos="50000">
                  <a:srgbClr val="F4B238">
                    <a:shade val="67500"/>
                    <a:satMod val="115000"/>
                  </a:srgbClr>
                </a:gs>
                <a:gs pos="100000">
                  <a:srgbClr val="F4B238">
                    <a:shade val="100000"/>
                    <a:satMod val="115000"/>
                  </a:srgbClr>
                </a:gs>
              </a:gsLst>
              <a:path path="circle">
                <a:fillToRect l="100000" b="100000"/>
              </a:path>
              <a:tileRect t="-100000" r="-100000"/>
            </a:gradFill>
            <a:ln>
              <a:noFill/>
            </a:ln>
            <a:effectLst>
              <a:outerShdw dist="38100" dir="324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7">
              <a:extLst>
                <a:ext uri="{FF2B5EF4-FFF2-40B4-BE49-F238E27FC236}">
                  <a16:creationId xmlns:a16="http://schemas.microsoft.com/office/drawing/2014/main" id="{FEC7FAA9-88A9-4D1A-BB2D-036CFFB560FE}"/>
                </a:ext>
              </a:extLst>
            </p:cNvPr>
            <p:cNvSpPr>
              <a:spLocks/>
            </p:cNvSpPr>
            <p:nvPr/>
          </p:nvSpPr>
          <p:spPr bwMode="auto">
            <a:xfrm>
              <a:off x="6659098" y="5552025"/>
              <a:ext cx="210425" cy="440530"/>
            </a:xfrm>
            <a:custGeom>
              <a:avLst/>
              <a:gdLst>
                <a:gd name="T0" fmla="*/ 305 w 305"/>
                <a:gd name="T1" fmla="*/ 214 h 599"/>
                <a:gd name="T2" fmla="*/ 195 w 305"/>
                <a:gd name="T3" fmla="*/ 214 h 599"/>
                <a:gd name="T4" fmla="*/ 195 w 305"/>
                <a:gd name="T5" fmla="*/ 161 h 599"/>
                <a:gd name="T6" fmla="*/ 225 w 305"/>
                <a:gd name="T7" fmla="*/ 110 h 599"/>
                <a:gd name="T8" fmla="*/ 297 w 305"/>
                <a:gd name="T9" fmla="*/ 110 h 599"/>
                <a:gd name="T10" fmla="*/ 297 w 305"/>
                <a:gd name="T11" fmla="*/ 0 h 599"/>
                <a:gd name="T12" fmla="*/ 174 w 305"/>
                <a:gd name="T13" fmla="*/ 0 h 599"/>
                <a:gd name="T14" fmla="*/ 71 w 305"/>
                <a:gd name="T15" fmla="*/ 103 h 599"/>
                <a:gd name="T16" fmla="*/ 71 w 305"/>
                <a:gd name="T17" fmla="*/ 214 h 599"/>
                <a:gd name="T18" fmla="*/ 0 w 305"/>
                <a:gd name="T19" fmla="*/ 214 h 599"/>
                <a:gd name="T20" fmla="*/ 0 w 305"/>
                <a:gd name="T21" fmla="*/ 302 h 599"/>
                <a:gd name="T22" fmla="*/ 70 w 305"/>
                <a:gd name="T23" fmla="*/ 302 h 599"/>
                <a:gd name="T24" fmla="*/ 69 w 305"/>
                <a:gd name="T25" fmla="*/ 599 h 599"/>
                <a:gd name="T26" fmla="*/ 195 w 305"/>
                <a:gd name="T27" fmla="*/ 599 h 599"/>
                <a:gd name="T28" fmla="*/ 195 w 305"/>
                <a:gd name="T29" fmla="*/ 302 h 599"/>
                <a:gd name="T30" fmla="*/ 278 w 305"/>
                <a:gd name="T31" fmla="*/ 302 h 599"/>
                <a:gd name="T32" fmla="*/ 305 w 305"/>
                <a:gd name="T33" fmla="*/ 21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5" h="599">
                  <a:moveTo>
                    <a:pt x="305" y="214"/>
                  </a:moveTo>
                  <a:cubicBezTo>
                    <a:pt x="195" y="214"/>
                    <a:pt x="195" y="214"/>
                    <a:pt x="195" y="214"/>
                  </a:cubicBezTo>
                  <a:cubicBezTo>
                    <a:pt x="195" y="161"/>
                    <a:pt x="195" y="161"/>
                    <a:pt x="195" y="161"/>
                  </a:cubicBezTo>
                  <a:cubicBezTo>
                    <a:pt x="195" y="161"/>
                    <a:pt x="189" y="110"/>
                    <a:pt x="225" y="110"/>
                  </a:cubicBezTo>
                  <a:cubicBezTo>
                    <a:pt x="297" y="110"/>
                    <a:pt x="297" y="110"/>
                    <a:pt x="297" y="110"/>
                  </a:cubicBezTo>
                  <a:cubicBezTo>
                    <a:pt x="297" y="0"/>
                    <a:pt x="297" y="0"/>
                    <a:pt x="297" y="0"/>
                  </a:cubicBezTo>
                  <a:cubicBezTo>
                    <a:pt x="174" y="0"/>
                    <a:pt x="174" y="0"/>
                    <a:pt x="174" y="0"/>
                  </a:cubicBezTo>
                  <a:cubicBezTo>
                    <a:pt x="174" y="0"/>
                    <a:pt x="71" y="0"/>
                    <a:pt x="71" y="103"/>
                  </a:cubicBezTo>
                  <a:cubicBezTo>
                    <a:pt x="71" y="125"/>
                    <a:pt x="71" y="166"/>
                    <a:pt x="71" y="214"/>
                  </a:cubicBezTo>
                  <a:cubicBezTo>
                    <a:pt x="0" y="214"/>
                    <a:pt x="0" y="214"/>
                    <a:pt x="0" y="214"/>
                  </a:cubicBezTo>
                  <a:cubicBezTo>
                    <a:pt x="0" y="302"/>
                    <a:pt x="0" y="302"/>
                    <a:pt x="0" y="302"/>
                  </a:cubicBezTo>
                  <a:cubicBezTo>
                    <a:pt x="70" y="302"/>
                    <a:pt x="70" y="302"/>
                    <a:pt x="70" y="302"/>
                  </a:cubicBezTo>
                  <a:cubicBezTo>
                    <a:pt x="70" y="443"/>
                    <a:pt x="69" y="599"/>
                    <a:pt x="69" y="599"/>
                  </a:cubicBezTo>
                  <a:cubicBezTo>
                    <a:pt x="195" y="599"/>
                    <a:pt x="195" y="599"/>
                    <a:pt x="195" y="599"/>
                  </a:cubicBezTo>
                  <a:cubicBezTo>
                    <a:pt x="195" y="302"/>
                    <a:pt x="195" y="302"/>
                    <a:pt x="195" y="302"/>
                  </a:cubicBezTo>
                  <a:cubicBezTo>
                    <a:pt x="278" y="302"/>
                    <a:pt x="278" y="302"/>
                    <a:pt x="278" y="302"/>
                  </a:cubicBezTo>
                  <a:lnTo>
                    <a:pt x="305" y="21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9" name="Group 18">
            <a:extLst>
              <a:ext uri="{FF2B5EF4-FFF2-40B4-BE49-F238E27FC236}">
                <a16:creationId xmlns:a16="http://schemas.microsoft.com/office/drawing/2014/main" id="{1B2F3BEE-2A8D-4DA1-86C7-3445D1D8318A}"/>
              </a:ext>
            </a:extLst>
          </p:cNvPr>
          <p:cNvGrpSpPr/>
          <p:nvPr/>
        </p:nvGrpSpPr>
        <p:grpSpPr>
          <a:xfrm>
            <a:off x="236033" y="6431456"/>
            <a:ext cx="284243" cy="284243"/>
            <a:chOff x="6857195" y="4860039"/>
            <a:chExt cx="798148" cy="798148"/>
          </a:xfrm>
        </p:grpSpPr>
        <p:sp>
          <p:nvSpPr>
            <p:cNvPr id="20" name="Oval 19">
              <a:extLst>
                <a:ext uri="{FF2B5EF4-FFF2-40B4-BE49-F238E27FC236}">
                  <a16:creationId xmlns:a16="http://schemas.microsoft.com/office/drawing/2014/main" id="{7547AA19-6E45-41E0-8519-9F30046BE2CA}"/>
                </a:ext>
              </a:extLst>
            </p:cNvPr>
            <p:cNvSpPr/>
            <p:nvPr/>
          </p:nvSpPr>
          <p:spPr>
            <a:xfrm>
              <a:off x="6857195" y="4860039"/>
              <a:ext cx="798148" cy="798148"/>
            </a:xfrm>
            <a:prstGeom prst="ellipse">
              <a:avLst/>
            </a:prstGeom>
            <a:gradFill flip="none" rotWithShape="1">
              <a:gsLst>
                <a:gs pos="0">
                  <a:srgbClr val="F4B238">
                    <a:shade val="30000"/>
                    <a:satMod val="115000"/>
                  </a:srgbClr>
                </a:gs>
                <a:gs pos="50000">
                  <a:srgbClr val="F4B238">
                    <a:shade val="67500"/>
                    <a:satMod val="115000"/>
                  </a:srgbClr>
                </a:gs>
                <a:gs pos="100000">
                  <a:srgbClr val="F4B238">
                    <a:shade val="100000"/>
                    <a:satMod val="115000"/>
                  </a:srgbClr>
                </a:gs>
              </a:gsLst>
              <a:path path="circle">
                <a:fillToRect l="100000" b="100000"/>
              </a:path>
              <a:tileRect t="-100000" r="-100000"/>
            </a:gradFill>
            <a:ln>
              <a:noFill/>
            </a:ln>
            <a:effectLst>
              <a:outerShdw dist="38100" dir="324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Freeform 18">
              <a:extLst>
                <a:ext uri="{FF2B5EF4-FFF2-40B4-BE49-F238E27FC236}">
                  <a16:creationId xmlns:a16="http://schemas.microsoft.com/office/drawing/2014/main" id="{F8BBB814-77BF-4F37-A969-2365DA3A5359}"/>
                </a:ext>
              </a:extLst>
            </p:cNvPr>
            <p:cNvSpPr>
              <a:spLocks noEditPoints="1"/>
            </p:cNvSpPr>
            <p:nvPr/>
          </p:nvSpPr>
          <p:spPr bwMode="auto">
            <a:xfrm>
              <a:off x="7083290" y="5067067"/>
              <a:ext cx="345958" cy="353560"/>
            </a:xfrm>
            <a:custGeom>
              <a:avLst/>
              <a:gdLst>
                <a:gd name="T0" fmla="*/ 255 w 255"/>
                <a:gd name="T1" fmla="*/ 150 h 244"/>
                <a:gd name="T2" fmla="*/ 255 w 255"/>
                <a:gd name="T3" fmla="*/ 244 h 244"/>
                <a:gd name="T4" fmla="*/ 201 w 255"/>
                <a:gd name="T5" fmla="*/ 244 h 244"/>
                <a:gd name="T6" fmla="*/ 201 w 255"/>
                <a:gd name="T7" fmla="*/ 156 h 244"/>
                <a:gd name="T8" fmla="*/ 173 w 255"/>
                <a:gd name="T9" fmla="*/ 119 h 244"/>
                <a:gd name="T10" fmla="*/ 145 w 255"/>
                <a:gd name="T11" fmla="*/ 139 h 244"/>
                <a:gd name="T12" fmla="*/ 143 w 255"/>
                <a:gd name="T13" fmla="*/ 152 h 244"/>
                <a:gd name="T14" fmla="*/ 143 w 255"/>
                <a:gd name="T15" fmla="*/ 244 h 244"/>
                <a:gd name="T16" fmla="*/ 88 w 255"/>
                <a:gd name="T17" fmla="*/ 244 h 244"/>
                <a:gd name="T18" fmla="*/ 88 w 255"/>
                <a:gd name="T19" fmla="*/ 80 h 244"/>
                <a:gd name="T20" fmla="*/ 143 w 255"/>
                <a:gd name="T21" fmla="*/ 80 h 244"/>
                <a:gd name="T22" fmla="*/ 143 w 255"/>
                <a:gd name="T23" fmla="*/ 103 h 244"/>
                <a:gd name="T24" fmla="*/ 143 w 255"/>
                <a:gd name="T25" fmla="*/ 103 h 244"/>
                <a:gd name="T26" fmla="*/ 143 w 255"/>
                <a:gd name="T27" fmla="*/ 103 h 244"/>
                <a:gd name="T28" fmla="*/ 143 w 255"/>
                <a:gd name="T29" fmla="*/ 103 h 244"/>
                <a:gd name="T30" fmla="*/ 192 w 255"/>
                <a:gd name="T31" fmla="*/ 76 h 244"/>
                <a:gd name="T32" fmla="*/ 255 w 255"/>
                <a:gd name="T33" fmla="*/ 150 h 244"/>
                <a:gd name="T34" fmla="*/ 31 w 255"/>
                <a:gd name="T35" fmla="*/ 0 h 244"/>
                <a:gd name="T36" fmla="*/ 0 w 255"/>
                <a:gd name="T37" fmla="*/ 29 h 244"/>
                <a:gd name="T38" fmla="*/ 31 w 255"/>
                <a:gd name="T39" fmla="*/ 57 h 244"/>
                <a:gd name="T40" fmla="*/ 31 w 255"/>
                <a:gd name="T41" fmla="*/ 57 h 244"/>
                <a:gd name="T42" fmla="*/ 62 w 255"/>
                <a:gd name="T43" fmla="*/ 29 h 244"/>
                <a:gd name="T44" fmla="*/ 31 w 255"/>
                <a:gd name="T45" fmla="*/ 0 h 244"/>
                <a:gd name="T46" fmla="*/ 4 w 255"/>
                <a:gd name="T47" fmla="*/ 244 h 244"/>
                <a:gd name="T48" fmla="*/ 58 w 255"/>
                <a:gd name="T49" fmla="*/ 244 h 244"/>
                <a:gd name="T50" fmla="*/ 58 w 255"/>
                <a:gd name="T51" fmla="*/ 80 h 244"/>
                <a:gd name="T52" fmla="*/ 4 w 255"/>
                <a:gd name="T53" fmla="*/ 80 h 244"/>
                <a:gd name="T54" fmla="*/ 4 w 255"/>
                <a:gd name="T55"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5" h="244">
                  <a:moveTo>
                    <a:pt x="255" y="150"/>
                  </a:moveTo>
                  <a:cubicBezTo>
                    <a:pt x="255" y="244"/>
                    <a:pt x="255" y="244"/>
                    <a:pt x="255" y="244"/>
                  </a:cubicBezTo>
                  <a:cubicBezTo>
                    <a:pt x="201" y="244"/>
                    <a:pt x="201" y="244"/>
                    <a:pt x="201" y="244"/>
                  </a:cubicBezTo>
                  <a:cubicBezTo>
                    <a:pt x="201" y="156"/>
                    <a:pt x="201" y="156"/>
                    <a:pt x="201" y="156"/>
                  </a:cubicBezTo>
                  <a:cubicBezTo>
                    <a:pt x="201" y="134"/>
                    <a:pt x="193" y="119"/>
                    <a:pt x="173" y="119"/>
                  </a:cubicBezTo>
                  <a:cubicBezTo>
                    <a:pt x="158" y="119"/>
                    <a:pt x="149" y="129"/>
                    <a:pt x="145" y="139"/>
                  </a:cubicBezTo>
                  <a:cubicBezTo>
                    <a:pt x="143" y="142"/>
                    <a:pt x="143" y="147"/>
                    <a:pt x="143" y="152"/>
                  </a:cubicBezTo>
                  <a:cubicBezTo>
                    <a:pt x="143" y="244"/>
                    <a:pt x="143" y="244"/>
                    <a:pt x="143" y="244"/>
                  </a:cubicBezTo>
                  <a:cubicBezTo>
                    <a:pt x="88" y="244"/>
                    <a:pt x="88" y="244"/>
                    <a:pt x="88" y="244"/>
                  </a:cubicBezTo>
                  <a:cubicBezTo>
                    <a:pt x="88" y="244"/>
                    <a:pt x="89" y="95"/>
                    <a:pt x="88" y="80"/>
                  </a:cubicBezTo>
                  <a:cubicBezTo>
                    <a:pt x="143" y="80"/>
                    <a:pt x="143" y="80"/>
                    <a:pt x="143" y="80"/>
                  </a:cubicBezTo>
                  <a:cubicBezTo>
                    <a:pt x="143" y="103"/>
                    <a:pt x="143" y="103"/>
                    <a:pt x="143" y="103"/>
                  </a:cubicBezTo>
                  <a:cubicBezTo>
                    <a:pt x="143" y="103"/>
                    <a:pt x="143" y="103"/>
                    <a:pt x="143" y="103"/>
                  </a:cubicBezTo>
                  <a:cubicBezTo>
                    <a:pt x="143" y="103"/>
                    <a:pt x="143" y="103"/>
                    <a:pt x="143" y="103"/>
                  </a:cubicBezTo>
                  <a:cubicBezTo>
                    <a:pt x="143" y="103"/>
                    <a:pt x="143" y="103"/>
                    <a:pt x="143" y="103"/>
                  </a:cubicBezTo>
                  <a:cubicBezTo>
                    <a:pt x="150" y="92"/>
                    <a:pt x="163" y="76"/>
                    <a:pt x="192" y="76"/>
                  </a:cubicBezTo>
                  <a:cubicBezTo>
                    <a:pt x="228" y="76"/>
                    <a:pt x="255" y="99"/>
                    <a:pt x="255" y="150"/>
                  </a:cubicBezTo>
                  <a:close/>
                  <a:moveTo>
                    <a:pt x="31" y="0"/>
                  </a:moveTo>
                  <a:cubicBezTo>
                    <a:pt x="13" y="0"/>
                    <a:pt x="0" y="13"/>
                    <a:pt x="0" y="29"/>
                  </a:cubicBezTo>
                  <a:cubicBezTo>
                    <a:pt x="0" y="44"/>
                    <a:pt x="12" y="57"/>
                    <a:pt x="31" y="57"/>
                  </a:cubicBezTo>
                  <a:cubicBezTo>
                    <a:pt x="31" y="57"/>
                    <a:pt x="31" y="57"/>
                    <a:pt x="31" y="57"/>
                  </a:cubicBezTo>
                  <a:cubicBezTo>
                    <a:pt x="50" y="57"/>
                    <a:pt x="62" y="44"/>
                    <a:pt x="62" y="29"/>
                  </a:cubicBezTo>
                  <a:cubicBezTo>
                    <a:pt x="61" y="13"/>
                    <a:pt x="50" y="0"/>
                    <a:pt x="31" y="0"/>
                  </a:cubicBezTo>
                  <a:close/>
                  <a:moveTo>
                    <a:pt x="4" y="244"/>
                  </a:moveTo>
                  <a:cubicBezTo>
                    <a:pt x="58" y="244"/>
                    <a:pt x="58" y="244"/>
                    <a:pt x="58" y="244"/>
                  </a:cubicBezTo>
                  <a:cubicBezTo>
                    <a:pt x="58" y="80"/>
                    <a:pt x="58" y="80"/>
                    <a:pt x="58" y="80"/>
                  </a:cubicBezTo>
                  <a:cubicBezTo>
                    <a:pt x="4" y="80"/>
                    <a:pt x="4" y="80"/>
                    <a:pt x="4" y="80"/>
                  </a:cubicBezTo>
                  <a:lnTo>
                    <a:pt x="4" y="2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2" name="TextBox 21">
            <a:extLst>
              <a:ext uri="{FF2B5EF4-FFF2-40B4-BE49-F238E27FC236}">
                <a16:creationId xmlns:a16="http://schemas.microsoft.com/office/drawing/2014/main" id="{56412E0E-12C8-4790-AE66-30745CFC655F}"/>
              </a:ext>
            </a:extLst>
          </p:cNvPr>
          <p:cNvSpPr txBox="1"/>
          <p:nvPr/>
        </p:nvSpPr>
        <p:spPr>
          <a:xfrm>
            <a:off x="665498" y="6023175"/>
            <a:ext cx="2474818" cy="307777"/>
          </a:xfrm>
          <a:prstGeom prst="rect">
            <a:avLst/>
          </a:prstGeom>
          <a:noFill/>
        </p:spPr>
        <p:txBody>
          <a:bodyPr wrap="square" rtlCol="0">
            <a:spAutoFit/>
          </a:bodyPr>
          <a:lstStyle/>
          <a:p>
            <a:r>
              <a:rPr lang="en-US" sz="1400" b="1" dirty="0">
                <a:solidFill>
                  <a:srgbClr val="043951"/>
                </a:solidFill>
                <a:latin typeface="Century Gothic" panose="020B0502020202020204" pitchFamily="34" charset="0"/>
              </a:rPr>
              <a:t>@EnergyCommunitiesUS</a:t>
            </a:r>
          </a:p>
        </p:txBody>
      </p:sp>
      <p:sp>
        <p:nvSpPr>
          <p:cNvPr id="23" name="TextBox 22">
            <a:extLst>
              <a:ext uri="{FF2B5EF4-FFF2-40B4-BE49-F238E27FC236}">
                <a16:creationId xmlns:a16="http://schemas.microsoft.com/office/drawing/2014/main" id="{9A956AA8-B5A8-460E-8956-36D5C24E7BB3}"/>
              </a:ext>
            </a:extLst>
          </p:cNvPr>
          <p:cNvSpPr txBox="1"/>
          <p:nvPr/>
        </p:nvSpPr>
        <p:spPr>
          <a:xfrm>
            <a:off x="677082" y="6417310"/>
            <a:ext cx="2474818" cy="307777"/>
          </a:xfrm>
          <a:prstGeom prst="rect">
            <a:avLst/>
          </a:prstGeom>
          <a:noFill/>
        </p:spPr>
        <p:txBody>
          <a:bodyPr wrap="square" rtlCol="0">
            <a:spAutoFit/>
          </a:bodyPr>
          <a:lstStyle>
            <a:defPPr>
              <a:defRPr lang="en-US"/>
            </a:defPPr>
            <a:lvl1pPr>
              <a:defRPr sz="1400" b="1">
                <a:solidFill>
                  <a:srgbClr val="043951"/>
                </a:solidFill>
                <a:latin typeface="Century Gothic" panose="020B0502020202020204" pitchFamily="34" charset="0"/>
              </a:defRPr>
            </a:lvl1pPr>
          </a:lstStyle>
          <a:p>
            <a:r>
              <a:rPr lang="en-US" dirty="0"/>
              <a:t>@</a:t>
            </a:r>
            <a:r>
              <a:rPr lang="en-US" dirty="0" err="1"/>
              <a:t>energycommunitiesus</a:t>
            </a:r>
            <a:endParaRPr lang="en-US" dirty="0"/>
          </a:p>
        </p:txBody>
      </p:sp>
      <p:sp>
        <p:nvSpPr>
          <p:cNvPr id="24" name="TextBox 23">
            <a:extLst>
              <a:ext uri="{FF2B5EF4-FFF2-40B4-BE49-F238E27FC236}">
                <a16:creationId xmlns:a16="http://schemas.microsoft.com/office/drawing/2014/main" id="{C8146AEF-8F5D-426A-A842-CDCD22CE350F}"/>
              </a:ext>
            </a:extLst>
          </p:cNvPr>
          <p:cNvSpPr txBox="1"/>
          <p:nvPr/>
        </p:nvSpPr>
        <p:spPr>
          <a:xfrm>
            <a:off x="677082" y="5627637"/>
            <a:ext cx="2474818" cy="307777"/>
          </a:xfrm>
          <a:prstGeom prst="rect">
            <a:avLst/>
          </a:prstGeom>
          <a:noFill/>
        </p:spPr>
        <p:txBody>
          <a:bodyPr wrap="square" rtlCol="0">
            <a:spAutoFit/>
          </a:bodyPr>
          <a:lstStyle/>
          <a:p>
            <a:r>
              <a:rPr lang="en-US" sz="1400" b="1" dirty="0">
                <a:solidFill>
                  <a:srgbClr val="043951"/>
                </a:solidFill>
                <a:latin typeface="Century Gothic" panose="020B0502020202020204" pitchFamily="34" charset="0"/>
              </a:rPr>
              <a:t>@EnergyComm_US</a:t>
            </a:r>
          </a:p>
        </p:txBody>
      </p:sp>
      <p:sp>
        <p:nvSpPr>
          <p:cNvPr id="25" name="Oval 24">
            <a:extLst>
              <a:ext uri="{FF2B5EF4-FFF2-40B4-BE49-F238E27FC236}">
                <a16:creationId xmlns:a16="http://schemas.microsoft.com/office/drawing/2014/main" id="{A5C2C321-AD9B-415C-9155-7F065F19B4BA}"/>
              </a:ext>
            </a:extLst>
          </p:cNvPr>
          <p:cNvSpPr/>
          <p:nvPr/>
        </p:nvSpPr>
        <p:spPr>
          <a:xfrm>
            <a:off x="232920" y="5243598"/>
            <a:ext cx="284243" cy="284243"/>
          </a:xfrm>
          <a:prstGeom prst="ellipse">
            <a:avLst/>
          </a:prstGeom>
          <a:gradFill flip="none" rotWithShape="1">
            <a:gsLst>
              <a:gs pos="0">
                <a:srgbClr val="28BCEB">
                  <a:shade val="30000"/>
                  <a:satMod val="115000"/>
                </a:srgbClr>
              </a:gs>
              <a:gs pos="50000">
                <a:srgbClr val="28BCEB">
                  <a:shade val="67500"/>
                  <a:satMod val="115000"/>
                </a:srgbClr>
              </a:gs>
              <a:gs pos="100000">
                <a:srgbClr val="28BCEB">
                  <a:shade val="100000"/>
                  <a:satMod val="115000"/>
                </a:srgbClr>
              </a:gs>
            </a:gsLst>
            <a:path path="circle">
              <a:fillToRect l="100000" b="100000"/>
            </a:path>
            <a:tileRect t="-100000" r="-100000"/>
          </a:gradFill>
          <a:ln>
            <a:noFill/>
          </a:ln>
          <a:effectLst>
            <a:outerShdw dist="38100" dir="324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3BBBFC7C-5C5F-4366-AD41-47C54B16472B}"/>
              </a:ext>
            </a:extLst>
          </p:cNvPr>
          <p:cNvSpPr txBox="1"/>
          <p:nvPr/>
        </p:nvSpPr>
        <p:spPr>
          <a:xfrm>
            <a:off x="673969" y="5242847"/>
            <a:ext cx="3666804" cy="307777"/>
          </a:xfrm>
          <a:prstGeom prst="rect">
            <a:avLst/>
          </a:prstGeom>
          <a:noFill/>
        </p:spPr>
        <p:txBody>
          <a:bodyPr wrap="square" rtlCol="0">
            <a:spAutoFit/>
          </a:bodyPr>
          <a:lstStyle/>
          <a:p>
            <a:r>
              <a:rPr lang="en-US" sz="1400" b="1" dirty="0" err="1">
                <a:solidFill>
                  <a:srgbClr val="043951"/>
                </a:solidFill>
                <a:latin typeface="Century Gothic" panose="020B0502020202020204" pitchFamily="34" charset="0"/>
              </a:rPr>
              <a:t>EnergyCommunities.gov</a:t>
            </a:r>
            <a:endParaRPr lang="en-US" sz="1400" b="1" dirty="0">
              <a:solidFill>
                <a:srgbClr val="043951"/>
              </a:solidFill>
              <a:latin typeface="Century Gothic" panose="020B0502020202020204" pitchFamily="34" charset="0"/>
              <a:ea typeface="Open Sans bold" panose="020B0806030504020204" pitchFamily="34" charset="0"/>
              <a:cs typeface="Open Sans bold" panose="020B0806030504020204" pitchFamily="34" charset="0"/>
            </a:endParaRPr>
          </a:p>
        </p:txBody>
      </p:sp>
      <p:pic>
        <p:nvPicPr>
          <p:cNvPr id="28" name="Graphic 27" descr="Monitor with solid fill">
            <a:extLst>
              <a:ext uri="{FF2B5EF4-FFF2-40B4-BE49-F238E27FC236}">
                <a16:creationId xmlns:a16="http://schemas.microsoft.com/office/drawing/2014/main" id="{FD6E3904-BCA5-40FB-9A08-29EB6AC208B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78244" y="5293712"/>
            <a:ext cx="194564" cy="194564"/>
          </a:xfrm>
          <a:prstGeom prst="rect">
            <a:avLst/>
          </a:prstGeom>
        </p:spPr>
      </p:pic>
    </p:spTree>
    <p:extLst>
      <p:ext uri="{BB962C8B-B14F-4D97-AF65-F5344CB8AC3E}">
        <p14:creationId xmlns:p14="http://schemas.microsoft.com/office/powerpoint/2010/main" val="25062903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E0E0FDD-39EC-46FC-B44C-F2C867D79719}"/>
              </a:ext>
            </a:extLst>
          </p:cNvPr>
          <p:cNvSpPr>
            <a:spLocks noGrp="1"/>
          </p:cNvSpPr>
          <p:nvPr>
            <p:ph type="sldNum" sz="quarter" idx="12"/>
          </p:nvPr>
        </p:nvSpPr>
        <p:spPr/>
        <p:txBody>
          <a:bodyPr/>
          <a:lstStyle/>
          <a:p>
            <a:fld id="{B617542F-3D05-4156-9308-A42F80506B15}" type="slidenum">
              <a:rPr lang="en-US" smtClean="0"/>
              <a:pPr/>
              <a:t>3</a:t>
            </a:fld>
            <a:endParaRPr lang="en-US"/>
          </a:p>
        </p:txBody>
      </p:sp>
      <p:cxnSp>
        <p:nvCxnSpPr>
          <p:cNvPr id="3" name="Straight Connector 2">
            <a:extLst>
              <a:ext uri="{FF2B5EF4-FFF2-40B4-BE49-F238E27FC236}">
                <a16:creationId xmlns:a16="http://schemas.microsoft.com/office/drawing/2014/main" id="{7A60C5EF-8E1C-485F-A8FE-E1D532E85E5A}"/>
              </a:ext>
            </a:extLst>
          </p:cNvPr>
          <p:cNvCxnSpPr>
            <a:cxnSpLocks/>
          </p:cNvCxnSpPr>
          <p:nvPr/>
        </p:nvCxnSpPr>
        <p:spPr>
          <a:xfrm flipH="1">
            <a:off x="9551037" y="1885614"/>
            <a:ext cx="1202608"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 name="Straight Connector 3">
            <a:extLst>
              <a:ext uri="{FF2B5EF4-FFF2-40B4-BE49-F238E27FC236}">
                <a16:creationId xmlns:a16="http://schemas.microsoft.com/office/drawing/2014/main" id="{F01BA433-12D9-4F0A-B888-0FFE3BDB3639}"/>
              </a:ext>
            </a:extLst>
          </p:cNvPr>
          <p:cNvCxnSpPr>
            <a:cxnSpLocks/>
            <a:stCxn id="25" idx="2"/>
            <a:endCxn id="41" idx="0"/>
          </p:cNvCxnSpPr>
          <p:nvPr/>
        </p:nvCxnSpPr>
        <p:spPr>
          <a:xfrm>
            <a:off x="546723" y="2665862"/>
            <a:ext cx="0" cy="23126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E0955B2-782A-4C47-9417-417018B45B5D}"/>
              </a:ext>
            </a:extLst>
          </p:cNvPr>
          <p:cNvCxnSpPr>
            <a:cxnSpLocks/>
            <a:stCxn id="36" idx="2"/>
            <a:endCxn id="38" idx="0"/>
          </p:cNvCxnSpPr>
          <p:nvPr/>
        </p:nvCxnSpPr>
        <p:spPr>
          <a:xfrm>
            <a:off x="2303491" y="2663762"/>
            <a:ext cx="1776" cy="23147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7CC369A-C509-41AA-98F9-9AF784B4AEED}"/>
              </a:ext>
            </a:extLst>
          </p:cNvPr>
          <p:cNvCxnSpPr>
            <a:cxnSpLocks/>
            <a:stCxn id="18" idx="2"/>
            <a:endCxn id="21" idx="0"/>
          </p:cNvCxnSpPr>
          <p:nvPr/>
        </p:nvCxnSpPr>
        <p:spPr>
          <a:xfrm flipH="1">
            <a:off x="1425107" y="2124834"/>
            <a:ext cx="4739" cy="1731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or: Elbow 6">
            <a:extLst>
              <a:ext uri="{FF2B5EF4-FFF2-40B4-BE49-F238E27FC236}">
                <a16:creationId xmlns:a16="http://schemas.microsoft.com/office/drawing/2014/main" id="{40B5CFB4-F31A-4C88-A3E4-7766750129F5}"/>
              </a:ext>
            </a:extLst>
          </p:cNvPr>
          <p:cNvCxnSpPr>
            <a:cxnSpLocks/>
            <a:stCxn id="18" idx="2"/>
            <a:endCxn id="36" idx="0"/>
          </p:cNvCxnSpPr>
          <p:nvPr/>
        </p:nvCxnSpPr>
        <p:spPr>
          <a:xfrm rot="16200000" flipH="1">
            <a:off x="1780084" y="1774595"/>
            <a:ext cx="173168" cy="873645"/>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Connector: Elbow 7">
            <a:extLst>
              <a:ext uri="{FF2B5EF4-FFF2-40B4-BE49-F238E27FC236}">
                <a16:creationId xmlns:a16="http://schemas.microsoft.com/office/drawing/2014/main" id="{0A2CF444-6A93-48E5-BD46-240DA045081C}"/>
              </a:ext>
            </a:extLst>
          </p:cNvPr>
          <p:cNvCxnSpPr>
            <a:cxnSpLocks/>
            <a:stCxn id="18" idx="2"/>
            <a:endCxn id="25" idx="0"/>
          </p:cNvCxnSpPr>
          <p:nvPr/>
        </p:nvCxnSpPr>
        <p:spPr>
          <a:xfrm rot="5400000">
            <a:off x="900651" y="1770907"/>
            <a:ext cx="175268" cy="883123"/>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FBA9955-A05D-4CD2-ABC5-DAC58CA98891}"/>
              </a:ext>
            </a:extLst>
          </p:cNvPr>
          <p:cNvCxnSpPr>
            <a:cxnSpLocks/>
            <a:stCxn id="21" idx="2"/>
            <a:endCxn id="39" idx="0"/>
          </p:cNvCxnSpPr>
          <p:nvPr/>
        </p:nvCxnSpPr>
        <p:spPr>
          <a:xfrm>
            <a:off x="1425107" y="2663762"/>
            <a:ext cx="0" cy="233539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C9B4294-AFFD-42C5-9603-A7D49F9CF4BE}"/>
              </a:ext>
            </a:extLst>
          </p:cNvPr>
          <p:cNvCxnSpPr>
            <a:cxnSpLocks/>
            <a:stCxn id="11" idx="1"/>
          </p:cNvCxnSpPr>
          <p:nvPr/>
        </p:nvCxnSpPr>
        <p:spPr>
          <a:xfrm flipH="1">
            <a:off x="5329017" y="478401"/>
            <a:ext cx="2829929"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 name="Text Box 7">
            <a:extLst>
              <a:ext uri="{FF2B5EF4-FFF2-40B4-BE49-F238E27FC236}">
                <a16:creationId xmlns:a16="http://schemas.microsoft.com/office/drawing/2014/main" id="{565E1786-AB39-4EBD-B2FB-D698F5B2ED02}"/>
              </a:ext>
            </a:extLst>
          </p:cNvPr>
          <p:cNvSpPr txBox="1">
            <a:spLocks noChangeArrowheads="1"/>
          </p:cNvSpPr>
          <p:nvPr/>
        </p:nvSpPr>
        <p:spPr bwMode="auto">
          <a:xfrm>
            <a:off x="8158946" y="379640"/>
            <a:ext cx="1946176" cy="197522"/>
          </a:xfrm>
          <a:prstGeom prst="rect">
            <a:avLst/>
          </a:prstGeom>
          <a:noFill/>
          <a:ln w="12700" cap="flat" cmpd="sng" algn="ctr">
            <a:solidFill>
              <a:schemeClr val="tx1"/>
            </a:solidFill>
            <a:prstDash val="solid"/>
            <a:headEnd/>
            <a:tailEnd/>
          </a:ln>
          <a:effectLst/>
        </p:spPr>
        <p:txBody>
          <a:bodyPr wrap="square" anchor="ctr" anchorCtr="0">
            <a:noAutofit/>
          </a:bodyPr>
          <a:lstStyle/>
          <a:p>
            <a:pPr algn="ctr">
              <a:defRPr/>
            </a:pPr>
            <a:r>
              <a:rPr lang="en-US" sz="900">
                <a:solidFill>
                  <a:srgbClr val="000000"/>
                </a:solidFill>
                <a:latin typeface="Calibri" panose="020F0502020204030204" pitchFamily="34" charset="0"/>
                <a:ea typeface="Times New Roman" panose="02020603050405020304" pitchFamily="18" charset="0"/>
                <a:cs typeface="Calibri" panose="020F0502020204030204" pitchFamily="34" charset="0"/>
              </a:rPr>
              <a:t>Inspector General</a:t>
            </a:r>
          </a:p>
        </p:txBody>
      </p:sp>
      <p:cxnSp>
        <p:nvCxnSpPr>
          <p:cNvPr id="12" name="Straight Connector 11">
            <a:extLst>
              <a:ext uri="{FF2B5EF4-FFF2-40B4-BE49-F238E27FC236}">
                <a16:creationId xmlns:a16="http://schemas.microsoft.com/office/drawing/2014/main" id="{C1B6C73E-1323-43DB-8034-EBC435EC0531}"/>
              </a:ext>
            </a:extLst>
          </p:cNvPr>
          <p:cNvCxnSpPr>
            <a:cxnSpLocks/>
            <a:stCxn id="44" idx="1"/>
          </p:cNvCxnSpPr>
          <p:nvPr/>
        </p:nvCxnSpPr>
        <p:spPr>
          <a:xfrm flipH="1">
            <a:off x="5329017" y="730950"/>
            <a:ext cx="2829929"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3" name="Text Box 7">
            <a:extLst>
              <a:ext uri="{FF2B5EF4-FFF2-40B4-BE49-F238E27FC236}">
                <a16:creationId xmlns:a16="http://schemas.microsoft.com/office/drawing/2014/main" id="{4132A2A5-DF60-48ED-B862-82F411E1DB25}"/>
              </a:ext>
            </a:extLst>
          </p:cNvPr>
          <p:cNvSpPr txBox="1">
            <a:spLocks noChangeArrowheads="1"/>
          </p:cNvSpPr>
          <p:nvPr/>
        </p:nvSpPr>
        <p:spPr bwMode="auto">
          <a:xfrm>
            <a:off x="4209407" y="379640"/>
            <a:ext cx="1188458" cy="497678"/>
          </a:xfrm>
          <a:prstGeom prst="rect">
            <a:avLst/>
          </a:prstGeom>
          <a:solidFill>
            <a:schemeClr val="bg1"/>
          </a:solidFill>
          <a:ln w="25400" cap="flat" cmpd="sng" algn="ctr">
            <a:solidFill>
              <a:schemeClr val="tx1"/>
            </a:solidFill>
            <a:prstDash val="solid"/>
            <a:headEnd/>
            <a:tailEnd/>
          </a:ln>
          <a:effectLst/>
        </p:spPr>
        <p:txBody>
          <a:bodyPr wrap="square" anchor="ctr" anchorCtr="0">
            <a:noAutofit/>
          </a:bodyPr>
          <a:lstStyle/>
          <a:p>
            <a:pPr algn="ctr">
              <a:defRPr/>
            </a:pPr>
            <a:r>
              <a:rPr lang="en-US" sz="1000" b="1">
                <a:solidFill>
                  <a:srgbClr val="000000"/>
                </a:solidFill>
                <a:latin typeface="Calibri" panose="020F0502020204030204" pitchFamily="34" charset="0"/>
                <a:ea typeface="Times New Roman" panose="02020603050405020304" pitchFamily="18" charset="0"/>
                <a:cs typeface="Calibri" panose="020F0502020204030204" pitchFamily="34" charset="0"/>
              </a:rPr>
              <a:t>Secretary</a:t>
            </a:r>
          </a:p>
          <a:p>
            <a:pPr algn="ctr">
              <a:defRPr/>
            </a:pPr>
            <a:r>
              <a:rPr lang="en-US" sz="1000" b="1">
                <a:solidFill>
                  <a:srgbClr val="000000"/>
                </a:solidFill>
                <a:latin typeface="Calibri" panose="020F0502020204030204" pitchFamily="34" charset="0"/>
                <a:ea typeface="Times New Roman" panose="02020603050405020304" pitchFamily="18" charset="0"/>
                <a:cs typeface="Calibri" panose="020F0502020204030204" pitchFamily="34" charset="0"/>
              </a:rPr>
              <a:t>Deputy Secretary</a:t>
            </a:r>
          </a:p>
        </p:txBody>
      </p:sp>
      <p:sp>
        <p:nvSpPr>
          <p:cNvPr id="14" name="Text Box 7">
            <a:extLst>
              <a:ext uri="{FF2B5EF4-FFF2-40B4-BE49-F238E27FC236}">
                <a16:creationId xmlns:a16="http://schemas.microsoft.com/office/drawing/2014/main" id="{BF00F636-0E40-4C14-8BDD-330F4907B1C4}"/>
              </a:ext>
            </a:extLst>
          </p:cNvPr>
          <p:cNvSpPr txBox="1">
            <a:spLocks noChangeArrowheads="1"/>
          </p:cNvSpPr>
          <p:nvPr/>
        </p:nvSpPr>
        <p:spPr bwMode="auto">
          <a:xfrm>
            <a:off x="2941079" y="463124"/>
            <a:ext cx="792612" cy="330710"/>
          </a:xfrm>
          <a:prstGeom prst="rect">
            <a:avLst/>
          </a:prstGeom>
          <a:noFill/>
          <a:ln w="12700" cap="flat" cmpd="sng" algn="ctr">
            <a:solidFill>
              <a:schemeClr val="tx1"/>
            </a:solidFill>
            <a:prstDash val="solid"/>
            <a:headEnd/>
            <a:tailEnd/>
          </a:ln>
          <a:effectLst/>
        </p:spPr>
        <p:txBody>
          <a:bodyPr wrap="square" anchor="ctr" anchorCtr="0">
            <a:noAutofit/>
          </a:bodyPr>
          <a:lstStyle/>
          <a:p>
            <a:pPr algn="ctr">
              <a:defRPr/>
            </a:pPr>
            <a:r>
              <a:rPr lang="en-US" sz="900">
                <a:solidFill>
                  <a:srgbClr val="000000"/>
                </a:solidFill>
                <a:latin typeface="Calibri" panose="020F0502020204030204" pitchFamily="34" charset="0"/>
                <a:ea typeface="Times New Roman" panose="02020603050405020304" pitchFamily="18" charset="0"/>
                <a:cs typeface="Calibri" panose="020F0502020204030204" pitchFamily="34" charset="0"/>
              </a:rPr>
              <a:t>Chief of Staff</a:t>
            </a:r>
          </a:p>
        </p:txBody>
      </p:sp>
      <p:cxnSp>
        <p:nvCxnSpPr>
          <p:cNvPr id="15" name="Straight Connector 14">
            <a:extLst>
              <a:ext uri="{FF2B5EF4-FFF2-40B4-BE49-F238E27FC236}">
                <a16:creationId xmlns:a16="http://schemas.microsoft.com/office/drawing/2014/main" id="{5645ABC5-B6AD-410A-9EE7-47857F084331}"/>
              </a:ext>
            </a:extLst>
          </p:cNvPr>
          <p:cNvCxnSpPr>
            <a:cxnSpLocks/>
            <a:stCxn id="14" idx="3"/>
            <a:endCxn id="13" idx="1"/>
          </p:cNvCxnSpPr>
          <p:nvPr/>
        </p:nvCxnSpPr>
        <p:spPr>
          <a:xfrm>
            <a:off x="3733691" y="628479"/>
            <a:ext cx="47571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Box 7">
            <a:extLst>
              <a:ext uri="{FF2B5EF4-FFF2-40B4-BE49-F238E27FC236}">
                <a16:creationId xmlns:a16="http://schemas.microsoft.com/office/drawing/2014/main" id="{D02AF021-1257-42F7-8F2F-54CFB5675B68}"/>
              </a:ext>
            </a:extLst>
          </p:cNvPr>
          <p:cNvSpPr txBox="1">
            <a:spLocks noChangeArrowheads="1"/>
          </p:cNvSpPr>
          <p:nvPr/>
        </p:nvSpPr>
        <p:spPr bwMode="auto">
          <a:xfrm>
            <a:off x="3147357" y="1829483"/>
            <a:ext cx="1050759" cy="1346781"/>
          </a:xfrm>
          <a:prstGeom prst="rect">
            <a:avLst/>
          </a:prstGeom>
          <a:solidFill>
            <a:schemeClr val="bg1"/>
          </a:solidFill>
          <a:ln w="25400" cap="flat" cmpd="sng" algn="ctr">
            <a:solidFill>
              <a:schemeClr val="tx1"/>
            </a:solidFill>
            <a:prstDash val="solid"/>
            <a:headEnd/>
            <a:tailEnd/>
          </a:ln>
          <a:effectLst/>
        </p:spPr>
        <p:txBody>
          <a:bodyPr wrap="square" anchor="t" anchorCtr="0">
            <a:noAutofit/>
          </a:bodyPr>
          <a:lstStyle/>
          <a:p>
            <a:pPr algn="ctr">
              <a:defRPr/>
            </a:pPr>
            <a:r>
              <a:rPr lang="en-US" sz="900"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Under Secretary for Nuclear Security</a:t>
            </a:r>
          </a:p>
          <a:p>
            <a:pPr algn="ctr">
              <a:defRPr/>
            </a:pPr>
            <a:endParaRPr lang="en-US" sz="900" b="1"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algn="ctr">
              <a:defRPr/>
            </a:pPr>
            <a:r>
              <a:rPr lang="en-US" sz="900"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Administrator, National Nuclear Security Administration</a:t>
            </a:r>
          </a:p>
          <a:p>
            <a:pPr algn="ctr">
              <a:defRPr/>
            </a:pPr>
            <a:r>
              <a:rPr lang="en-US" sz="900"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S5)</a:t>
            </a:r>
          </a:p>
        </p:txBody>
      </p:sp>
      <p:sp>
        <p:nvSpPr>
          <p:cNvPr id="17" name="Text Box 7">
            <a:extLst>
              <a:ext uri="{FF2B5EF4-FFF2-40B4-BE49-F238E27FC236}">
                <a16:creationId xmlns:a16="http://schemas.microsoft.com/office/drawing/2014/main" id="{FBE37D42-A228-4BBF-88B3-9AB2A78B31EF}"/>
              </a:ext>
            </a:extLst>
          </p:cNvPr>
          <p:cNvSpPr txBox="1">
            <a:spLocks noChangeArrowheads="1"/>
          </p:cNvSpPr>
          <p:nvPr/>
        </p:nvSpPr>
        <p:spPr bwMode="auto">
          <a:xfrm>
            <a:off x="5443490" y="1835710"/>
            <a:ext cx="1050758" cy="652182"/>
          </a:xfrm>
          <a:prstGeom prst="rect">
            <a:avLst/>
          </a:prstGeom>
          <a:solidFill>
            <a:schemeClr val="bg1"/>
          </a:solidFill>
          <a:ln w="25400" cap="flat" cmpd="sng" algn="ctr">
            <a:solidFill>
              <a:schemeClr val="tx1"/>
            </a:solidFill>
            <a:prstDash val="solid"/>
            <a:headEnd/>
            <a:tailEnd/>
          </a:ln>
          <a:effectLst/>
        </p:spPr>
        <p:txBody>
          <a:bodyPr wrap="square" anchor="t" anchorCtr="0">
            <a:noAutofit/>
          </a:bodyPr>
          <a:lstStyle>
            <a:defPPr>
              <a:defRPr lang="en-US"/>
            </a:defPPr>
            <a:lvl1pPr algn="ctr">
              <a:defRPr sz="900" b="1">
                <a:solidFill>
                  <a:srgbClr val="000000"/>
                </a:solidFill>
                <a:ea typeface="Times New Roman" panose="02020603050405020304" pitchFamily="18" charset="0"/>
                <a:cs typeface="Times New Roman" panose="02020603050405020304" pitchFamily="18" charset="0"/>
              </a:defRPr>
            </a:lvl1pPr>
          </a:lstStyle>
          <a:p>
            <a:r>
              <a:rPr lang="en-US">
                <a:latin typeface="Calibri" panose="020F0502020204030204" pitchFamily="34" charset="0"/>
                <a:cs typeface="Calibri" panose="020F0502020204030204" pitchFamily="34" charset="0"/>
              </a:rPr>
              <a:t>Under Secretary for Science and </a:t>
            </a:r>
            <a:r>
              <a:rPr lang="en-US">
                <a:solidFill>
                  <a:schemeClr val="accent2">
                    <a:lumMod val="75000"/>
                  </a:schemeClr>
                </a:solidFill>
                <a:latin typeface="Calibri" panose="020F0502020204030204" pitchFamily="34" charset="0"/>
                <a:cs typeface="Calibri" panose="020F0502020204030204" pitchFamily="34" charset="0"/>
              </a:rPr>
              <a:t>Innovation</a:t>
            </a:r>
          </a:p>
          <a:p>
            <a:r>
              <a:rPr lang="en-US">
                <a:solidFill>
                  <a:schemeClr val="tx1"/>
                </a:solidFill>
                <a:latin typeface="Calibri" panose="020F0502020204030204" pitchFamily="34" charset="0"/>
                <a:cs typeface="Calibri" panose="020F0502020204030204" pitchFamily="34" charset="0"/>
              </a:rPr>
              <a:t>S4</a:t>
            </a:r>
          </a:p>
          <a:p>
            <a:endParaRPr lang="en-US">
              <a:solidFill>
                <a:schemeClr val="tx1"/>
              </a:solidFill>
              <a:latin typeface="Calibri" panose="020F0502020204030204" pitchFamily="34" charset="0"/>
              <a:cs typeface="Calibri" panose="020F0502020204030204" pitchFamily="34" charset="0"/>
            </a:endParaRPr>
          </a:p>
          <a:p>
            <a:endParaRPr lang="en-US">
              <a:solidFill>
                <a:schemeClr val="tx1"/>
              </a:solidFill>
              <a:latin typeface="Calibri" panose="020F0502020204030204" pitchFamily="34" charset="0"/>
              <a:cs typeface="Calibri" panose="020F0502020204030204" pitchFamily="34" charset="0"/>
            </a:endParaRPr>
          </a:p>
          <a:p>
            <a:endParaRPr lang="en-US">
              <a:solidFill>
                <a:schemeClr val="tx1"/>
              </a:solidFill>
              <a:latin typeface="Calibri" panose="020F0502020204030204" pitchFamily="34" charset="0"/>
              <a:cs typeface="Calibri" panose="020F0502020204030204" pitchFamily="34" charset="0"/>
            </a:endParaRPr>
          </a:p>
          <a:p>
            <a:endParaRPr lang="en-US">
              <a:solidFill>
                <a:schemeClr val="tx1"/>
              </a:solidFill>
              <a:latin typeface="Calibri" panose="020F0502020204030204" pitchFamily="34" charset="0"/>
              <a:cs typeface="Calibri" panose="020F0502020204030204" pitchFamily="34" charset="0"/>
            </a:endParaRPr>
          </a:p>
          <a:p>
            <a:endParaRPr lang="en-US">
              <a:solidFill>
                <a:schemeClr val="tx1"/>
              </a:solidFill>
              <a:latin typeface="Calibri" panose="020F0502020204030204" pitchFamily="34" charset="0"/>
              <a:cs typeface="Calibri" panose="020F0502020204030204" pitchFamily="34" charset="0"/>
            </a:endParaRPr>
          </a:p>
        </p:txBody>
      </p:sp>
      <p:sp>
        <p:nvSpPr>
          <p:cNvPr id="18" name="Text Box 7">
            <a:extLst>
              <a:ext uri="{FF2B5EF4-FFF2-40B4-BE49-F238E27FC236}">
                <a16:creationId xmlns:a16="http://schemas.microsoft.com/office/drawing/2014/main" id="{5AC100C0-BCE7-4015-AD16-B002C0145484}"/>
              </a:ext>
            </a:extLst>
          </p:cNvPr>
          <p:cNvSpPr txBox="1">
            <a:spLocks noChangeArrowheads="1"/>
          </p:cNvSpPr>
          <p:nvPr/>
        </p:nvSpPr>
        <p:spPr bwMode="auto">
          <a:xfrm>
            <a:off x="185703" y="1821833"/>
            <a:ext cx="2488286" cy="303001"/>
          </a:xfrm>
          <a:prstGeom prst="rect">
            <a:avLst/>
          </a:prstGeom>
          <a:solidFill>
            <a:schemeClr val="bg1"/>
          </a:solidFill>
          <a:ln w="12700" cap="flat" cmpd="sng" algn="ctr">
            <a:solidFill>
              <a:schemeClr val="tx1"/>
            </a:solidFill>
            <a:prstDash val="sysDot"/>
            <a:headEnd/>
            <a:tailEnd/>
          </a:ln>
          <a:effectLst/>
        </p:spPr>
        <p:txBody>
          <a:bodyPr wrap="square" anchor="ctr" anchorCtr="0">
            <a:noAutofit/>
          </a:bodyPr>
          <a:lstStyle/>
          <a:p>
            <a:pPr algn="ctr">
              <a:defRPr/>
            </a:pPr>
            <a:r>
              <a:rPr lang="en-US" sz="800" i="1">
                <a:solidFill>
                  <a:srgbClr val="000000"/>
                </a:solidFill>
                <a:latin typeface="Calibri" panose="020F0502020204030204" pitchFamily="34" charset="0"/>
                <a:ea typeface="Times New Roman" panose="02020603050405020304" pitchFamily="18" charset="0"/>
                <a:cs typeface="Calibri" panose="020F0502020204030204" pitchFamily="34" charset="0"/>
              </a:rPr>
              <a:t>Also reporting directly to the </a:t>
            </a:r>
            <a:br>
              <a:rPr lang="en-US" sz="800" i="1">
                <a:solidFill>
                  <a:srgbClr val="000000"/>
                </a:solidFill>
                <a:latin typeface="Calibri" panose="020F0502020204030204" pitchFamily="34" charset="0"/>
                <a:ea typeface="Times New Roman" panose="02020603050405020304" pitchFamily="18" charset="0"/>
                <a:cs typeface="Calibri" panose="020F0502020204030204" pitchFamily="34" charset="0"/>
              </a:rPr>
            </a:br>
            <a:r>
              <a:rPr lang="en-US" sz="800" i="1">
                <a:solidFill>
                  <a:srgbClr val="000000"/>
                </a:solidFill>
                <a:latin typeface="Calibri" panose="020F0502020204030204" pitchFamily="34" charset="0"/>
                <a:ea typeface="Times New Roman" panose="02020603050405020304" pitchFamily="18" charset="0"/>
                <a:cs typeface="Calibri" panose="020F0502020204030204" pitchFamily="34" charset="0"/>
              </a:rPr>
              <a:t>Secretary / Deputy Secretary</a:t>
            </a:r>
          </a:p>
        </p:txBody>
      </p:sp>
      <p:cxnSp>
        <p:nvCxnSpPr>
          <p:cNvPr id="19" name="Connector: Elbow 18">
            <a:extLst>
              <a:ext uri="{FF2B5EF4-FFF2-40B4-BE49-F238E27FC236}">
                <a16:creationId xmlns:a16="http://schemas.microsoft.com/office/drawing/2014/main" id="{EE66D746-D7DA-4799-938A-00F9295E5A8D}"/>
              </a:ext>
            </a:extLst>
          </p:cNvPr>
          <p:cNvCxnSpPr>
            <a:cxnSpLocks/>
            <a:stCxn id="13" idx="2"/>
            <a:endCxn id="18" idx="0"/>
          </p:cNvCxnSpPr>
          <p:nvPr/>
        </p:nvCxnSpPr>
        <p:spPr>
          <a:xfrm rot="5400000">
            <a:off x="2644484" y="-337320"/>
            <a:ext cx="944515" cy="3373790"/>
          </a:xfrm>
          <a:prstGeom prst="bentConnector3">
            <a:avLst>
              <a:gd name="adj1" fmla="val 6588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Flowchart: Process 19">
            <a:extLst>
              <a:ext uri="{FF2B5EF4-FFF2-40B4-BE49-F238E27FC236}">
                <a16:creationId xmlns:a16="http://schemas.microsoft.com/office/drawing/2014/main" id="{737FEB97-DC55-4438-9908-0CC11067E459}"/>
              </a:ext>
            </a:extLst>
          </p:cNvPr>
          <p:cNvSpPr/>
          <p:nvPr/>
        </p:nvSpPr>
        <p:spPr>
          <a:xfrm>
            <a:off x="1059347" y="4096873"/>
            <a:ext cx="731520" cy="365760"/>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600">
                <a:solidFill>
                  <a:schemeClr val="tx1"/>
                </a:solidFill>
                <a:latin typeface="Calibri" panose="020F0502020204030204" pitchFamily="34" charset="0"/>
                <a:cs typeface="Calibri" panose="020F0502020204030204" pitchFamily="34" charset="0"/>
              </a:rPr>
              <a:t>U.S. Energy Information Administration (EIA)</a:t>
            </a:r>
          </a:p>
        </p:txBody>
      </p:sp>
      <p:sp>
        <p:nvSpPr>
          <p:cNvPr id="21" name="Flowchart: Process 20">
            <a:extLst>
              <a:ext uri="{FF2B5EF4-FFF2-40B4-BE49-F238E27FC236}">
                <a16:creationId xmlns:a16="http://schemas.microsoft.com/office/drawing/2014/main" id="{2BAF75DC-065D-4C5E-A5E8-CED3A111A6B8}"/>
              </a:ext>
            </a:extLst>
          </p:cNvPr>
          <p:cNvSpPr/>
          <p:nvPr/>
        </p:nvSpPr>
        <p:spPr>
          <a:xfrm>
            <a:off x="1059347" y="2298002"/>
            <a:ext cx="731520" cy="365760"/>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600">
                <a:solidFill>
                  <a:schemeClr val="tx1"/>
                </a:solidFill>
                <a:latin typeface="Calibri" panose="020F0502020204030204" pitchFamily="34" charset="0"/>
                <a:cs typeface="Calibri" panose="020F0502020204030204" pitchFamily="34" charset="0"/>
              </a:rPr>
              <a:t>Advanced Research Projects Agency-Energy (ARPA-E)</a:t>
            </a:r>
          </a:p>
        </p:txBody>
      </p:sp>
      <p:sp>
        <p:nvSpPr>
          <p:cNvPr id="22" name="Flowchart: Process 21">
            <a:extLst>
              <a:ext uri="{FF2B5EF4-FFF2-40B4-BE49-F238E27FC236}">
                <a16:creationId xmlns:a16="http://schemas.microsoft.com/office/drawing/2014/main" id="{C4DDD87C-E34E-4DB5-AC04-5E5B5D0A79F1}"/>
              </a:ext>
            </a:extLst>
          </p:cNvPr>
          <p:cNvSpPr/>
          <p:nvPr/>
        </p:nvSpPr>
        <p:spPr>
          <a:xfrm>
            <a:off x="1059347" y="4545067"/>
            <a:ext cx="731520" cy="365760"/>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600">
                <a:solidFill>
                  <a:schemeClr val="tx1"/>
                </a:solidFill>
                <a:latin typeface="Calibri" panose="020F0502020204030204" pitchFamily="34" charset="0"/>
                <a:cs typeface="Calibri" panose="020F0502020204030204" pitchFamily="34" charset="0"/>
              </a:rPr>
              <a:t>Office of the Assistant Secretary for International Affairs (IA) </a:t>
            </a:r>
          </a:p>
        </p:txBody>
      </p:sp>
      <p:sp>
        <p:nvSpPr>
          <p:cNvPr id="23" name="Flowchart: Process 22">
            <a:extLst>
              <a:ext uri="{FF2B5EF4-FFF2-40B4-BE49-F238E27FC236}">
                <a16:creationId xmlns:a16="http://schemas.microsoft.com/office/drawing/2014/main" id="{615D032A-2644-459B-8F09-8E36F1BA26C1}"/>
              </a:ext>
            </a:extLst>
          </p:cNvPr>
          <p:cNvSpPr/>
          <p:nvPr/>
        </p:nvSpPr>
        <p:spPr>
          <a:xfrm>
            <a:off x="180963" y="3643881"/>
            <a:ext cx="731520" cy="365760"/>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600">
                <a:solidFill>
                  <a:schemeClr val="tx1"/>
                </a:solidFill>
                <a:latin typeface="Calibri" panose="020F0502020204030204" pitchFamily="34" charset="0"/>
                <a:cs typeface="Calibri" panose="020F0502020204030204" pitchFamily="34" charset="0"/>
              </a:rPr>
              <a:t>Assistant Secretary for Congressional &amp; Intergovernmental Affairs (CI)</a:t>
            </a:r>
          </a:p>
        </p:txBody>
      </p:sp>
      <p:sp>
        <p:nvSpPr>
          <p:cNvPr id="24" name="Flowchart: Process 23">
            <a:extLst>
              <a:ext uri="{FF2B5EF4-FFF2-40B4-BE49-F238E27FC236}">
                <a16:creationId xmlns:a16="http://schemas.microsoft.com/office/drawing/2014/main" id="{4FF3A5C0-BB47-45FF-B560-5CF2A10BAFFD}"/>
              </a:ext>
            </a:extLst>
          </p:cNvPr>
          <p:cNvSpPr/>
          <p:nvPr/>
        </p:nvSpPr>
        <p:spPr>
          <a:xfrm>
            <a:off x="1937731" y="3193439"/>
            <a:ext cx="731520" cy="365760"/>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600">
                <a:solidFill>
                  <a:schemeClr val="tx1"/>
                </a:solidFill>
                <a:latin typeface="Calibri" panose="020F0502020204030204" pitchFamily="34" charset="0"/>
                <a:cs typeface="Calibri" panose="020F0502020204030204" pitchFamily="34" charset="0"/>
              </a:rPr>
              <a:t>Office of Enterprise Assessments (EA)</a:t>
            </a:r>
          </a:p>
        </p:txBody>
      </p:sp>
      <p:sp>
        <p:nvSpPr>
          <p:cNvPr id="25" name="Flowchart: Process 24">
            <a:extLst>
              <a:ext uri="{FF2B5EF4-FFF2-40B4-BE49-F238E27FC236}">
                <a16:creationId xmlns:a16="http://schemas.microsoft.com/office/drawing/2014/main" id="{12D9621B-E1A1-48C7-9F17-CA4CCC97C5D6}"/>
              </a:ext>
            </a:extLst>
          </p:cNvPr>
          <p:cNvSpPr/>
          <p:nvPr/>
        </p:nvSpPr>
        <p:spPr>
          <a:xfrm>
            <a:off x="180963" y="2300102"/>
            <a:ext cx="731520" cy="365760"/>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600">
                <a:solidFill>
                  <a:schemeClr val="tx1"/>
                </a:solidFill>
                <a:latin typeface="Calibri" panose="020F0502020204030204" pitchFamily="34" charset="0"/>
                <a:cs typeface="Calibri" panose="020F0502020204030204" pitchFamily="34" charset="0"/>
              </a:rPr>
              <a:t>Office of Public Affairs (PA)</a:t>
            </a:r>
          </a:p>
        </p:txBody>
      </p:sp>
      <p:sp>
        <p:nvSpPr>
          <p:cNvPr id="26" name="Flowchart: Process 25">
            <a:extLst>
              <a:ext uri="{FF2B5EF4-FFF2-40B4-BE49-F238E27FC236}">
                <a16:creationId xmlns:a16="http://schemas.microsoft.com/office/drawing/2014/main" id="{4716DCFD-C565-4516-BE11-04C9F6E71A31}"/>
              </a:ext>
            </a:extLst>
          </p:cNvPr>
          <p:cNvSpPr/>
          <p:nvPr/>
        </p:nvSpPr>
        <p:spPr>
          <a:xfrm>
            <a:off x="1059347" y="3189825"/>
            <a:ext cx="731520" cy="365760"/>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600">
                <a:solidFill>
                  <a:schemeClr val="tx1"/>
                </a:solidFill>
                <a:latin typeface="Calibri" panose="020F0502020204030204" pitchFamily="34" charset="0"/>
                <a:cs typeface="Calibri" panose="020F0502020204030204" pitchFamily="34" charset="0"/>
              </a:rPr>
              <a:t>Office of the General Counsel (GC)</a:t>
            </a:r>
          </a:p>
        </p:txBody>
      </p:sp>
      <p:sp>
        <p:nvSpPr>
          <p:cNvPr id="27" name="Flowchart: Process 26">
            <a:extLst>
              <a:ext uri="{FF2B5EF4-FFF2-40B4-BE49-F238E27FC236}">
                <a16:creationId xmlns:a16="http://schemas.microsoft.com/office/drawing/2014/main" id="{09F90CB8-76AE-40F7-AA45-A37E815E321B}"/>
              </a:ext>
            </a:extLst>
          </p:cNvPr>
          <p:cNvSpPr/>
          <p:nvPr/>
        </p:nvSpPr>
        <p:spPr>
          <a:xfrm>
            <a:off x="185703" y="2745721"/>
            <a:ext cx="731520" cy="365760"/>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600">
                <a:solidFill>
                  <a:schemeClr val="tx1"/>
                </a:solidFill>
                <a:latin typeface="Calibri" panose="020F0502020204030204" pitchFamily="34" charset="0"/>
                <a:cs typeface="Calibri" panose="020F0502020204030204" pitchFamily="34" charset="0"/>
              </a:rPr>
              <a:t>Office of the Chief Financial Officer (CF)</a:t>
            </a:r>
          </a:p>
        </p:txBody>
      </p:sp>
      <p:sp>
        <p:nvSpPr>
          <p:cNvPr id="28" name="Flowchart: Process 27">
            <a:extLst>
              <a:ext uri="{FF2B5EF4-FFF2-40B4-BE49-F238E27FC236}">
                <a16:creationId xmlns:a16="http://schemas.microsoft.com/office/drawing/2014/main" id="{A9BAC8F4-D930-44CF-AE87-304C819F7752}"/>
              </a:ext>
            </a:extLst>
          </p:cNvPr>
          <p:cNvSpPr/>
          <p:nvPr/>
        </p:nvSpPr>
        <p:spPr>
          <a:xfrm>
            <a:off x="1932992" y="4539082"/>
            <a:ext cx="731520" cy="365760"/>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600">
                <a:solidFill>
                  <a:schemeClr val="tx1"/>
                </a:solidFill>
                <a:latin typeface="Calibri" panose="020F0502020204030204" pitchFamily="34" charset="0"/>
                <a:cs typeface="Calibri" panose="020F0502020204030204" pitchFamily="34" charset="0"/>
              </a:rPr>
              <a:t>Office of the Chief Human Capital Officer (HC)</a:t>
            </a:r>
          </a:p>
        </p:txBody>
      </p:sp>
      <p:sp>
        <p:nvSpPr>
          <p:cNvPr id="29" name="Flowchart: Process 28">
            <a:extLst>
              <a:ext uri="{FF2B5EF4-FFF2-40B4-BE49-F238E27FC236}">
                <a16:creationId xmlns:a16="http://schemas.microsoft.com/office/drawing/2014/main" id="{2516B2DE-095C-4CF2-9189-17E4E66059FA}"/>
              </a:ext>
            </a:extLst>
          </p:cNvPr>
          <p:cNvSpPr/>
          <p:nvPr/>
        </p:nvSpPr>
        <p:spPr>
          <a:xfrm>
            <a:off x="1059347" y="3633347"/>
            <a:ext cx="731520" cy="365760"/>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600">
                <a:solidFill>
                  <a:schemeClr val="tx1"/>
                </a:solidFill>
                <a:latin typeface="Calibri" panose="020F0502020204030204" pitchFamily="34" charset="0"/>
                <a:cs typeface="Calibri" panose="020F0502020204030204" pitchFamily="34" charset="0"/>
              </a:rPr>
              <a:t>Office of Chief Information Officer (IM)</a:t>
            </a:r>
          </a:p>
        </p:txBody>
      </p:sp>
      <p:sp>
        <p:nvSpPr>
          <p:cNvPr id="30" name="Flowchart: Process 29">
            <a:extLst>
              <a:ext uri="{FF2B5EF4-FFF2-40B4-BE49-F238E27FC236}">
                <a16:creationId xmlns:a16="http://schemas.microsoft.com/office/drawing/2014/main" id="{633E59B9-379E-45EE-952B-512BDA59A817}"/>
              </a:ext>
            </a:extLst>
          </p:cNvPr>
          <p:cNvSpPr/>
          <p:nvPr/>
        </p:nvSpPr>
        <p:spPr>
          <a:xfrm>
            <a:off x="1932992" y="3647337"/>
            <a:ext cx="731520" cy="365760"/>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600">
                <a:solidFill>
                  <a:schemeClr val="tx1"/>
                </a:solidFill>
                <a:latin typeface="Calibri" panose="020F0502020204030204" pitchFamily="34" charset="0"/>
                <a:cs typeface="Calibri" panose="020F0502020204030204" pitchFamily="34" charset="0"/>
              </a:rPr>
              <a:t>Office of Management (MA)</a:t>
            </a:r>
          </a:p>
        </p:txBody>
      </p:sp>
      <p:sp>
        <p:nvSpPr>
          <p:cNvPr id="31" name="Flowchart: Process 30">
            <a:extLst>
              <a:ext uri="{FF2B5EF4-FFF2-40B4-BE49-F238E27FC236}">
                <a16:creationId xmlns:a16="http://schemas.microsoft.com/office/drawing/2014/main" id="{0F5BE0DE-69A6-4A99-8426-8268F5FCEA6C}"/>
              </a:ext>
            </a:extLst>
          </p:cNvPr>
          <p:cNvSpPr/>
          <p:nvPr/>
        </p:nvSpPr>
        <p:spPr>
          <a:xfrm>
            <a:off x="183490" y="3193117"/>
            <a:ext cx="731520" cy="365760"/>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600">
                <a:solidFill>
                  <a:schemeClr val="tx1"/>
                </a:solidFill>
                <a:latin typeface="Calibri" panose="020F0502020204030204" pitchFamily="34" charset="0"/>
                <a:cs typeface="Calibri" panose="020F0502020204030204" pitchFamily="34" charset="0"/>
              </a:rPr>
              <a:t>Office of Small and Disadvantaged Business Utilization (OSDBU)</a:t>
            </a:r>
          </a:p>
        </p:txBody>
      </p:sp>
      <p:sp>
        <p:nvSpPr>
          <p:cNvPr id="32" name="Flowchart: Process 31">
            <a:extLst>
              <a:ext uri="{FF2B5EF4-FFF2-40B4-BE49-F238E27FC236}">
                <a16:creationId xmlns:a16="http://schemas.microsoft.com/office/drawing/2014/main" id="{E234E094-FBE6-49CF-9FBA-F8DFAAA34DFC}"/>
              </a:ext>
            </a:extLst>
          </p:cNvPr>
          <p:cNvSpPr/>
          <p:nvPr/>
        </p:nvSpPr>
        <p:spPr>
          <a:xfrm>
            <a:off x="1059347" y="2752059"/>
            <a:ext cx="731520" cy="365760"/>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600">
                <a:solidFill>
                  <a:schemeClr val="tx1"/>
                </a:solidFill>
                <a:latin typeface="Calibri" panose="020F0502020204030204" pitchFamily="34" charset="0"/>
                <a:cs typeface="Calibri" panose="020F0502020204030204" pitchFamily="34" charset="0"/>
              </a:rPr>
              <a:t>Office of Intelligence &amp; Counterintelligence (IN)</a:t>
            </a:r>
          </a:p>
        </p:txBody>
      </p:sp>
      <p:sp>
        <p:nvSpPr>
          <p:cNvPr id="33" name="Flowchart: Process 32">
            <a:extLst>
              <a:ext uri="{FF2B5EF4-FFF2-40B4-BE49-F238E27FC236}">
                <a16:creationId xmlns:a16="http://schemas.microsoft.com/office/drawing/2014/main" id="{1954EFAB-7891-4326-BAEC-5A4EAE9D4344}"/>
              </a:ext>
            </a:extLst>
          </p:cNvPr>
          <p:cNvSpPr/>
          <p:nvPr/>
        </p:nvSpPr>
        <p:spPr>
          <a:xfrm>
            <a:off x="179188" y="4089642"/>
            <a:ext cx="731520" cy="365760"/>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600">
                <a:solidFill>
                  <a:schemeClr val="tx1"/>
                </a:solidFill>
                <a:latin typeface="Calibri" panose="020F0502020204030204" pitchFamily="34" charset="0"/>
                <a:cs typeface="Calibri" panose="020F0502020204030204" pitchFamily="34" charset="0"/>
              </a:rPr>
              <a:t>Office of Economic Impact &amp; Diversity (ED)</a:t>
            </a:r>
          </a:p>
        </p:txBody>
      </p:sp>
      <p:sp>
        <p:nvSpPr>
          <p:cNvPr id="34" name="Flowchart: Process 33">
            <a:extLst>
              <a:ext uri="{FF2B5EF4-FFF2-40B4-BE49-F238E27FC236}">
                <a16:creationId xmlns:a16="http://schemas.microsoft.com/office/drawing/2014/main" id="{49D8F46F-5746-4431-9B49-2C7F9583A9EF}"/>
              </a:ext>
            </a:extLst>
          </p:cNvPr>
          <p:cNvSpPr/>
          <p:nvPr/>
        </p:nvSpPr>
        <p:spPr>
          <a:xfrm>
            <a:off x="1937731" y="2745721"/>
            <a:ext cx="731520" cy="365760"/>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600">
                <a:solidFill>
                  <a:schemeClr val="tx1"/>
                </a:solidFill>
                <a:latin typeface="Calibri" panose="020F0502020204030204" pitchFamily="34" charset="0"/>
                <a:cs typeface="Calibri" panose="020F0502020204030204" pitchFamily="34" charset="0"/>
              </a:rPr>
              <a:t>Office of Legacy Management (LM)</a:t>
            </a:r>
          </a:p>
        </p:txBody>
      </p:sp>
      <p:sp>
        <p:nvSpPr>
          <p:cNvPr id="35" name="Flowchart: Process 34">
            <a:extLst>
              <a:ext uri="{FF2B5EF4-FFF2-40B4-BE49-F238E27FC236}">
                <a16:creationId xmlns:a16="http://schemas.microsoft.com/office/drawing/2014/main" id="{A70B7199-1649-487B-9A8E-160A48D60CF8}"/>
              </a:ext>
            </a:extLst>
          </p:cNvPr>
          <p:cNvSpPr/>
          <p:nvPr/>
        </p:nvSpPr>
        <p:spPr>
          <a:xfrm>
            <a:off x="1932992" y="4083302"/>
            <a:ext cx="731520" cy="365760"/>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600">
                <a:solidFill>
                  <a:schemeClr val="tx1"/>
                </a:solidFill>
                <a:latin typeface="Calibri" panose="020F0502020204030204" pitchFamily="34" charset="0"/>
                <a:cs typeface="Calibri" panose="020F0502020204030204" pitchFamily="34" charset="0"/>
              </a:rPr>
              <a:t>Office of Hearings &amp; Appeals (HG)</a:t>
            </a:r>
          </a:p>
        </p:txBody>
      </p:sp>
      <p:sp>
        <p:nvSpPr>
          <p:cNvPr id="36" name="Flowchart: Process 35">
            <a:extLst>
              <a:ext uri="{FF2B5EF4-FFF2-40B4-BE49-F238E27FC236}">
                <a16:creationId xmlns:a16="http://schemas.microsoft.com/office/drawing/2014/main" id="{CFCDD20A-DC05-4B7F-A31D-BF1519D0880A}"/>
              </a:ext>
            </a:extLst>
          </p:cNvPr>
          <p:cNvSpPr/>
          <p:nvPr/>
        </p:nvSpPr>
        <p:spPr>
          <a:xfrm>
            <a:off x="1937731" y="2298002"/>
            <a:ext cx="731520" cy="365760"/>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600">
                <a:solidFill>
                  <a:schemeClr val="tx1"/>
                </a:solidFill>
                <a:latin typeface="Calibri" panose="020F0502020204030204" pitchFamily="34" charset="0"/>
                <a:cs typeface="Calibri" panose="020F0502020204030204" pitchFamily="34" charset="0"/>
              </a:rPr>
              <a:t>Office of the Assistant Secretary for Environmental Management</a:t>
            </a:r>
          </a:p>
        </p:txBody>
      </p:sp>
      <p:sp>
        <p:nvSpPr>
          <p:cNvPr id="37" name="Text Box 7">
            <a:extLst>
              <a:ext uri="{FF2B5EF4-FFF2-40B4-BE49-F238E27FC236}">
                <a16:creationId xmlns:a16="http://schemas.microsoft.com/office/drawing/2014/main" id="{FDBD99CC-FA94-4F06-A3F7-12D076204B48}"/>
              </a:ext>
            </a:extLst>
          </p:cNvPr>
          <p:cNvSpPr txBox="1">
            <a:spLocks noChangeArrowheads="1"/>
          </p:cNvSpPr>
          <p:nvPr/>
        </p:nvSpPr>
        <p:spPr bwMode="auto">
          <a:xfrm>
            <a:off x="8500279" y="1831501"/>
            <a:ext cx="1050758" cy="654290"/>
          </a:xfrm>
          <a:prstGeom prst="rect">
            <a:avLst/>
          </a:prstGeom>
          <a:solidFill>
            <a:schemeClr val="bg1"/>
          </a:solidFill>
          <a:ln w="25400" cap="flat" cmpd="sng" algn="ctr">
            <a:solidFill>
              <a:schemeClr val="tx1"/>
            </a:solidFill>
            <a:prstDash val="solid"/>
            <a:headEnd/>
            <a:tailEnd/>
          </a:ln>
          <a:effectLst/>
        </p:spPr>
        <p:txBody>
          <a:bodyPr wrap="square" anchor="t" anchorCtr="0">
            <a:noAutofit/>
          </a:bodyPr>
          <a:lstStyle>
            <a:defPPr>
              <a:defRPr lang="en-US"/>
            </a:defPPr>
            <a:lvl1pPr algn="ctr">
              <a:defRPr sz="900" b="1">
                <a:solidFill>
                  <a:schemeClr val="accent2">
                    <a:lumMod val="75000"/>
                  </a:schemeClr>
                </a:solidFill>
                <a:ea typeface="Times New Roman" panose="02020603050405020304" pitchFamily="18" charset="0"/>
                <a:cs typeface="Times New Roman" panose="02020603050405020304" pitchFamily="18" charset="0"/>
              </a:defRPr>
            </a:lvl1pPr>
          </a:lstStyle>
          <a:p>
            <a:r>
              <a:rPr lang="en-US">
                <a:latin typeface="Calibri" panose="020F0502020204030204" pitchFamily="34" charset="0"/>
                <a:cs typeface="Calibri" panose="020F0502020204030204" pitchFamily="34" charset="0"/>
              </a:rPr>
              <a:t>Under Secretary for Infrastructure</a:t>
            </a:r>
          </a:p>
          <a:p>
            <a:endParaRPr lang="en-US">
              <a:latin typeface="Calibri" panose="020F0502020204030204" pitchFamily="34" charset="0"/>
              <a:cs typeface="Calibri" panose="020F0502020204030204" pitchFamily="34" charset="0"/>
            </a:endParaRPr>
          </a:p>
          <a:p>
            <a:r>
              <a:rPr lang="en-US">
                <a:latin typeface="Calibri" panose="020F0502020204030204" pitchFamily="34" charset="0"/>
                <a:cs typeface="Calibri" panose="020F0502020204030204" pitchFamily="34" charset="0"/>
              </a:rPr>
              <a:t>S3</a:t>
            </a:r>
          </a:p>
          <a:p>
            <a:endParaRPr lang="en-US">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38" name="Flowchart: Process 37">
            <a:extLst>
              <a:ext uri="{FF2B5EF4-FFF2-40B4-BE49-F238E27FC236}">
                <a16:creationId xmlns:a16="http://schemas.microsoft.com/office/drawing/2014/main" id="{8436A25B-6700-4E7C-8EB3-185E1F96A0E6}"/>
              </a:ext>
            </a:extLst>
          </p:cNvPr>
          <p:cNvSpPr/>
          <p:nvPr/>
        </p:nvSpPr>
        <p:spPr>
          <a:xfrm>
            <a:off x="1939507" y="4978544"/>
            <a:ext cx="731520" cy="365760"/>
          </a:xfrm>
          <a:prstGeom prst="flowChartProcess">
            <a:avLst/>
          </a:prstGeom>
          <a:solidFill>
            <a:schemeClr val="bg1">
              <a:lumMod val="95000"/>
            </a:schemeClr>
          </a:solidFill>
          <a:ln w="2540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600" b="1">
                <a:solidFill>
                  <a:schemeClr val="tx1"/>
                </a:solidFill>
                <a:latin typeface="Calibri" panose="020F0502020204030204" pitchFamily="34" charset="0"/>
                <a:cs typeface="Calibri" panose="020F0502020204030204" pitchFamily="34" charset="0"/>
              </a:rPr>
              <a:t>Office of Project Management Oversight and Assessments (PM)</a:t>
            </a:r>
          </a:p>
        </p:txBody>
      </p:sp>
      <p:sp>
        <p:nvSpPr>
          <p:cNvPr id="39" name="Flowchart: Process 38">
            <a:extLst>
              <a:ext uri="{FF2B5EF4-FFF2-40B4-BE49-F238E27FC236}">
                <a16:creationId xmlns:a16="http://schemas.microsoft.com/office/drawing/2014/main" id="{A09A3BA8-46B6-43B7-B103-997350E2CDBA}"/>
              </a:ext>
            </a:extLst>
          </p:cNvPr>
          <p:cNvSpPr/>
          <p:nvPr/>
        </p:nvSpPr>
        <p:spPr>
          <a:xfrm>
            <a:off x="1059347" y="4999154"/>
            <a:ext cx="731520" cy="365760"/>
          </a:xfrm>
          <a:prstGeom prst="flowChartProcess">
            <a:avLst/>
          </a:prstGeom>
          <a:solidFill>
            <a:schemeClr val="bg1">
              <a:lumMod val="95000"/>
            </a:schemeClr>
          </a:solidFill>
          <a:ln w="2540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600" b="1">
                <a:solidFill>
                  <a:schemeClr val="tx1"/>
                </a:solidFill>
                <a:latin typeface="Calibri" panose="020F0502020204030204" pitchFamily="34" charset="0"/>
                <a:cs typeface="Calibri" panose="020F0502020204030204" pitchFamily="34" charset="0"/>
              </a:rPr>
              <a:t>Associate Under Secretary for Environment, Health, Safety Security (AU)</a:t>
            </a:r>
          </a:p>
        </p:txBody>
      </p:sp>
      <p:sp>
        <p:nvSpPr>
          <p:cNvPr id="40" name="Flowchart: Process 39">
            <a:extLst>
              <a:ext uri="{FF2B5EF4-FFF2-40B4-BE49-F238E27FC236}">
                <a16:creationId xmlns:a16="http://schemas.microsoft.com/office/drawing/2014/main" id="{A4E76D7C-F2CD-49C9-930D-2E4363229016}"/>
              </a:ext>
            </a:extLst>
          </p:cNvPr>
          <p:cNvSpPr/>
          <p:nvPr/>
        </p:nvSpPr>
        <p:spPr>
          <a:xfrm>
            <a:off x="180963" y="4536896"/>
            <a:ext cx="731520" cy="365760"/>
          </a:xfrm>
          <a:prstGeom prst="flowChartProcess">
            <a:avLst/>
          </a:prstGeom>
          <a:solidFill>
            <a:schemeClr val="bg1">
              <a:lumMod val="95000"/>
            </a:schemeClr>
          </a:solidFill>
          <a:ln w="2540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600" b="1">
                <a:solidFill>
                  <a:schemeClr val="tx1"/>
                </a:solidFill>
                <a:latin typeface="Calibri" panose="020F0502020204030204" pitchFamily="34" charset="0"/>
                <a:cs typeface="Calibri" panose="020F0502020204030204" pitchFamily="34" charset="0"/>
              </a:rPr>
              <a:t>Office of Policy </a:t>
            </a:r>
            <a:br>
              <a:rPr lang="en-US" sz="600" b="1">
                <a:solidFill>
                  <a:schemeClr val="tx1"/>
                </a:solidFill>
                <a:latin typeface="Calibri" panose="020F0502020204030204" pitchFamily="34" charset="0"/>
                <a:cs typeface="Calibri" panose="020F0502020204030204" pitchFamily="34" charset="0"/>
              </a:rPr>
            </a:br>
            <a:r>
              <a:rPr lang="en-US" sz="600" b="1">
                <a:solidFill>
                  <a:schemeClr val="tx1"/>
                </a:solidFill>
                <a:latin typeface="Calibri" panose="020F0502020204030204" pitchFamily="34" charset="0"/>
                <a:cs typeface="Calibri" panose="020F0502020204030204" pitchFamily="34" charset="0"/>
              </a:rPr>
              <a:t>(OP)</a:t>
            </a:r>
          </a:p>
        </p:txBody>
      </p:sp>
      <p:sp>
        <p:nvSpPr>
          <p:cNvPr id="41" name="Flowchart: Process 40">
            <a:extLst>
              <a:ext uri="{FF2B5EF4-FFF2-40B4-BE49-F238E27FC236}">
                <a16:creationId xmlns:a16="http://schemas.microsoft.com/office/drawing/2014/main" id="{FA06A061-5757-4389-8849-276B09950F91}"/>
              </a:ext>
            </a:extLst>
          </p:cNvPr>
          <p:cNvSpPr/>
          <p:nvPr/>
        </p:nvSpPr>
        <p:spPr>
          <a:xfrm>
            <a:off x="180963" y="4978544"/>
            <a:ext cx="731520" cy="365760"/>
          </a:xfrm>
          <a:prstGeom prst="flowChartProcess">
            <a:avLst/>
          </a:prstGeom>
          <a:solidFill>
            <a:schemeClr val="bg1">
              <a:lumMod val="95000"/>
            </a:schemeClr>
          </a:solidFill>
          <a:ln w="2540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600" b="1">
                <a:solidFill>
                  <a:schemeClr val="tx1"/>
                </a:solidFill>
                <a:latin typeface="Calibri" panose="020F0502020204030204" pitchFamily="34" charset="0"/>
                <a:cs typeface="Calibri" panose="020F0502020204030204" pitchFamily="34" charset="0"/>
              </a:rPr>
              <a:t>Office of Technology Transitions (OTT)</a:t>
            </a:r>
          </a:p>
        </p:txBody>
      </p:sp>
      <p:sp>
        <p:nvSpPr>
          <p:cNvPr id="42" name="Rectangle 41">
            <a:extLst>
              <a:ext uri="{FF2B5EF4-FFF2-40B4-BE49-F238E27FC236}">
                <a16:creationId xmlns:a16="http://schemas.microsoft.com/office/drawing/2014/main" id="{89961F0B-E02C-455C-B265-F3E2AB8ED69B}"/>
              </a:ext>
            </a:extLst>
          </p:cNvPr>
          <p:cNvSpPr/>
          <p:nvPr/>
        </p:nvSpPr>
        <p:spPr>
          <a:xfrm>
            <a:off x="3035011" y="4030213"/>
            <a:ext cx="1474091" cy="1455020"/>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r"/>
            <a:r>
              <a:rPr lang="en-US" sz="1100" b="1" i="1">
                <a:solidFill>
                  <a:schemeClr val="accent2">
                    <a:lumMod val="75000"/>
                  </a:schemeClr>
                </a:solidFill>
                <a:latin typeface="Calibri" panose="020F0502020204030204" pitchFamily="34" charset="0"/>
                <a:cs typeface="Calibri" panose="020F0502020204030204" pitchFamily="34" charset="0"/>
              </a:rPr>
              <a:t>S4: </a:t>
            </a:r>
            <a:r>
              <a:rPr lang="en-US" sz="1100" i="1">
                <a:solidFill>
                  <a:schemeClr val="accent2">
                    <a:lumMod val="75000"/>
                  </a:schemeClr>
                </a:solidFill>
                <a:latin typeface="Calibri" panose="020F0502020204030204" pitchFamily="34" charset="0"/>
                <a:cs typeface="Calibri" panose="020F0502020204030204" pitchFamily="34" charset="0"/>
              </a:rPr>
              <a:t>The innovation engine. Driving research and development of energy technologies, with connected demonstration and deployment activities.</a:t>
            </a:r>
          </a:p>
        </p:txBody>
      </p:sp>
      <p:sp>
        <p:nvSpPr>
          <p:cNvPr id="43" name="Rectangle 42">
            <a:extLst>
              <a:ext uri="{FF2B5EF4-FFF2-40B4-BE49-F238E27FC236}">
                <a16:creationId xmlns:a16="http://schemas.microsoft.com/office/drawing/2014/main" id="{9C047A36-4BEB-47A8-B08F-048AE47377FA}"/>
              </a:ext>
            </a:extLst>
          </p:cNvPr>
          <p:cNvSpPr/>
          <p:nvPr/>
        </p:nvSpPr>
        <p:spPr>
          <a:xfrm>
            <a:off x="10433668" y="4030213"/>
            <a:ext cx="1510766" cy="1761227"/>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r>
              <a:rPr lang="en-US" sz="1100" b="1" i="1">
                <a:solidFill>
                  <a:schemeClr val="accent2">
                    <a:lumMod val="75000"/>
                  </a:schemeClr>
                </a:solidFill>
                <a:latin typeface="Calibri" panose="020F0502020204030204" pitchFamily="34" charset="0"/>
                <a:cs typeface="Calibri" panose="020F0502020204030204" pitchFamily="34" charset="0"/>
              </a:rPr>
              <a:t>S3: </a:t>
            </a:r>
            <a:r>
              <a:rPr lang="en-US" sz="1100" i="1">
                <a:solidFill>
                  <a:schemeClr val="accent2">
                    <a:lumMod val="75000"/>
                  </a:schemeClr>
                </a:solidFill>
                <a:latin typeface="Calibri" panose="020F0502020204030204" pitchFamily="34" charset="0"/>
                <a:cs typeface="Calibri" panose="020F0502020204030204" pitchFamily="34" charset="0"/>
              </a:rPr>
              <a:t>Partnering with S4 to advance clean energy and climate change technologies through large-scale demonstration projects and deployment activities.</a:t>
            </a:r>
          </a:p>
        </p:txBody>
      </p:sp>
      <p:sp>
        <p:nvSpPr>
          <p:cNvPr id="44" name="Text Box 7">
            <a:extLst>
              <a:ext uri="{FF2B5EF4-FFF2-40B4-BE49-F238E27FC236}">
                <a16:creationId xmlns:a16="http://schemas.microsoft.com/office/drawing/2014/main" id="{647EED20-9330-4EE9-B6BB-3190636B0370}"/>
              </a:ext>
            </a:extLst>
          </p:cNvPr>
          <p:cNvSpPr txBox="1">
            <a:spLocks noChangeArrowheads="1"/>
          </p:cNvSpPr>
          <p:nvPr/>
        </p:nvSpPr>
        <p:spPr bwMode="auto">
          <a:xfrm>
            <a:off x="8158946" y="632189"/>
            <a:ext cx="1946176" cy="197522"/>
          </a:xfrm>
          <a:prstGeom prst="rect">
            <a:avLst/>
          </a:prstGeom>
          <a:noFill/>
          <a:ln w="12700" cap="flat" cmpd="sng" algn="ctr">
            <a:solidFill>
              <a:schemeClr val="tx1"/>
            </a:solidFill>
            <a:prstDash val="solid"/>
            <a:headEnd/>
            <a:tailEnd/>
          </a:ln>
          <a:effectLst/>
        </p:spPr>
        <p:txBody>
          <a:bodyPr wrap="square" lIns="0" rIns="0" anchor="ctr" anchorCtr="0">
            <a:noAutofit/>
          </a:bodyPr>
          <a:lstStyle/>
          <a:p>
            <a:pPr algn="ctr">
              <a:defRPr/>
            </a:pPr>
            <a:r>
              <a:rPr lang="en-US" sz="900">
                <a:solidFill>
                  <a:srgbClr val="000000"/>
                </a:solidFill>
                <a:latin typeface="Calibri" panose="020F0502020204030204" pitchFamily="34" charset="0"/>
                <a:ea typeface="Times New Roman" panose="02020603050405020304" pitchFamily="18" charset="0"/>
                <a:cs typeface="Calibri" panose="020F0502020204030204" pitchFamily="34" charset="0"/>
              </a:rPr>
              <a:t>Federal Energy Regulatory Commission</a:t>
            </a:r>
          </a:p>
        </p:txBody>
      </p:sp>
      <p:grpSp>
        <p:nvGrpSpPr>
          <p:cNvPr id="45" name="Group 44">
            <a:extLst>
              <a:ext uri="{FF2B5EF4-FFF2-40B4-BE49-F238E27FC236}">
                <a16:creationId xmlns:a16="http://schemas.microsoft.com/office/drawing/2014/main" id="{B0A03832-4F32-47BF-AF12-4AB68BD5AE70}"/>
              </a:ext>
            </a:extLst>
          </p:cNvPr>
          <p:cNvGrpSpPr/>
          <p:nvPr/>
        </p:nvGrpSpPr>
        <p:grpSpPr>
          <a:xfrm>
            <a:off x="229501" y="5610633"/>
            <a:ext cx="1807266" cy="346014"/>
            <a:chOff x="-505034" y="3934977"/>
            <a:chExt cx="1807266" cy="346014"/>
          </a:xfrm>
        </p:grpSpPr>
        <p:sp>
          <p:nvSpPr>
            <p:cNvPr id="46" name="Rectangle 45">
              <a:extLst>
                <a:ext uri="{FF2B5EF4-FFF2-40B4-BE49-F238E27FC236}">
                  <a16:creationId xmlns:a16="http://schemas.microsoft.com/office/drawing/2014/main" id="{9D5A1900-C869-4D6F-8923-777859EB4978}"/>
                </a:ext>
              </a:extLst>
            </p:cNvPr>
            <p:cNvSpPr/>
            <p:nvPr/>
          </p:nvSpPr>
          <p:spPr>
            <a:xfrm>
              <a:off x="292581" y="3934977"/>
              <a:ext cx="1009651" cy="346014"/>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7">
                <a:solidFill>
                  <a:prstClr val="white"/>
                </a:solidFill>
                <a:latin typeface="Calibri" panose="020F0502020204030204" pitchFamily="34" charset="0"/>
                <a:cs typeface="Calibri" panose="020F0502020204030204" pitchFamily="34" charset="0"/>
              </a:endParaRPr>
            </a:p>
          </p:txBody>
        </p:sp>
        <p:sp>
          <p:nvSpPr>
            <p:cNvPr id="47" name="TextBox 46">
              <a:extLst>
                <a:ext uri="{FF2B5EF4-FFF2-40B4-BE49-F238E27FC236}">
                  <a16:creationId xmlns:a16="http://schemas.microsoft.com/office/drawing/2014/main" id="{C09FA92E-392C-4C30-933A-9D6F1B86539A}"/>
                </a:ext>
              </a:extLst>
            </p:cNvPr>
            <p:cNvSpPr txBox="1"/>
            <p:nvPr/>
          </p:nvSpPr>
          <p:spPr>
            <a:xfrm>
              <a:off x="-505034" y="3982323"/>
              <a:ext cx="1009651" cy="276999"/>
            </a:xfrm>
            <a:prstGeom prst="rect">
              <a:avLst/>
            </a:prstGeom>
            <a:noFill/>
          </p:spPr>
          <p:txBody>
            <a:bodyPr wrap="square" lIns="0" rIns="0" rtlCol="0">
              <a:noAutofit/>
            </a:bodyPr>
            <a:lstStyle/>
            <a:p>
              <a:pPr algn="ctr"/>
              <a:r>
                <a:rPr lang="en-US" sz="1200" b="1">
                  <a:solidFill>
                    <a:prstClr val="black"/>
                  </a:solidFill>
                  <a:latin typeface="Calibri" panose="020F0502020204030204" pitchFamily="34" charset="0"/>
                  <a:cs typeface="Calibri" panose="020F0502020204030204" pitchFamily="34" charset="0"/>
                </a:rPr>
                <a:t>Legend</a:t>
              </a:r>
            </a:p>
          </p:txBody>
        </p:sp>
        <p:sp>
          <p:nvSpPr>
            <p:cNvPr id="48" name="Rectangle 47">
              <a:extLst>
                <a:ext uri="{FF2B5EF4-FFF2-40B4-BE49-F238E27FC236}">
                  <a16:creationId xmlns:a16="http://schemas.microsoft.com/office/drawing/2014/main" id="{FCABAF83-9039-4A11-B7A5-50E6C5ADE4AC}"/>
                </a:ext>
              </a:extLst>
            </p:cNvPr>
            <p:cNvSpPr/>
            <p:nvPr/>
          </p:nvSpPr>
          <p:spPr>
            <a:xfrm>
              <a:off x="417384" y="4015760"/>
              <a:ext cx="761022" cy="196215"/>
            </a:xfrm>
            <a:prstGeom prst="rect">
              <a:avLst/>
            </a:prstGeom>
            <a:solidFill>
              <a:schemeClr val="bg1">
                <a:lumMod val="95000"/>
              </a:schemeClr>
            </a:solid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tx1"/>
                  </a:solidFill>
                  <a:latin typeface="Calibri" panose="020F0502020204030204" pitchFamily="34" charset="0"/>
                  <a:cs typeface="Calibri" panose="020F0502020204030204" pitchFamily="34" charset="0"/>
                </a:rPr>
                <a:t>Moved to S1</a:t>
              </a:r>
            </a:p>
          </p:txBody>
        </p:sp>
      </p:grpSp>
      <p:sp>
        <p:nvSpPr>
          <p:cNvPr id="49" name="Flowchart: Process 48">
            <a:extLst>
              <a:ext uri="{FF2B5EF4-FFF2-40B4-BE49-F238E27FC236}">
                <a16:creationId xmlns:a16="http://schemas.microsoft.com/office/drawing/2014/main" id="{9A44E096-2015-47F8-8D1B-188A9D0299A7}"/>
              </a:ext>
            </a:extLst>
          </p:cNvPr>
          <p:cNvSpPr/>
          <p:nvPr/>
        </p:nvSpPr>
        <p:spPr>
          <a:xfrm>
            <a:off x="9125164" y="2735950"/>
            <a:ext cx="1172678" cy="627162"/>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1000">
                <a:solidFill>
                  <a:schemeClr val="tx1"/>
                </a:solidFill>
                <a:latin typeface="Calibri"/>
                <a:cs typeface="Calibri"/>
              </a:rPr>
              <a:t>Grid Infrastructure</a:t>
            </a:r>
            <a:endParaRPr lang="en-US" sz="1000">
              <a:solidFill>
                <a:schemeClr val="tx1"/>
              </a:solidFill>
              <a:latin typeface="Calibri" panose="020F0502020204030204" pitchFamily="34" charset="0"/>
              <a:cs typeface="Calibri" panose="020F0502020204030204" pitchFamily="34" charset="0"/>
            </a:endParaRPr>
          </a:p>
        </p:txBody>
      </p:sp>
      <p:sp>
        <p:nvSpPr>
          <p:cNvPr id="50" name="Flowchart: Process 49">
            <a:extLst>
              <a:ext uri="{FF2B5EF4-FFF2-40B4-BE49-F238E27FC236}">
                <a16:creationId xmlns:a16="http://schemas.microsoft.com/office/drawing/2014/main" id="{E07B5B74-0FBB-4984-86D0-758CF3A56F21}"/>
              </a:ext>
            </a:extLst>
          </p:cNvPr>
          <p:cNvSpPr/>
          <p:nvPr/>
        </p:nvSpPr>
        <p:spPr>
          <a:xfrm>
            <a:off x="9125164" y="3591751"/>
            <a:ext cx="1172678" cy="627162"/>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1000">
                <a:solidFill>
                  <a:schemeClr val="tx1"/>
                </a:solidFill>
                <a:latin typeface="Calibri" panose="020F0502020204030204" pitchFamily="34" charset="0"/>
                <a:cs typeface="Calibri" panose="020F0502020204030204" pitchFamily="34" charset="0"/>
              </a:rPr>
              <a:t>State and Community Energy Programs</a:t>
            </a:r>
          </a:p>
        </p:txBody>
      </p:sp>
      <p:sp>
        <p:nvSpPr>
          <p:cNvPr id="51" name="Flowchart: Process 50">
            <a:extLst>
              <a:ext uri="{FF2B5EF4-FFF2-40B4-BE49-F238E27FC236}">
                <a16:creationId xmlns:a16="http://schemas.microsoft.com/office/drawing/2014/main" id="{FF291ED1-B989-4108-BBB2-1B9078AB3389}"/>
              </a:ext>
            </a:extLst>
          </p:cNvPr>
          <p:cNvSpPr/>
          <p:nvPr/>
        </p:nvSpPr>
        <p:spPr>
          <a:xfrm>
            <a:off x="9116396" y="4439895"/>
            <a:ext cx="1172678" cy="627162"/>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1000">
                <a:solidFill>
                  <a:schemeClr val="tx1"/>
                </a:solidFill>
                <a:latin typeface="Calibri" panose="020F0502020204030204" pitchFamily="34" charset="0"/>
                <a:cs typeface="Calibri" panose="020F0502020204030204" pitchFamily="34" charset="0"/>
              </a:rPr>
              <a:t>Clean Energy Demonstrations</a:t>
            </a:r>
          </a:p>
        </p:txBody>
      </p:sp>
      <p:sp>
        <p:nvSpPr>
          <p:cNvPr id="52" name="Flowchart: Process 51">
            <a:extLst>
              <a:ext uri="{FF2B5EF4-FFF2-40B4-BE49-F238E27FC236}">
                <a16:creationId xmlns:a16="http://schemas.microsoft.com/office/drawing/2014/main" id="{FCE4E4B6-2D50-4CC8-BBC0-3FBDA52E5B8C}"/>
              </a:ext>
            </a:extLst>
          </p:cNvPr>
          <p:cNvSpPr/>
          <p:nvPr/>
        </p:nvSpPr>
        <p:spPr>
          <a:xfrm>
            <a:off x="9116396" y="5280471"/>
            <a:ext cx="1172678" cy="627162"/>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1000">
                <a:solidFill>
                  <a:schemeClr val="tx1"/>
                </a:solidFill>
                <a:latin typeface="Calibri" panose="020F0502020204030204" pitchFamily="34" charset="0"/>
                <a:cs typeface="Calibri" panose="020F0502020204030204" pitchFamily="34" charset="0"/>
              </a:rPr>
              <a:t>Loan Programs</a:t>
            </a:r>
          </a:p>
        </p:txBody>
      </p:sp>
      <p:sp>
        <p:nvSpPr>
          <p:cNvPr id="53" name="Flowchart: Process 52">
            <a:extLst>
              <a:ext uri="{FF2B5EF4-FFF2-40B4-BE49-F238E27FC236}">
                <a16:creationId xmlns:a16="http://schemas.microsoft.com/office/drawing/2014/main" id="{F9075CD4-D6E1-47D4-98D3-CDF406B33255}"/>
              </a:ext>
            </a:extLst>
          </p:cNvPr>
          <p:cNvSpPr/>
          <p:nvPr/>
        </p:nvSpPr>
        <p:spPr>
          <a:xfrm>
            <a:off x="7751934" y="2735950"/>
            <a:ext cx="1172678" cy="627162"/>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1000">
                <a:solidFill>
                  <a:schemeClr val="tx1"/>
                </a:solidFill>
                <a:latin typeface="Calibri" panose="020F0502020204030204" pitchFamily="34" charset="0"/>
                <a:cs typeface="Calibri" panose="020F0502020204030204" pitchFamily="34" charset="0"/>
              </a:rPr>
              <a:t>Indian Energy Policy and Programs</a:t>
            </a:r>
          </a:p>
        </p:txBody>
      </p:sp>
      <p:sp>
        <p:nvSpPr>
          <p:cNvPr id="54" name="Flowchart: Process 53">
            <a:extLst>
              <a:ext uri="{FF2B5EF4-FFF2-40B4-BE49-F238E27FC236}">
                <a16:creationId xmlns:a16="http://schemas.microsoft.com/office/drawing/2014/main" id="{DB8D7EA6-D5AD-4C06-BCD9-42B4EA2B4BCF}"/>
              </a:ext>
            </a:extLst>
          </p:cNvPr>
          <p:cNvSpPr/>
          <p:nvPr/>
        </p:nvSpPr>
        <p:spPr>
          <a:xfrm>
            <a:off x="7751934" y="3591751"/>
            <a:ext cx="1172678" cy="627162"/>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1000">
                <a:solidFill>
                  <a:schemeClr val="tx1"/>
                </a:solidFill>
                <a:latin typeface="Calibri" panose="020F0502020204030204" pitchFamily="34" charset="0"/>
                <a:cs typeface="Calibri" panose="020F0502020204030204" pitchFamily="34" charset="0"/>
              </a:rPr>
              <a:t>Manufacturing and Energy Supply Chains</a:t>
            </a:r>
          </a:p>
        </p:txBody>
      </p:sp>
      <p:sp>
        <p:nvSpPr>
          <p:cNvPr id="55" name="Flowchart: Process 54">
            <a:extLst>
              <a:ext uri="{FF2B5EF4-FFF2-40B4-BE49-F238E27FC236}">
                <a16:creationId xmlns:a16="http://schemas.microsoft.com/office/drawing/2014/main" id="{5669B804-470B-4A7F-AD19-DB879AC8351F}"/>
              </a:ext>
            </a:extLst>
          </p:cNvPr>
          <p:cNvSpPr/>
          <p:nvPr/>
        </p:nvSpPr>
        <p:spPr>
          <a:xfrm>
            <a:off x="7751934" y="4439895"/>
            <a:ext cx="1172678" cy="627162"/>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1000">
                <a:solidFill>
                  <a:schemeClr val="tx1"/>
                </a:solidFill>
                <a:latin typeface="Calibri" panose="020F0502020204030204" pitchFamily="34" charset="0"/>
                <a:cs typeface="Calibri" panose="020F0502020204030204" pitchFamily="34" charset="0"/>
              </a:rPr>
              <a:t>Federal Energy Management</a:t>
            </a:r>
          </a:p>
        </p:txBody>
      </p:sp>
      <p:sp>
        <p:nvSpPr>
          <p:cNvPr id="56" name="Flowchart: Process 55">
            <a:extLst>
              <a:ext uri="{FF2B5EF4-FFF2-40B4-BE49-F238E27FC236}">
                <a16:creationId xmlns:a16="http://schemas.microsoft.com/office/drawing/2014/main" id="{21C1EEBE-F5C8-44B4-8692-AFF2FEB9EA4F}"/>
              </a:ext>
            </a:extLst>
          </p:cNvPr>
          <p:cNvSpPr/>
          <p:nvPr/>
        </p:nvSpPr>
        <p:spPr>
          <a:xfrm>
            <a:off x="7751934" y="5280471"/>
            <a:ext cx="1172678" cy="627162"/>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1000">
                <a:solidFill>
                  <a:schemeClr val="tx1"/>
                </a:solidFill>
                <a:latin typeface="Calibri" panose="020F0502020204030204" pitchFamily="34" charset="0"/>
                <a:cs typeface="Calibri" panose="020F0502020204030204" pitchFamily="34" charset="0"/>
              </a:rPr>
              <a:t>CESER</a:t>
            </a:r>
          </a:p>
        </p:txBody>
      </p:sp>
      <p:sp>
        <p:nvSpPr>
          <p:cNvPr id="57" name="Flowchart: Process 56">
            <a:extLst>
              <a:ext uri="{FF2B5EF4-FFF2-40B4-BE49-F238E27FC236}">
                <a16:creationId xmlns:a16="http://schemas.microsoft.com/office/drawing/2014/main" id="{B3108D5B-F1D7-49FE-8BD6-69880C732F41}"/>
              </a:ext>
            </a:extLst>
          </p:cNvPr>
          <p:cNvSpPr/>
          <p:nvPr/>
        </p:nvSpPr>
        <p:spPr>
          <a:xfrm>
            <a:off x="10764476" y="2062343"/>
            <a:ext cx="1179958" cy="190549"/>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800">
                <a:solidFill>
                  <a:schemeClr val="tx1"/>
                </a:solidFill>
                <a:latin typeface="Calibri" panose="020F0502020204030204" pitchFamily="34" charset="0"/>
                <a:cs typeface="Calibri" panose="020F0502020204030204" pitchFamily="34" charset="0"/>
              </a:rPr>
              <a:t>Crosscutting Coordination</a:t>
            </a:r>
          </a:p>
        </p:txBody>
      </p:sp>
      <p:sp>
        <p:nvSpPr>
          <p:cNvPr id="58" name="Flowchart: Process 57">
            <a:extLst>
              <a:ext uri="{FF2B5EF4-FFF2-40B4-BE49-F238E27FC236}">
                <a16:creationId xmlns:a16="http://schemas.microsoft.com/office/drawing/2014/main" id="{E3513017-C87E-40FB-8DBF-140E12AAFCF2}"/>
              </a:ext>
            </a:extLst>
          </p:cNvPr>
          <p:cNvSpPr/>
          <p:nvPr/>
        </p:nvSpPr>
        <p:spPr>
          <a:xfrm>
            <a:off x="10764476" y="1778670"/>
            <a:ext cx="1179958" cy="191865"/>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800">
                <a:solidFill>
                  <a:schemeClr val="tx1"/>
                </a:solidFill>
                <a:latin typeface="Calibri" panose="020F0502020204030204" pitchFamily="34" charset="0"/>
                <a:cs typeface="Calibri" panose="020F0502020204030204" pitchFamily="34" charset="0"/>
              </a:rPr>
              <a:t>Business Operations</a:t>
            </a:r>
          </a:p>
        </p:txBody>
      </p:sp>
      <p:sp>
        <p:nvSpPr>
          <p:cNvPr id="59" name="Flowchart: Process 58">
            <a:extLst>
              <a:ext uri="{FF2B5EF4-FFF2-40B4-BE49-F238E27FC236}">
                <a16:creationId xmlns:a16="http://schemas.microsoft.com/office/drawing/2014/main" id="{AA1B8628-14E8-46EA-ADF4-D19DD3689101}"/>
              </a:ext>
            </a:extLst>
          </p:cNvPr>
          <p:cNvSpPr/>
          <p:nvPr/>
        </p:nvSpPr>
        <p:spPr>
          <a:xfrm>
            <a:off x="6106533" y="2735950"/>
            <a:ext cx="1172678" cy="627162"/>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1000">
                <a:solidFill>
                  <a:schemeClr val="tx1"/>
                </a:solidFill>
                <a:latin typeface="Calibri" panose="020F0502020204030204" pitchFamily="34" charset="0"/>
                <a:cs typeface="Calibri" panose="020F0502020204030204" pitchFamily="34" charset="0"/>
              </a:rPr>
              <a:t>Energy Efficiency and Renewable Energy</a:t>
            </a:r>
          </a:p>
        </p:txBody>
      </p:sp>
      <p:sp>
        <p:nvSpPr>
          <p:cNvPr id="60" name="Flowchart: Process 59">
            <a:extLst>
              <a:ext uri="{FF2B5EF4-FFF2-40B4-BE49-F238E27FC236}">
                <a16:creationId xmlns:a16="http://schemas.microsoft.com/office/drawing/2014/main" id="{F11B236E-8700-418E-81B8-DB3959B756ED}"/>
              </a:ext>
            </a:extLst>
          </p:cNvPr>
          <p:cNvSpPr/>
          <p:nvPr/>
        </p:nvSpPr>
        <p:spPr>
          <a:xfrm>
            <a:off x="6106533" y="3591751"/>
            <a:ext cx="1172678" cy="627162"/>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1000">
                <a:solidFill>
                  <a:schemeClr val="tx1"/>
                </a:solidFill>
                <a:latin typeface="Calibri" panose="020F0502020204030204" pitchFamily="34" charset="0"/>
                <a:cs typeface="Calibri" panose="020F0502020204030204" pitchFamily="34" charset="0"/>
              </a:rPr>
              <a:t>Fossil Energy and Carbon Management</a:t>
            </a:r>
          </a:p>
        </p:txBody>
      </p:sp>
      <p:sp>
        <p:nvSpPr>
          <p:cNvPr id="61" name="Flowchart: Process 60">
            <a:extLst>
              <a:ext uri="{FF2B5EF4-FFF2-40B4-BE49-F238E27FC236}">
                <a16:creationId xmlns:a16="http://schemas.microsoft.com/office/drawing/2014/main" id="{CB5A92A0-7ED5-4F8A-BFA4-48B1C6A7F049}"/>
              </a:ext>
            </a:extLst>
          </p:cNvPr>
          <p:cNvSpPr/>
          <p:nvPr/>
        </p:nvSpPr>
        <p:spPr>
          <a:xfrm>
            <a:off x="4656055" y="2735950"/>
            <a:ext cx="1172678" cy="627162"/>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1000">
                <a:solidFill>
                  <a:schemeClr val="tx1"/>
                </a:solidFill>
                <a:latin typeface="Calibri" panose="020F0502020204030204" pitchFamily="34" charset="0"/>
                <a:cs typeface="Calibri" panose="020F0502020204030204" pitchFamily="34" charset="0"/>
              </a:rPr>
              <a:t>Office of Electricity</a:t>
            </a:r>
          </a:p>
        </p:txBody>
      </p:sp>
      <p:sp>
        <p:nvSpPr>
          <p:cNvPr id="62" name="Flowchart: Process 61">
            <a:extLst>
              <a:ext uri="{FF2B5EF4-FFF2-40B4-BE49-F238E27FC236}">
                <a16:creationId xmlns:a16="http://schemas.microsoft.com/office/drawing/2014/main" id="{0DBA579A-B148-4AB6-AEB2-0D374AE03306}"/>
              </a:ext>
            </a:extLst>
          </p:cNvPr>
          <p:cNvSpPr/>
          <p:nvPr/>
        </p:nvSpPr>
        <p:spPr>
          <a:xfrm>
            <a:off x="4652203" y="3591751"/>
            <a:ext cx="1172678" cy="627162"/>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1000">
                <a:solidFill>
                  <a:schemeClr val="tx1"/>
                </a:solidFill>
                <a:latin typeface="Calibri" panose="020F0502020204030204" pitchFamily="34" charset="0"/>
                <a:cs typeface="Calibri" panose="020F0502020204030204" pitchFamily="34" charset="0"/>
              </a:rPr>
              <a:t>Nuclear Energy</a:t>
            </a:r>
          </a:p>
        </p:txBody>
      </p:sp>
      <p:sp>
        <p:nvSpPr>
          <p:cNvPr id="63" name="Flowchart: Process 62">
            <a:extLst>
              <a:ext uri="{FF2B5EF4-FFF2-40B4-BE49-F238E27FC236}">
                <a16:creationId xmlns:a16="http://schemas.microsoft.com/office/drawing/2014/main" id="{B66DFDEA-B0D0-4397-A4B4-543C40BC2889}"/>
              </a:ext>
            </a:extLst>
          </p:cNvPr>
          <p:cNvSpPr/>
          <p:nvPr/>
        </p:nvSpPr>
        <p:spPr>
          <a:xfrm>
            <a:off x="6100434" y="4441418"/>
            <a:ext cx="1172678" cy="627162"/>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1000">
                <a:solidFill>
                  <a:schemeClr val="tx1"/>
                </a:solidFill>
                <a:latin typeface="Calibri" panose="020F0502020204030204" pitchFamily="34" charset="0"/>
                <a:cs typeface="Calibri" panose="020F0502020204030204" pitchFamily="34" charset="0"/>
              </a:rPr>
              <a:t>Arctic Energy</a:t>
            </a:r>
          </a:p>
        </p:txBody>
      </p:sp>
      <p:sp>
        <p:nvSpPr>
          <p:cNvPr id="64" name="Flowchart: Process 63">
            <a:extLst>
              <a:ext uri="{FF2B5EF4-FFF2-40B4-BE49-F238E27FC236}">
                <a16:creationId xmlns:a16="http://schemas.microsoft.com/office/drawing/2014/main" id="{0CF30CBE-6834-4B94-ACA6-CE08CB89B59E}"/>
              </a:ext>
            </a:extLst>
          </p:cNvPr>
          <p:cNvSpPr/>
          <p:nvPr/>
        </p:nvSpPr>
        <p:spPr>
          <a:xfrm>
            <a:off x="4646906" y="4441418"/>
            <a:ext cx="1172678" cy="627162"/>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1000">
                <a:solidFill>
                  <a:schemeClr val="tx1"/>
                </a:solidFill>
                <a:latin typeface="Calibri" panose="020F0502020204030204" pitchFamily="34" charset="0"/>
                <a:cs typeface="Calibri" panose="020F0502020204030204" pitchFamily="34" charset="0"/>
              </a:rPr>
              <a:t>AI Technology Office</a:t>
            </a:r>
          </a:p>
        </p:txBody>
      </p:sp>
      <p:cxnSp>
        <p:nvCxnSpPr>
          <p:cNvPr id="65" name="Connector: Elbow 64">
            <a:extLst>
              <a:ext uri="{FF2B5EF4-FFF2-40B4-BE49-F238E27FC236}">
                <a16:creationId xmlns:a16="http://schemas.microsoft.com/office/drawing/2014/main" id="{EFF9D7E8-2EB9-4933-B80A-88EC8D0D0352}"/>
              </a:ext>
            </a:extLst>
          </p:cNvPr>
          <p:cNvCxnSpPr>
            <a:cxnSpLocks/>
            <a:stCxn id="13" idx="2"/>
            <a:endCxn id="37" idx="0"/>
          </p:cNvCxnSpPr>
          <p:nvPr/>
        </p:nvCxnSpPr>
        <p:spPr>
          <a:xfrm rot="16200000" flipH="1">
            <a:off x="6437556" y="-756602"/>
            <a:ext cx="954183" cy="4222022"/>
          </a:xfrm>
          <a:prstGeom prst="bentConnector3">
            <a:avLst>
              <a:gd name="adj1" fmla="val 65224"/>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6" name="Flowchart: Process 65">
            <a:extLst>
              <a:ext uri="{FF2B5EF4-FFF2-40B4-BE49-F238E27FC236}">
                <a16:creationId xmlns:a16="http://schemas.microsoft.com/office/drawing/2014/main" id="{66642C91-88B0-47E4-BBAB-0D8166DC5207}"/>
              </a:ext>
            </a:extLst>
          </p:cNvPr>
          <p:cNvSpPr/>
          <p:nvPr/>
        </p:nvSpPr>
        <p:spPr>
          <a:xfrm>
            <a:off x="5382530" y="5294275"/>
            <a:ext cx="1172678" cy="627162"/>
          </a:xfrm>
          <a:prstGeom prst="flowChartProcess">
            <a:avLst/>
          </a:prstGeom>
          <a:solidFill>
            <a:schemeClr val="bg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 tIns="0" rIns="18288" bIns="0" numCol="1" spcCol="1270" anchor="ctr" anchorCtr="0">
            <a:noAutofit/>
          </a:bodyPr>
          <a:lstStyle/>
          <a:p>
            <a:pPr algn="ctr" defTabSz="222250">
              <a:lnSpc>
                <a:spcPct val="90000"/>
              </a:lnSpc>
              <a:spcAft>
                <a:spcPct val="35000"/>
              </a:spcAft>
            </a:pPr>
            <a:r>
              <a:rPr lang="en-US" sz="1000">
                <a:solidFill>
                  <a:schemeClr val="tx1"/>
                </a:solidFill>
                <a:latin typeface="Calibri" panose="020F0502020204030204" pitchFamily="34" charset="0"/>
                <a:cs typeface="Calibri" panose="020F0502020204030204" pitchFamily="34" charset="0"/>
              </a:rPr>
              <a:t>Office of Science</a:t>
            </a:r>
          </a:p>
        </p:txBody>
      </p:sp>
      <p:cxnSp>
        <p:nvCxnSpPr>
          <p:cNvPr id="67" name="Straight Connector 66">
            <a:extLst>
              <a:ext uri="{FF2B5EF4-FFF2-40B4-BE49-F238E27FC236}">
                <a16:creationId xmlns:a16="http://schemas.microsoft.com/office/drawing/2014/main" id="{7FA57B33-F1C6-48E7-B894-F84117F5D686}"/>
              </a:ext>
            </a:extLst>
          </p:cNvPr>
          <p:cNvCxnSpPr>
            <a:cxnSpLocks/>
            <a:stCxn id="66" idx="0"/>
            <a:endCxn id="17" idx="2"/>
          </p:cNvCxnSpPr>
          <p:nvPr/>
        </p:nvCxnSpPr>
        <p:spPr>
          <a:xfrm flipV="1">
            <a:off x="5968869" y="2487892"/>
            <a:ext cx="0" cy="2806383"/>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8FB2F5C9-E024-4DDC-A8BF-868512F10154}"/>
              </a:ext>
            </a:extLst>
          </p:cNvPr>
          <p:cNvCxnSpPr>
            <a:cxnSpLocks/>
            <a:stCxn id="61" idx="3"/>
            <a:endCxn id="59" idx="1"/>
          </p:cNvCxnSpPr>
          <p:nvPr/>
        </p:nvCxnSpPr>
        <p:spPr>
          <a:xfrm>
            <a:off x="5828733" y="3049531"/>
            <a:ext cx="2778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76FA86DD-E278-4929-A80B-7FBF50DB6203}"/>
              </a:ext>
            </a:extLst>
          </p:cNvPr>
          <p:cNvCxnSpPr>
            <a:cxnSpLocks/>
            <a:stCxn id="62" idx="3"/>
            <a:endCxn id="60" idx="1"/>
          </p:cNvCxnSpPr>
          <p:nvPr/>
        </p:nvCxnSpPr>
        <p:spPr>
          <a:xfrm>
            <a:off x="5824881" y="3905332"/>
            <a:ext cx="281652"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30008687-ADB2-4109-BC79-57EBFD841C84}"/>
              </a:ext>
            </a:extLst>
          </p:cNvPr>
          <p:cNvCxnSpPr>
            <a:cxnSpLocks/>
            <a:stCxn id="64" idx="3"/>
            <a:endCxn id="63" idx="1"/>
          </p:cNvCxnSpPr>
          <p:nvPr/>
        </p:nvCxnSpPr>
        <p:spPr>
          <a:xfrm>
            <a:off x="5819584" y="4754999"/>
            <a:ext cx="28085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52D6D426-4120-41A9-92D8-06B9FA411BD1}"/>
              </a:ext>
            </a:extLst>
          </p:cNvPr>
          <p:cNvCxnSpPr>
            <a:cxnSpLocks/>
          </p:cNvCxnSpPr>
          <p:nvPr/>
        </p:nvCxnSpPr>
        <p:spPr>
          <a:xfrm flipV="1">
            <a:off x="9028434" y="2487893"/>
            <a:ext cx="0" cy="3101293"/>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DC67BE16-0392-4D3F-9330-C3BAA9738B38}"/>
              </a:ext>
            </a:extLst>
          </p:cNvPr>
          <p:cNvCxnSpPr>
            <a:cxnSpLocks/>
            <a:stCxn id="55" idx="3"/>
            <a:endCxn id="51" idx="1"/>
          </p:cNvCxnSpPr>
          <p:nvPr/>
        </p:nvCxnSpPr>
        <p:spPr>
          <a:xfrm>
            <a:off x="8924612" y="4753476"/>
            <a:ext cx="191784"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229CDE6C-0B14-4FC8-A900-2FF2097762AD}"/>
              </a:ext>
            </a:extLst>
          </p:cNvPr>
          <p:cNvCxnSpPr>
            <a:cxnSpLocks/>
            <a:stCxn id="56" idx="3"/>
            <a:endCxn id="52" idx="1"/>
          </p:cNvCxnSpPr>
          <p:nvPr/>
        </p:nvCxnSpPr>
        <p:spPr>
          <a:xfrm>
            <a:off x="8924612" y="5594052"/>
            <a:ext cx="191784"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CB29DEBA-CC97-4D4E-B1AB-5EB5FE90FD01}"/>
              </a:ext>
            </a:extLst>
          </p:cNvPr>
          <p:cNvCxnSpPr>
            <a:cxnSpLocks/>
            <a:stCxn id="54" idx="3"/>
            <a:endCxn id="50" idx="1"/>
          </p:cNvCxnSpPr>
          <p:nvPr/>
        </p:nvCxnSpPr>
        <p:spPr>
          <a:xfrm>
            <a:off x="8924612" y="3905332"/>
            <a:ext cx="200552"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5" name="Text Box 25">
            <a:extLst>
              <a:ext uri="{FF2B5EF4-FFF2-40B4-BE49-F238E27FC236}">
                <a16:creationId xmlns:a16="http://schemas.microsoft.com/office/drawing/2014/main" id="{E6DFA415-B753-4947-A051-8E1F82936A92}"/>
              </a:ext>
            </a:extLst>
          </p:cNvPr>
          <p:cNvSpPr txBox="1">
            <a:spLocks noChangeArrowheads="1"/>
          </p:cNvSpPr>
          <p:nvPr/>
        </p:nvSpPr>
        <p:spPr bwMode="auto">
          <a:xfrm>
            <a:off x="10764476" y="2567729"/>
            <a:ext cx="676656" cy="228600"/>
          </a:xfrm>
          <a:prstGeom prst="rect">
            <a:avLst/>
          </a:prstGeom>
          <a:solidFill>
            <a:schemeClr val="bg1"/>
          </a:solidFill>
          <a:ln w="12700">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defPPr>
              <a:defRPr lang="en-US"/>
            </a:defPPr>
            <a:lvl1pPr algn="ctr" defTabSz="222250">
              <a:lnSpc>
                <a:spcPct val="90000"/>
              </a:lnSpc>
              <a:spcAft>
                <a:spcPct val="35000"/>
              </a:spcAft>
              <a:defRPr sz="1000">
                <a:solidFill>
                  <a:schemeClr val="tx1"/>
                </a:solidFill>
                <a:latin typeface="Calibri"/>
                <a:cs typeface="Calibr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600"/>
              <a:t>Bonneville Power Administration</a:t>
            </a:r>
          </a:p>
        </p:txBody>
      </p:sp>
      <p:sp>
        <p:nvSpPr>
          <p:cNvPr id="76" name="Text Box 25">
            <a:extLst>
              <a:ext uri="{FF2B5EF4-FFF2-40B4-BE49-F238E27FC236}">
                <a16:creationId xmlns:a16="http://schemas.microsoft.com/office/drawing/2014/main" id="{FA06C61D-9316-44EA-90E2-8FD92187CB1F}"/>
              </a:ext>
            </a:extLst>
          </p:cNvPr>
          <p:cNvSpPr txBox="1">
            <a:spLocks noChangeArrowheads="1"/>
          </p:cNvSpPr>
          <p:nvPr/>
        </p:nvSpPr>
        <p:spPr bwMode="auto">
          <a:xfrm>
            <a:off x="10764476" y="2875198"/>
            <a:ext cx="676656" cy="228600"/>
          </a:xfrm>
          <a:prstGeom prst="rect">
            <a:avLst/>
          </a:prstGeom>
          <a:solidFill>
            <a:schemeClr val="bg1"/>
          </a:solidFill>
          <a:ln w="12700">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defPPr>
              <a:defRPr lang="en-US"/>
            </a:defPPr>
            <a:lvl1pPr algn="ctr" defTabSz="222250">
              <a:lnSpc>
                <a:spcPct val="90000"/>
              </a:lnSpc>
              <a:spcAft>
                <a:spcPct val="35000"/>
              </a:spcAft>
              <a:defRPr sz="1000">
                <a:solidFill>
                  <a:schemeClr val="tx1"/>
                </a:solidFill>
                <a:latin typeface="Calibri"/>
                <a:cs typeface="Calibr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600"/>
              <a:t>Southeastern Power Administration</a:t>
            </a:r>
          </a:p>
        </p:txBody>
      </p:sp>
      <p:sp>
        <p:nvSpPr>
          <p:cNvPr id="77" name="Text Box 25">
            <a:extLst>
              <a:ext uri="{FF2B5EF4-FFF2-40B4-BE49-F238E27FC236}">
                <a16:creationId xmlns:a16="http://schemas.microsoft.com/office/drawing/2014/main" id="{4BC8497B-BE62-4903-A7C3-C41C575FA81B}"/>
              </a:ext>
            </a:extLst>
          </p:cNvPr>
          <p:cNvSpPr txBox="1">
            <a:spLocks noChangeArrowheads="1"/>
          </p:cNvSpPr>
          <p:nvPr/>
        </p:nvSpPr>
        <p:spPr bwMode="auto">
          <a:xfrm>
            <a:off x="10764476" y="3182667"/>
            <a:ext cx="676656" cy="228600"/>
          </a:xfrm>
          <a:prstGeom prst="rect">
            <a:avLst/>
          </a:prstGeom>
          <a:solidFill>
            <a:schemeClr val="bg1"/>
          </a:solidFill>
          <a:ln w="12700">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defPPr>
              <a:defRPr lang="en-US"/>
            </a:defPPr>
            <a:lvl1pPr algn="ctr" defTabSz="222250">
              <a:lnSpc>
                <a:spcPct val="90000"/>
              </a:lnSpc>
              <a:spcAft>
                <a:spcPct val="35000"/>
              </a:spcAft>
              <a:defRPr sz="1000">
                <a:solidFill>
                  <a:schemeClr val="tx1"/>
                </a:solidFill>
                <a:latin typeface="Calibri"/>
                <a:cs typeface="Calibr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600"/>
              <a:t>Southwestern Power Administration</a:t>
            </a:r>
          </a:p>
        </p:txBody>
      </p:sp>
      <p:sp>
        <p:nvSpPr>
          <p:cNvPr id="78" name="Text Box 25">
            <a:extLst>
              <a:ext uri="{FF2B5EF4-FFF2-40B4-BE49-F238E27FC236}">
                <a16:creationId xmlns:a16="http://schemas.microsoft.com/office/drawing/2014/main" id="{925DA21D-7286-4E0B-8264-01394C6A75F7}"/>
              </a:ext>
            </a:extLst>
          </p:cNvPr>
          <p:cNvSpPr txBox="1">
            <a:spLocks noChangeArrowheads="1"/>
          </p:cNvSpPr>
          <p:nvPr/>
        </p:nvSpPr>
        <p:spPr bwMode="auto">
          <a:xfrm>
            <a:off x="10764476" y="3490136"/>
            <a:ext cx="676656" cy="228600"/>
          </a:xfrm>
          <a:prstGeom prst="rect">
            <a:avLst/>
          </a:prstGeom>
          <a:solidFill>
            <a:schemeClr val="bg1"/>
          </a:solidFill>
          <a:ln w="12700">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defPPr>
              <a:defRPr lang="en-US"/>
            </a:defPPr>
            <a:lvl1pPr algn="ctr" defTabSz="222250">
              <a:lnSpc>
                <a:spcPct val="90000"/>
              </a:lnSpc>
              <a:spcAft>
                <a:spcPct val="35000"/>
              </a:spcAft>
              <a:defRPr sz="1000">
                <a:solidFill>
                  <a:schemeClr val="tx1"/>
                </a:solidFill>
                <a:latin typeface="Calibri"/>
                <a:cs typeface="Calibr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600"/>
              <a:t>Western Area Power Administration</a:t>
            </a:r>
          </a:p>
        </p:txBody>
      </p:sp>
      <p:cxnSp>
        <p:nvCxnSpPr>
          <p:cNvPr id="79" name="Straight Connector 78">
            <a:extLst>
              <a:ext uri="{FF2B5EF4-FFF2-40B4-BE49-F238E27FC236}">
                <a16:creationId xmlns:a16="http://schemas.microsoft.com/office/drawing/2014/main" id="{EB843AC4-F942-4301-A877-EC914A9F400C}"/>
              </a:ext>
            </a:extLst>
          </p:cNvPr>
          <p:cNvCxnSpPr>
            <a:cxnSpLocks/>
            <a:stCxn id="53" idx="3"/>
            <a:endCxn id="49" idx="1"/>
          </p:cNvCxnSpPr>
          <p:nvPr/>
        </p:nvCxnSpPr>
        <p:spPr>
          <a:xfrm>
            <a:off x="8924612" y="3049531"/>
            <a:ext cx="200552"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0" name="Connector: Elbow 79">
            <a:extLst>
              <a:ext uri="{FF2B5EF4-FFF2-40B4-BE49-F238E27FC236}">
                <a16:creationId xmlns:a16="http://schemas.microsoft.com/office/drawing/2014/main" id="{89FEA1FB-A7DF-49FE-86C2-709B8FC3E5DE}"/>
              </a:ext>
            </a:extLst>
          </p:cNvPr>
          <p:cNvCxnSpPr>
            <a:cxnSpLocks/>
            <a:stCxn id="13" idx="2"/>
            <a:endCxn id="16" idx="0"/>
          </p:cNvCxnSpPr>
          <p:nvPr/>
        </p:nvCxnSpPr>
        <p:spPr>
          <a:xfrm rot="5400000">
            <a:off x="3762105" y="787951"/>
            <a:ext cx="952165" cy="1130899"/>
          </a:xfrm>
          <a:prstGeom prst="bentConnector3">
            <a:avLst>
              <a:gd name="adj1" fmla="val 65255"/>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Connector: Elbow 80">
            <a:extLst>
              <a:ext uri="{FF2B5EF4-FFF2-40B4-BE49-F238E27FC236}">
                <a16:creationId xmlns:a16="http://schemas.microsoft.com/office/drawing/2014/main" id="{CC1C25DE-12AB-42D2-A8FA-251C9F13F409}"/>
              </a:ext>
            </a:extLst>
          </p:cNvPr>
          <p:cNvCxnSpPr>
            <a:cxnSpLocks/>
            <a:stCxn id="13" idx="2"/>
            <a:endCxn id="17" idx="0"/>
          </p:cNvCxnSpPr>
          <p:nvPr/>
        </p:nvCxnSpPr>
        <p:spPr>
          <a:xfrm rot="16200000" flipH="1">
            <a:off x="4907056" y="773897"/>
            <a:ext cx="958392" cy="1165233"/>
          </a:xfrm>
          <a:prstGeom prst="bentConnector3">
            <a:avLst>
              <a:gd name="adj1" fmla="val 64908"/>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2" name="Connector: Elbow 81">
            <a:extLst>
              <a:ext uri="{FF2B5EF4-FFF2-40B4-BE49-F238E27FC236}">
                <a16:creationId xmlns:a16="http://schemas.microsoft.com/office/drawing/2014/main" id="{7C2133DC-2E67-447D-8604-81F7CC8576B4}"/>
              </a:ext>
            </a:extLst>
          </p:cNvPr>
          <p:cNvCxnSpPr>
            <a:cxnSpLocks/>
            <a:endCxn id="75" idx="1"/>
          </p:cNvCxnSpPr>
          <p:nvPr/>
        </p:nvCxnSpPr>
        <p:spPr>
          <a:xfrm>
            <a:off x="9551037" y="2424047"/>
            <a:ext cx="1213439" cy="257982"/>
          </a:xfrm>
          <a:prstGeom prst="bentConnector3">
            <a:avLst>
              <a:gd name="adj1" fmla="val 90818"/>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a:extLst>
              <a:ext uri="{FF2B5EF4-FFF2-40B4-BE49-F238E27FC236}">
                <a16:creationId xmlns:a16="http://schemas.microsoft.com/office/drawing/2014/main" id="{3EE7EFA6-C158-4A57-9F7C-32DE43F05E60}"/>
              </a:ext>
            </a:extLst>
          </p:cNvPr>
          <p:cNvCxnSpPr>
            <a:cxnSpLocks/>
          </p:cNvCxnSpPr>
          <p:nvPr/>
        </p:nvCxnSpPr>
        <p:spPr>
          <a:xfrm flipH="1">
            <a:off x="9551037" y="2157617"/>
            <a:ext cx="1202608"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4" name="Connector: Elbow 83">
            <a:extLst>
              <a:ext uri="{FF2B5EF4-FFF2-40B4-BE49-F238E27FC236}">
                <a16:creationId xmlns:a16="http://schemas.microsoft.com/office/drawing/2014/main" id="{CD21366D-B292-4419-82D3-F5AE9CA8A760}"/>
              </a:ext>
            </a:extLst>
          </p:cNvPr>
          <p:cNvCxnSpPr>
            <a:cxnSpLocks/>
            <a:endCxn id="78" idx="1"/>
          </p:cNvCxnSpPr>
          <p:nvPr/>
        </p:nvCxnSpPr>
        <p:spPr>
          <a:xfrm rot="16200000" flipH="1">
            <a:off x="10247674" y="3087633"/>
            <a:ext cx="922405" cy="111199"/>
          </a:xfrm>
          <a:prstGeom prst="bentConnector2">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a16="http://schemas.microsoft.com/office/drawing/2014/main" id="{119E1A63-A341-4FCB-A87F-101F7500A2F0}"/>
              </a:ext>
            </a:extLst>
          </p:cNvPr>
          <p:cNvCxnSpPr>
            <a:cxnSpLocks/>
          </p:cNvCxnSpPr>
          <p:nvPr/>
        </p:nvCxnSpPr>
        <p:spPr>
          <a:xfrm flipH="1">
            <a:off x="10648512" y="2989498"/>
            <a:ext cx="115964"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6" name="Straight Connector 85">
            <a:extLst>
              <a:ext uri="{FF2B5EF4-FFF2-40B4-BE49-F238E27FC236}">
                <a16:creationId xmlns:a16="http://schemas.microsoft.com/office/drawing/2014/main" id="{AF1DBC65-AFD2-4945-8980-150BBB57E549}"/>
              </a:ext>
            </a:extLst>
          </p:cNvPr>
          <p:cNvCxnSpPr>
            <a:cxnSpLocks/>
          </p:cNvCxnSpPr>
          <p:nvPr/>
        </p:nvCxnSpPr>
        <p:spPr>
          <a:xfrm flipH="1">
            <a:off x="10648512" y="3301442"/>
            <a:ext cx="115964"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8" name="TextBox 87">
            <a:extLst>
              <a:ext uri="{FF2B5EF4-FFF2-40B4-BE49-F238E27FC236}">
                <a16:creationId xmlns:a16="http://schemas.microsoft.com/office/drawing/2014/main" id="{DE5ADF8E-D015-4A53-B891-C094EDE30D55}"/>
              </a:ext>
            </a:extLst>
          </p:cNvPr>
          <p:cNvSpPr txBox="1"/>
          <p:nvPr/>
        </p:nvSpPr>
        <p:spPr>
          <a:xfrm>
            <a:off x="724796" y="514267"/>
            <a:ext cx="6094520" cy="707886"/>
          </a:xfrm>
          <a:prstGeom prst="rect">
            <a:avLst/>
          </a:prstGeom>
          <a:noFill/>
        </p:spPr>
        <p:txBody>
          <a:bodyPr wrap="square" lIns="91440" tIns="45720" rIns="91440" bIns="45720" anchor="t">
            <a:spAutoFit/>
          </a:bodyPr>
          <a:lstStyle/>
          <a:p>
            <a:endParaRPr lang="en-US" sz="4000" b="1">
              <a:latin typeface="Arial"/>
              <a:cs typeface="Arial"/>
            </a:endParaRPr>
          </a:p>
        </p:txBody>
      </p:sp>
    </p:spTree>
    <p:extLst>
      <p:ext uri="{BB962C8B-B14F-4D97-AF65-F5344CB8AC3E}">
        <p14:creationId xmlns:p14="http://schemas.microsoft.com/office/powerpoint/2010/main" val="40563601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000883F-8ED6-4DB3-9807-3F6F9D9EE17C}"/>
              </a:ext>
            </a:extLst>
          </p:cNvPr>
          <p:cNvSpPr>
            <a:spLocks noGrp="1"/>
          </p:cNvSpPr>
          <p:nvPr>
            <p:ph type="sldNum" sz="quarter" idx="12"/>
          </p:nvPr>
        </p:nvSpPr>
        <p:spPr/>
        <p:txBody>
          <a:bodyPr/>
          <a:lstStyle/>
          <a:p>
            <a:fld id="{B617542F-3D05-4156-9308-A42F80506B15}" type="slidenum">
              <a:rPr lang="en-US" smtClean="0"/>
              <a:pPr/>
              <a:t>4</a:t>
            </a:fld>
            <a:endParaRPr lang="en-US"/>
          </a:p>
        </p:txBody>
      </p:sp>
      <p:sp>
        <p:nvSpPr>
          <p:cNvPr id="5" name="Title 1">
            <a:extLst>
              <a:ext uri="{FF2B5EF4-FFF2-40B4-BE49-F238E27FC236}">
                <a16:creationId xmlns:a16="http://schemas.microsoft.com/office/drawing/2014/main" id="{EADA31C5-8C50-499E-85CA-388763021DAC}"/>
              </a:ext>
            </a:extLst>
          </p:cNvPr>
          <p:cNvSpPr>
            <a:spLocks noGrp="1"/>
          </p:cNvSpPr>
          <p:nvPr>
            <p:ph type="title"/>
          </p:nvPr>
        </p:nvSpPr>
        <p:spPr>
          <a:xfrm>
            <a:off x="838200" y="238125"/>
            <a:ext cx="10515600" cy="1325563"/>
          </a:xfrm>
        </p:spPr>
        <p:txBody>
          <a:bodyPr>
            <a:normAutofit/>
          </a:bodyPr>
          <a:lstStyle/>
          <a:p>
            <a:r>
              <a:rPr lang="en-US" sz="3400"/>
              <a:t>Expanding Access to Energy Efficiency and Clean Energy</a:t>
            </a:r>
          </a:p>
        </p:txBody>
      </p:sp>
      <p:sp>
        <p:nvSpPr>
          <p:cNvPr id="6" name="Content Placeholder 2">
            <a:extLst>
              <a:ext uri="{FF2B5EF4-FFF2-40B4-BE49-F238E27FC236}">
                <a16:creationId xmlns:a16="http://schemas.microsoft.com/office/drawing/2014/main" id="{F9C4A488-7AF0-4E55-8A77-DE8E613357EB}"/>
              </a:ext>
            </a:extLst>
          </p:cNvPr>
          <p:cNvSpPr>
            <a:spLocks noGrp="1"/>
          </p:cNvSpPr>
          <p:nvPr>
            <p:ph idx="1"/>
          </p:nvPr>
        </p:nvSpPr>
        <p:spPr>
          <a:xfrm>
            <a:off x="733124" y="1684600"/>
            <a:ext cx="10410524" cy="4579013"/>
          </a:xfrm>
        </p:spPr>
        <p:txBody>
          <a:bodyPr vert="horz" lIns="91440" tIns="45720" rIns="91440" bIns="45720" rtlCol="0" anchor="t">
            <a:normAutofit/>
          </a:bodyPr>
          <a:lstStyle/>
          <a:p>
            <a:pPr>
              <a:spcBef>
                <a:spcPts val="600"/>
              </a:spcBef>
              <a:spcAft>
                <a:spcPts val="600"/>
              </a:spcAft>
            </a:pPr>
            <a:r>
              <a:rPr lang="en-US" sz="2400" dirty="0">
                <a:solidFill>
                  <a:schemeClr val="tx1">
                    <a:lumMod val="75000"/>
                    <a:lumOff val="25000"/>
                  </a:schemeClr>
                </a:solidFill>
                <a:latin typeface="Franklin Gothic Book"/>
                <a:cs typeface="Arial"/>
              </a:rPr>
              <a:t>Invest </a:t>
            </a:r>
            <a:r>
              <a:rPr lang="en-US" sz="2400" b="1" dirty="0">
                <a:solidFill>
                  <a:schemeClr val="tx1">
                    <a:lumMod val="75000"/>
                    <a:lumOff val="25000"/>
                  </a:schemeClr>
                </a:solidFill>
                <a:latin typeface="Franklin Gothic Book"/>
                <a:cs typeface="Arial"/>
              </a:rPr>
              <a:t>$3.5 billion </a:t>
            </a:r>
            <a:r>
              <a:rPr lang="en-US" sz="2400" dirty="0">
                <a:solidFill>
                  <a:schemeClr val="tx1">
                    <a:lumMod val="75000"/>
                    <a:lumOff val="25000"/>
                  </a:schemeClr>
                </a:solidFill>
                <a:latin typeface="Franklin Gothic Book"/>
                <a:cs typeface="Arial"/>
              </a:rPr>
              <a:t>in the Weatherization Assistance Program that will reduce energy costs for low-income households by hundreds of dollars every year </a:t>
            </a:r>
            <a:endParaRPr lang="en-US" sz="2400" dirty="0">
              <a:solidFill>
                <a:schemeClr val="tx1">
                  <a:lumMod val="75000"/>
                  <a:lumOff val="25000"/>
                </a:schemeClr>
              </a:solidFill>
            </a:endParaRPr>
          </a:p>
          <a:p>
            <a:pPr>
              <a:spcBef>
                <a:spcPts val="600"/>
              </a:spcBef>
              <a:spcAft>
                <a:spcPts val="600"/>
              </a:spcAft>
            </a:pPr>
            <a:r>
              <a:rPr lang="en-US" sz="2400" dirty="0">
                <a:solidFill>
                  <a:schemeClr val="tx1">
                    <a:lumMod val="75000"/>
                    <a:lumOff val="25000"/>
                  </a:schemeClr>
                </a:solidFill>
                <a:latin typeface="Franklin Gothic Book"/>
                <a:cs typeface="Arial"/>
              </a:rPr>
              <a:t>Invest </a:t>
            </a:r>
            <a:r>
              <a:rPr lang="en-US" sz="2400" b="1" dirty="0">
                <a:solidFill>
                  <a:schemeClr val="tx1">
                    <a:lumMod val="75000"/>
                    <a:lumOff val="25000"/>
                  </a:schemeClr>
                </a:solidFill>
                <a:latin typeface="Franklin Gothic Book"/>
                <a:cs typeface="Arial"/>
              </a:rPr>
              <a:t>$550 million </a:t>
            </a:r>
            <a:r>
              <a:rPr lang="en-US" sz="2400" dirty="0">
                <a:solidFill>
                  <a:schemeClr val="tx1">
                    <a:lumMod val="75000"/>
                    <a:lumOff val="25000"/>
                  </a:schemeClr>
                </a:solidFill>
                <a:latin typeface="Franklin Gothic Book"/>
                <a:cs typeface="Arial"/>
              </a:rPr>
              <a:t>in the Energy Efficiency and Conservation Block Grant Program and </a:t>
            </a:r>
            <a:r>
              <a:rPr lang="en-US" sz="2400" b="1" dirty="0">
                <a:solidFill>
                  <a:schemeClr val="tx1">
                    <a:lumMod val="75000"/>
                    <a:lumOff val="25000"/>
                  </a:schemeClr>
                </a:solidFill>
                <a:latin typeface="Franklin Gothic Book"/>
                <a:cs typeface="Arial"/>
              </a:rPr>
              <a:t>$500 million </a:t>
            </a:r>
            <a:r>
              <a:rPr lang="en-US" sz="2400" dirty="0">
                <a:solidFill>
                  <a:schemeClr val="tx1">
                    <a:lumMod val="75000"/>
                    <a:lumOff val="25000"/>
                  </a:schemeClr>
                </a:solidFill>
                <a:latin typeface="Franklin Gothic Book"/>
                <a:cs typeface="Arial"/>
              </a:rPr>
              <a:t>in the State Energy Program to provide grants to develop and implement clean energy programs and projects that will create jobs</a:t>
            </a:r>
          </a:p>
          <a:p>
            <a:pPr>
              <a:spcBef>
                <a:spcPts val="600"/>
              </a:spcBef>
              <a:spcAft>
                <a:spcPts val="600"/>
              </a:spcAft>
            </a:pPr>
            <a:r>
              <a:rPr lang="en-US" sz="2400" dirty="0">
                <a:solidFill>
                  <a:schemeClr val="tx1">
                    <a:lumMod val="75000"/>
                    <a:lumOff val="25000"/>
                  </a:schemeClr>
                </a:solidFill>
                <a:latin typeface="Franklin Gothic Book"/>
                <a:cs typeface="Arial"/>
              </a:rPr>
              <a:t>Invest </a:t>
            </a:r>
            <a:r>
              <a:rPr lang="en-US" sz="2400" b="1" dirty="0">
                <a:solidFill>
                  <a:schemeClr val="tx1">
                    <a:lumMod val="75000"/>
                    <a:lumOff val="25000"/>
                  </a:schemeClr>
                </a:solidFill>
                <a:latin typeface="Franklin Gothic Book"/>
                <a:cs typeface="Arial"/>
              </a:rPr>
              <a:t>$500 million </a:t>
            </a:r>
            <a:r>
              <a:rPr lang="en-US" sz="2400" dirty="0">
                <a:solidFill>
                  <a:schemeClr val="tx1">
                    <a:lumMod val="75000"/>
                    <a:lumOff val="25000"/>
                  </a:schemeClr>
                </a:solidFill>
                <a:latin typeface="Franklin Gothic Book"/>
                <a:cs typeface="Arial"/>
              </a:rPr>
              <a:t>to provide cleaner schools for our children and teachers </a:t>
            </a:r>
          </a:p>
        </p:txBody>
      </p:sp>
    </p:spTree>
    <p:extLst>
      <p:ext uri="{BB962C8B-B14F-4D97-AF65-F5344CB8AC3E}">
        <p14:creationId xmlns:p14="http://schemas.microsoft.com/office/powerpoint/2010/main" val="28655349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Shape&#10;&#10;Description automatically generated with low confidence">
            <a:extLst>
              <a:ext uri="{FF2B5EF4-FFF2-40B4-BE49-F238E27FC236}">
                <a16:creationId xmlns:a16="http://schemas.microsoft.com/office/drawing/2014/main" id="{D74459E5-3B89-4AF8-8AB1-2F6B7A9E4447}"/>
              </a:ext>
            </a:extLst>
          </p:cNvPr>
          <p:cNvPicPr>
            <a:picLocks noGrp="1" noChangeAspect="1"/>
          </p:cNvPicPr>
          <p:nvPr>
            <p:ph sz="quarter" idx="10"/>
          </p:nvPr>
        </p:nvPicPr>
        <p:blipFill rotWithShape="1">
          <a:blip r:embed="rId3">
            <a:duotone>
              <a:schemeClr val="accent5">
                <a:shade val="45000"/>
                <a:satMod val="135000"/>
              </a:schemeClr>
              <a:prstClr val="white"/>
            </a:duotone>
            <a:extLst>
              <a:ext uri="{28A0092B-C50C-407E-A947-70E740481C1C}">
                <a14:useLocalDpi xmlns:a14="http://schemas.microsoft.com/office/drawing/2010/main" val="0"/>
              </a:ext>
            </a:extLst>
          </a:blip>
          <a:srcRect/>
          <a:stretch/>
        </p:blipFill>
        <p:spPr>
          <a:xfrm>
            <a:off x="1828058" y="2235088"/>
            <a:ext cx="1253613" cy="1186838"/>
          </a:xfrm>
          <a:noFill/>
          <a:ln w="31750">
            <a:noFill/>
          </a:ln>
        </p:spPr>
      </p:pic>
      <p:sp>
        <p:nvSpPr>
          <p:cNvPr id="7" name="TextBox 6">
            <a:extLst>
              <a:ext uri="{FF2B5EF4-FFF2-40B4-BE49-F238E27FC236}">
                <a16:creationId xmlns:a16="http://schemas.microsoft.com/office/drawing/2014/main" id="{F8A2D6D0-C033-46FE-8941-0EE0E3B80014}"/>
              </a:ext>
            </a:extLst>
          </p:cNvPr>
          <p:cNvSpPr txBox="1"/>
          <p:nvPr/>
        </p:nvSpPr>
        <p:spPr>
          <a:xfrm>
            <a:off x="1510323" y="1659034"/>
            <a:ext cx="2021305" cy="523220"/>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Franklin Gothic Book"/>
              </a:rPr>
              <a:t>Sec. 40108. State Energy Security Plans</a:t>
            </a:r>
          </a:p>
        </p:txBody>
      </p:sp>
      <p:sp>
        <p:nvSpPr>
          <p:cNvPr id="8" name="TextBox 7">
            <a:extLst>
              <a:ext uri="{FF2B5EF4-FFF2-40B4-BE49-F238E27FC236}">
                <a16:creationId xmlns:a16="http://schemas.microsoft.com/office/drawing/2014/main" id="{228B399C-6B0B-4641-BFE8-FFF4C255FCA8}"/>
              </a:ext>
            </a:extLst>
          </p:cNvPr>
          <p:cNvSpPr txBox="1"/>
          <p:nvPr/>
        </p:nvSpPr>
        <p:spPr>
          <a:xfrm>
            <a:off x="3481486" y="1572648"/>
            <a:ext cx="2021305" cy="523220"/>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Franklin Gothic Book"/>
              </a:rPr>
              <a:t>Sec. 40109. State Energy Program</a:t>
            </a:r>
          </a:p>
        </p:txBody>
      </p:sp>
      <p:sp>
        <p:nvSpPr>
          <p:cNvPr id="9" name="TextBox 8">
            <a:extLst>
              <a:ext uri="{FF2B5EF4-FFF2-40B4-BE49-F238E27FC236}">
                <a16:creationId xmlns:a16="http://schemas.microsoft.com/office/drawing/2014/main" id="{B72AAC1D-FBF8-41AD-9D32-BBE9C2CFF1D9}"/>
              </a:ext>
            </a:extLst>
          </p:cNvPr>
          <p:cNvSpPr txBox="1"/>
          <p:nvPr/>
        </p:nvSpPr>
        <p:spPr>
          <a:xfrm>
            <a:off x="5604875" y="1523592"/>
            <a:ext cx="2470906" cy="738664"/>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Franklin Gothic Book"/>
              </a:rPr>
              <a:t>Sec. 40502. Energy Efficiency Revolving Loan Fund (RLF) Capitalization Grant Program</a:t>
            </a:r>
          </a:p>
        </p:txBody>
      </p:sp>
      <p:sp>
        <p:nvSpPr>
          <p:cNvPr id="10" name="TextBox 9">
            <a:extLst>
              <a:ext uri="{FF2B5EF4-FFF2-40B4-BE49-F238E27FC236}">
                <a16:creationId xmlns:a16="http://schemas.microsoft.com/office/drawing/2014/main" id="{21605AA3-1DB6-4050-8B5A-4F8219BD395F}"/>
              </a:ext>
            </a:extLst>
          </p:cNvPr>
          <p:cNvSpPr txBox="1"/>
          <p:nvPr/>
        </p:nvSpPr>
        <p:spPr>
          <a:xfrm>
            <a:off x="8209338" y="1586135"/>
            <a:ext cx="2470906" cy="523220"/>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Franklin Gothic Book"/>
              </a:rPr>
              <a:t>Sec. 40503. Energy Auditor Training Grant Program</a:t>
            </a:r>
          </a:p>
        </p:txBody>
      </p:sp>
      <p:pic>
        <p:nvPicPr>
          <p:cNvPr id="12" name="Picture 11" descr="Shape&#10;&#10;Description automatically generated with low confidence">
            <a:extLst>
              <a:ext uri="{FF2B5EF4-FFF2-40B4-BE49-F238E27FC236}">
                <a16:creationId xmlns:a16="http://schemas.microsoft.com/office/drawing/2014/main" id="{14D01192-2758-4249-9286-4698A2B7F1DE}"/>
              </a:ext>
            </a:extLst>
          </p:cNvPr>
          <p:cNvPicPr>
            <a:picLocks noChangeAspect="1"/>
          </p:cNvPicPr>
          <p:nvPr/>
        </p:nvPicPr>
        <p:blipFill rotWithShape="1">
          <a:blip r:embed="rId4">
            <a:duotone>
              <a:schemeClr val="accent5">
                <a:shade val="45000"/>
                <a:satMod val="135000"/>
              </a:schemeClr>
              <a:prstClr val="white"/>
            </a:duotone>
            <a:extLst>
              <a:ext uri="{28A0092B-C50C-407E-A947-70E740481C1C}">
                <a14:useLocalDpi xmlns:a14="http://schemas.microsoft.com/office/drawing/2010/main" val="0"/>
              </a:ext>
            </a:extLst>
          </a:blip>
          <a:srcRect/>
          <a:stretch/>
        </p:blipFill>
        <p:spPr>
          <a:xfrm>
            <a:off x="3849363" y="2166325"/>
            <a:ext cx="1253613" cy="1248390"/>
          </a:xfrm>
          <a:prstGeom prst="rect">
            <a:avLst/>
          </a:prstGeom>
        </p:spPr>
      </p:pic>
      <p:pic>
        <p:nvPicPr>
          <p:cNvPr id="14" name="Picture 13" descr="Shape&#10;&#10;Description automatically generated with low confidence">
            <a:extLst>
              <a:ext uri="{FF2B5EF4-FFF2-40B4-BE49-F238E27FC236}">
                <a16:creationId xmlns:a16="http://schemas.microsoft.com/office/drawing/2014/main" id="{6F08F80C-3D41-4CA6-ADA9-AB28660CE7AD}"/>
              </a:ext>
            </a:extLst>
          </p:cNvPr>
          <p:cNvPicPr>
            <a:picLocks noChangeAspect="1"/>
          </p:cNvPicPr>
          <p:nvPr/>
        </p:nvPicPr>
        <p:blipFill rotWithShape="1">
          <a:blip r:embed="rId5">
            <a:duotone>
              <a:schemeClr val="accent5">
                <a:shade val="45000"/>
                <a:satMod val="135000"/>
              </a:schemeClr>
              <a:prstClr val="white"/>
            </a:duotone>
            <a:extLst>
              <a:ext uri="{28A0092B-C50C-407E-A947-70E740481C1C}">
                <a14:useLocalDpi xmlns:a14="http://schemas.microsoft.com/office/drawing/2010/main" val="0"/>
              </a:ext>
            </a:extLst>
          </a:blip>
          <a:srcRect/>
          <a:stretch/>
        </p:blipFill>
        <p:spPr>
          <a:xfrm>
            <a:off x="6171236" y="2277941"/>
            <a:ext cx="1253614" cy="1166651"/>
          </a:xfrm>
          <a:prstGeom prst="rect">
            <a:avLst/>
          </a:prstGeom>
        </p:spPr>
      </p:pic>
      <p:pic>
        <p:nvPicPr>
          <p:cNvPr id="16" name="Picture 15" descr="Shape&#10;&#10;Description automatically generated with low confidence">
            <a:extLst>
              <a:ext uri="{FF2B5EF4-FFF2-40B4-BE49-F238E27FC236}">
                <a16:creationId xmlns:a16="http://schemas.microsoft.com/office/drawing/2014/main" id="{FC5D5A23-B757-4EE5-B1D9-6C34B120A27E}"/>
              </a:ext>
            </a:extLst>
          </p:cNvPr>
          <p:cNvPicPr>
            <a:picLocks noChangeAspect="1"/>
          </p:cNvPicPr>
          <p:nvPr/>
        </p:nvPicPr>
        <p:blipFill rotWithShape="1">
          <a:blip r:embed="rId6">
            <a:duotone>
              <a:schemeClr val="accent5">
                <a:shade val="45000"/>
                <a:satMod val="135000"/>
              </a:schemeClr>
              <a:prstClr val="white"/>
            </a:duotone>
            <a:extLst>
              <a:ext uri="{28A0092B-C50C-407E-A947-70E740481C1C}">
                <a14:useLocalDpi xmlns:a14="http://schemas.microsoft.com/office/drawing/2010/main" val="0"/>
              </a:ext>
            </a:extLst>
          </a:blip>
          <a:srcRect/>
          <a:stretch/>
        </p:blipFill>
        <p:spPr>
          <a:xfrm>
            <a:off x="8685409" y="2235088"/>
            <a:ext cx="1264320" cy="1127661"/>
          </a:xfrm>
          <a:prstGeom prst="rect">
            <a:avLst/>
          </a:prstGeom>
        </p:spPr>
      </p:pic>
      <p:sp>
        <p:nvSpPr>
          <p:cNvPr id="17" name="TextBox 16">
            <a:extLst>
              <a:ext uri="{FF2B5EF4-FFF2-40B4-BE49-F238E27FC236}">
                <a16:creationId xmlns:a16="http://schemas.microsoft.com/office/drawing/2014/main" id="{AD1D0F3B-457E-4875-B703-B8EEA155355F}"/>
              </a:ext>
            </a:extLst>
          </p:cNvPr>
          <p:cNvSpPr txBox="1"/>
          <p:nvPr/>
        </p:nvSpPr>
        <p:spPr>
          <a:xfrm>
            <a:off x="1524001" y="3436074"/>
            <a:ext cx="2101725" cy="1969770"/>
          </a:xfrm>
          <a:prstGeom prst="rect">
            <a:avLst/>
          </a:prstGeom>
          <a:noFill/>
        </p:spPr>
        <p:txBody>
          <a:bodyPr wrap="square" rtlCol="0">
            <a:spAutoFit/>
          </a:bodyPr>
          <a:lstStyle/>
          <a:p>
            <a:pPr marL="111125" marR="0" lvl="0" indent="-111125"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Franklin Gothic Book"/>
              </a:rPr>
              <a:t>No dedicated funding</a:t>
            </a:r>
          </a:p>
          <a:p>
            <a:pPr marL="111125" marR="0" lvl="0" indent="-111125"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Franklin Gothic Book"/>
              </a:rPr>
              <a:t>Requires that new plans include "</a:t>
            </a:r>
            <a:r>
              <a:rPr kumimoji="0" lang="en-US" sz="1400" b="1" i="1" u="none" strike="noStrike" kern="1200" cap="none" spc="0" normalizeH="0" baseline="0" noProof="0">
                <a:ln>
                  <a:noFill/>
                </a:ln>
                <a:solidFill>
                  <a:srgbClr val="000000"/>
                </a:solidFill>
                <a:effectLst/>
                <a:uLnTx/>
                <a:uFillTx/>
                <a:latin typeface="Franklin Gothic Book"/>
              </a:rPr>
              <a:t>coordination with Indian Tribes </a:t>
            </a:r>
            <a:r>
              <a:rPr kumimoji="0" lang="en-US" sz="1400" b="0" i="0" u="none" strike="noStrike" kern="1200" cap="none" spc="0" normalizeH="0" baseline="0" noProof="0">
                <a:ln>
                  <a:noFill/>
                </a:ln>
                <a:solidFill>
                  <a:srgbClr val="000000"/>
                </a:solidFill>
                <a:effectLst/>
                <a:uLnTx/>
                <a:uFillTx/>
                <a:latin typeface="Franklin Gothic Book"/>
              </a:rPr>
              <a:t>with respect to planning and response."</a:t>
            </a:r>
          </a:p>
          <a:p>
            <a:pPr marL="111125" marR="0" lvl="0" indent="-111125"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Franklin Gothic Book"/>
            </a:endParaRPr>
          </a:p>
        </p:txBody>
      </p:sp>
      <p:sp>
        <p:nvSpPr>
          <p:cNvPr id="18" name="TextBox 17">
            <a:extLst>
              <a:ext uri="{FF2B5EF4-FFF2-40B4-BE49-F238E27FC236}">
                <a16:creationId xmlns:a16="http://schemas.microsoft.com/office/drawing/2014/main" id="{853976F1-8152-4669-A2B1-97BFBAFC6C69}"/>
              </a:ext>
            </a:extLst>
          </p:cNvPr>
          <p:cNvSpPr txBox="1"/>
          <p:nvPr/>
        </p:nvSpPr>
        <p:spPr>
          <a:xfrm>
            <a:off x="3531628" y="3440908"/>
            <a:ext cx="2209501" cy="2539157"/>
          </a:xfrm>
          <a:prstGeom prst="rect">
            <a:avLst/>
          </a:prstGeom>
          <a:noFill/>
        </p:spPr>
        <p:txBody>
          <a:bodyPr wrap="square" rtlCol="0">
            <a:spAutoFit/>
          </a:bodyPr>
          <a:lstStyle/>
          <a:p>
            <a:pPr marL="111125" marR="0" lvl="0" indent="-111125"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Franklin Gothic Book"/>
              </a:rPr>
              <a:t>$500M for FY22 – FY26</a:t>
            </a:r>
          </a:p>
          <a:p>
            <a:pPr marL="111125" marR="0" lvl="0" indent="-111125"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Franklin Gothic Book"/>
              </a:rPr>
              <a:t>Sec. 40109(a) adds a mandatory element of state energy conservation plans to support transmission and distribution planning, including </a:t>
            </a:r>
            <a:r>
              <a:rPr kumimoji="0" lang="en-US" sz="1400" b="1" i="1" u="none" strike="noStrike" kern="1200" cap="none" spc="0" normalizeH="0" baseline="0" noProof="0">
                <a:ln>
                  <a:noFill/>
                </a:ln>
                <a:solidFill>
                  <a:srgbClr val="000000"/>
                </a:solidFill>
                <a:effectLst/>
                <a:uLnTx/>
                <a:uFillTx/>
                <a:latin typeface="Franklin Gothic Book"/>
              </a:rPr>
              <a:t>support for </a:t>
            </a:r>
            <a:r>
              <a:rPr kumimoji="0" lang="en-US" sz="1400" b="0" i="0" u="none" strike="noStrike" kern="1200" cap="none" spc="0" normalizeH="0" baseline="0" noProof="0">
                <a:ln>
                  <a:noFill/>
                </a:ln>
                <a:solidFill>
                  <a:srgbClr val="000000"/>
                </a:solidFill>
                <a:effectLst/>
                <a:uLnTx/>
                <a:uFillTx/>
                <a:latin typeface="Franklin Gothic Book"/>
              </a:rPr>
              <a:t>local governments and </a:t>
            </a:r>
            <a:r>
              <a:rPr kumimoji="0" lang="en-US" sz="1400" b="1" i="1" u="none" strike="noStrike" kern="1200" cap="none" spc="0" normalizeH="0" baseline="0" noProof="0">
                <a:ln>
                  <a:noFill/>
                </a:ln>
                <a:solidFill>
                  <a:srgbClr val="000000"/>
                </a:solidFill>
                <a:effectLst/>
                <a:uLnTx/>
                <a:uFillTx/>
                <a:latin typeface="Franklin Gothic Book"/>
              </a:rPr>
              <a:t>Indian Tribes</a:t>
            </a:r>
          </a:p>
        </p:txBody>
      </p:sp>
      <p:sp>
        <p:nvSpPr>
          <p:cNvPr id="19" name="TextBox 18">
            <a:extLst>
              <a:ext uri="{FF2B5EF4-FFF2-40B4-BE49-F238E27FC236}">
                <a16:creationId xmlns:a16="http://schemas.microsoft.com/office/drawing/2014/main" id="{19BC32CF-626B-41FF-8983-4FAB00FDAF0B}"/>
              </a:ext>
            </a:extLst>
          </p:cNvPr>
          <p:cNvSpPr txBox="1"/>
          <p:nvPr/>
        </p:nvSpPr>
        <p:spPr>
          <a:xfrm>
            <a:off x="5647030" y="3436075"/>
            <a:ext cx="2550064" cy="2985433"/>
          </a:xfrm>
          <a:prstGeom prst="rect">
            <a:avLst/>
          </a:prstGeom>
          <a:noFill/>
        </p:spPr>
        <p:txBody>
          <a:bodyPr wrap="square" rtlCol="0">
            <a:spAutoFit/>
          </a:bodyPr>
          <a:lstStyle/>
          <a:p>
            <a:pPr marL="111125" marR="0" lvl="0" indent="-111125"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Franklin Gothic Book"/>
              </a:rPr>
              <a:t>$250M, available until expended</a:t>
            </a:r>
          </a:p>
          <a:p>
            <a:pPr marL="111125" marR="0" lvl="0" indent="-111125"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Franklin Gothic Book"/>
              </a:rPr>
              <a:t>States will use $ for loans and grants for residential and commercial buildings </a:t>
            </a:r>
          </a:p>
          <a:p>
            <a:pPr marL="111125" marR="0" lvl="0" indent="-111125"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Franklin Gothic Book"/>
              </a:rPr>
              <a:t>Individuals and businesses in Tribal jurisdictions are eligible to receive loans, grants, and TA</a:t>
            </a:r>
          </a:p>
          <a:p>
            <a:pPr marL="111125" marR="0" lvl="0" indent="-111125"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Franklin Gothic Book"/>
              </a:rPr>
              <a:t>DOE will be seeking feedback on designing RLF programs.</a:t>
            </a:r>
          </a:p>
          <a:p>
            <a:pPr marL="111125" marR="0" lvl="0" indent="-111125"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Franklin Gothic Book"/>
            </a:endParaRPr>
          </a:p>
        </p:txBody>
      </p:sp>
      <p:sp>
        <p:nvSpPr>
          <p:cNvPr id="20" name="TextBox 19">
            <a:extLst>
              <a:ext uri="{FF2B5EF4-FFF2-40B4-BE49-F238E27FC236}">
                <a16:creationId xmlns:a16="http://schemas.microsoft.com/office/drawing/2014/main" id="{A7EB8BA1-1CE3-4535-BA54-61FFD7F36C30}"/>
              </a:ext>
            </a:extLst>
          </p:cNvPr>
          <p:cNvSpPr txBox="1"/>
          <p:nvPr/>
        </p:nvSpPr>
        <p:spPr>
          <a:xfrm>
            <a:off x="8197094" y="3428827"/>
            <a:ext cx="2470906" cy="2400657"/>
          </a:xfrm>
          <a:prstGeom prst="rect">
            <a:avLst/>
          </a:prstGeom>
          <a:noFill/>
        </p:spPr>
        <p:txBody>
          <a:bodyPr wrap="square" rtlCol="0">
            <a:spAutoFit/>
          </a:bodyPr>
          <a:lstStyle/>
          <a:p>
            <a:pPr marL="111125" marR="0" lvl="0" indent="-111125"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Franklin Gothic Book"/>
              </a:rPr>
              <a:t>$40M for FY22 – FY26 </a:t>
            </a:r>
          </a:p>
          <a:p>
            <a:pPr marL="111125" marR="0" lvl="0" indent="-111125"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Franklin Gothic Book"/>
              </a:rPr>
              <a:t>Establishes competitive grant program for eligible States to train individuals to conduct energy audits or surveys of commercial and residential buildings.</a:t>
            </a:r>
          </a:p>
          <a:p>
            <a:pPr marL="111125" marR="0" lvl="0" indent="-111125" algn="l" defTabSz="4572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Franklin Gothic Book"/>
              </a:rPr>
              <a:t>Funding can help strengthen clean energy workforce in Tribes.</a:t>
            </a:r>
          </a:p>
        </p:txBody>
      </p:sp>
      <p:sp>
        <p:nvSpPr>
          <p:cNvPr id="22" name="Title 1">
            <a:extLst>
              <a:ext uri="{FF2B5EF4-FFF2-40B4-BE49-F238E27FC236}">
                <a16:creationId xmlns:a16="http://schemas.microsoft.com/office/drawing/2014/main" id="{7FB4F4BE-2C4A-4D7D-952D-E22EC01973AE}"/>
              </a:ext>
            </a:extLst>
          </p:cNvPr>
          <p:cNvSpPr>
            <a:spLocks noGrp="1"/>
          </p:cNvSpPr>
          <p:nvPr>
            <p:ph type="title"/>
          </p:nvPr>
        </p:nvSpPr>
        <p:spPr>
          <a:xfrm>
            <a:off x="1828056" y="-22916"/>
            <a:ext cx="9042944" cy="812800"/>
          </a:xfrm>
        </p:spPr>
        <p:txBody>
          <a:bodyPr/>
          <a:lstStyle/>
          <a:p>
            <a:r>
              <a:rPr lang="en-US" sz="2800"/>
              <a:t>SEP BIL Provision: State Coordination with Tribes</a:t>
            </a:r>
          </a:p>
        </p:txBody>
      </p:sp>
      <p:sp>
        <p:nvSpPr>
          <p:cNvPr id="23" name="TextBox 22">
            <a:extLst>
              <a:ext uri="{FF2B5EF4-FFF2-40B4-BE49-F238E27FC236}">
                <a16:creationId xmlns:a16="http://schemas.microsoft.com/office/drawing/2014/main" id="{A36146C1-3F30-4054-9B0C-BE0CE5169294}"/>
              </a:ext>
            </a:extLst>
          </p:cNvPr>
          <p:cNvSpPr txBox="1"/>
          <p:nvPr/>
        </p:nvSpPr>
        <p:spPr>
          <a:xfrm>
            <a:off x="1790150" y="6134669"/>
            <a:ext cx="8611701" cy="338554"/>
          </a:xfrm>
          <a:prstGeom prst="rect">
            <a:avLst/>
          </a:prstGeom>
          <a:solidFill>
            <a:srgbClr val="007934"/>
          </a:solid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0" i="1" u="none" strike="noStrike" kern="1200" cap="none" spc="0" normalizeH="0" baseline="0" noProof="0">
                <a:ln>
                  <a:noFill/>
                </a:ln>
                <a:solidFill>
                  <a:prstClr val="white"/>
                </a:solidFill>
                <a:effectLst/>
                <a:uLnTx/>
                <a:uFillTx/>
                <a:latin typeface="Franklin Gothic Medium"/>
              </a:rPr>
              <a:t>Note: Only State Energy Offices receive direct funding from DOE through these provisions.</a:t>
            </a:r>
            <a:endParaRPr kumimoji="0" lang="en-US" sz="1600" b="0" i="1" u="none" strike="noStrike" kern="1200" cap="none" spc="0" normalizeH="0" baseline="0" noProof="0">
              <a:ln>
                <a:noFill/>
              </a:ln>
              <a:solidFill>
                <a:prstClr val="white"/>
              </a:solidFill>
              <a:effectLst/>
              <a:uLnTx/>
              <a:uFillTx/>
              <a:latin typeface="Franklin Gothic Book"/>
            </a:endParaRPr>
          </a:p>
        </p:txBody>
      </p:sp>
      <p:sp>
        <p:nvSpPr>
          <p:cNvPr id="21" name="TextBox 20">
            <a:extLst>
              <a:ext uri="{FF2B5EF4-FFF2-40B4-BE49-F238E27FC236}">
                <a16:creationId xmlns:a16="http://schemas.microsoft.com/office/drawing/2014/main" id="{D7894BE0-B430-4860-854E-C4A612BBB2C4}"/>
              </a:ext>
            </a:extLst>
          </p:cNvPr>
          <p:cNvSpPr txBox="1"/>
          <p:nvPr/>
        </p:nvSpPr>
        <p:spPr>
          <a:xfrm>
            <a:off x="1790149" y="903693"/>
            <a:ext cx="8568178" cy="584775"/>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a:ln>
                  <a:noFill/>
                </a:ln>
                <a:solidFill>
                  <a:srgbClr val="017A3E"/>
                </a:solidFill>
                <a:effectLst/>
                <a:uLnTx/>
                <a:uFillTx/>
                <a:latin typeface="Franklin Gothic Book"/>
              </a:rPr>
              <a:t>Funding is directed to State Energy Offices, but there are BIL provisions allowing for greater engagement and coordination between States and Tribal Nations</a:t>
            </a:r>
          </a:p>
        </p:txBody>
      </p:sp>
    </p:spTree>
    <p:extLst>
      <p:ext uri="{BB962C8B-B14F-4D97-AF65-F5344CB8AC3E}">
        <p14:creationId xmlns:p14="http://schemas.microsoft.com/office/powerpoint/2010/main" val="3857422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4EF4E-96ED-4759-AB4F-24462B96EE05}"/>
              </a:ext>
            </a:extLst>
          </p:cNvPr>
          <p:cNvSpPr>
            <a:spLocks noGrp="1"/>
          </p:cNvSpPr>
          <p:nvPr>
            <p:ph type="title"/>
          </p:nvPr>
        </p:nvSpPr>
        <p:spPr>
          <a:xfrm>
            <a:off x="1829362" y="0"/>
            <a:ext cx="8724900" cy="812800"/>
          </a:xfrm>
        </p:spPr>
        <p:txBody>
          <a:bodyPr>
            <a:normAutofit fontScale="90000"/>
          </a:bodyPr>
          <a:lstStyle/>
          <a:p>
            <a:r>
              <a:rPr lang="en-US">
                <a:solidFill>
                  <a:schemeClr val="accent1">
                    <a:lumMod val="75000"/>
                  </a:schemeClr>
                </a:solidFill>
              </a:rPr>
              <a:t>Additional Resources - FY22 Budget (not BIL)</a:t>
            </a:r>
            <a:endParaRPr lang="en-US"/>
          </a:p>
        </p:txBody>
      </p:sp>
      <p:sp>
        <p:nvSpPr>
          <p:cNvPr id="24" name="TextBox 23">
            <a:extLst>
              <a:ext uri="{FF2B5EF4-FFF2-40B4-BE49-F238E27FC236}">
                <a16:creationId xmlns:a16="http://schemas.microsoft.com/office/drawing/2014/main" id="{E86C7873-A434-4448-BBA9-BD6339C0AF5D}"/>
              </a:ext>
            </a:extLst>
          </p:cNvPr>
          <p:cNvSpPr txBox="1"/>
          <p:nvPr/>
        </p:nvSpPr>
        <p:spPr>
          <a:xfrm>
            <a:off x="1781455" y="976831"/>
            <a:ext cx="8772807" cy="400110"/>
          </a:xfrm>
          <a:prstGeom prst="rect">
            <a:avLst/>
          </a:prstGeom>
          <a:noFill/>
        </p:spPr>
        <p:txBody>
          <a:bodyPr wrap="square">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6ABC45">
                    <a:lumMod val="75000"/>
                  </a:srgbClr>
                </a:solidFill>
                <a:effectLst/>
                <a:uLnTx/>
                <a:uFillTx/>
                <a:latin typeface="Arial" charset="0"/>
              </a:rPr>
              <a:t>WIP-led Appropriations from FY22 Budget Relevant for Tribal Nations</a:t>
            </a:r>
            <a:endParaRPr kumimoji="0" lang="en-US" sz="2400" b="0" i="0" u="none" strike="noStrike" kern="1200" cap="none" spc="0" normalizeH="0" baseline="0" noProof="0">
              <a:ln>
                <a:noFill/>
              </a:ln>
              <a:solidFill>
                <a:srgbClr val="000000"/>
              </a:solidFill>
              <a:effectLst/>
              <a:uLnTx/>
              <a:uFillTx/>
              <a:latin typeface="Arial" charset="0"/>
            </a:endParaRPr>
          </a:p>
        </p:txBody>
      </p:sp>
      <p:graphicFrame>
        <p:nvGraphicFramePr>
          <p:cNvPr id="27" name="Table 26">
            <a:extLst>
              <a:ext uri="{FF2B5EF4-FFF2-40B4-BE49-F238E27FC236}">
                <a16:creationId xmlns:a16="http://schemas.microsoft.com/office/drawing/2014/main" id="{29DE9576-B233-4A52-9921-DEF7CDA6AC12}"/>
              </a:ext>
            </a:extLst>
          </p:cNvPr>
          <p:cNvGraphicFramePr>
            <a:graphicFrameLocks noGrp="1"/>
          </p:cNvGraphicFramePr>
          <p:nvPr/>
        </p:nvGraphicFramePr>
        <p:xfrm>
          <a:off x="623455" y="1602522"/>
          <a:ext cx="10972800" cy="4464005"/>
        </p:xfrm>
        <a:graphic>
          <a:graphicData uri="http://schemas.openxmlformats.org/drawingml/2006/table">
            <a:tbl>
              <a:tblPr firstRow="1" bandRow="1">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effectLst/>
              </a:tblPr>
              <a:tblGrid>
                <a:gridCol w="2332549">
                  <a:extLst>
                    <a:ext uri="{9D8B030D-6E8A-4147-A177-3AD203B41FA5}">
                      <a16:colId xmlns:a16="http://schemas.microsoft.com/office/drawing/2014/main" val="1562235086"/>
                    </a:ext>
                  </a:extLst>
                </a:gridCol>
                <a:gridCol w="1355974">
                  <a:extLst>
                    <a:ext uri="{9D8B030D-6E8A-4147-A177-3AD203B41FA5}">
                      <a16:colId xmlns:a16="http://schemas.microsoft.com/office/drawing/2014/main" val="2165257030"/>
                    </a:ext>
                  </a:extLst>
                </a:gridCol>
                <a:gridCol w="7284277">
                  <a:extLst>
                    <a:ext uri="{9D8B030D-6E8A-4147-A177-3AD203B41FA5}">
                      <a16:colId xmlns:a16="http://schemas.microsoft.com/office/drawing/2014/main" val="2202077187"/>
                    </a:ext>
                  </a:extLst>
                </a:gridCol>
              </a:tblGrid>
              <a:tr h="905773">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r>
                        <a:rPr lang="en-US" sz="2400">
                          <a:latin typeface="+mn-lt"/>
                        </a:rPr>
                        <a:t>Program Name (DOE)</a:t>
                      </a:r>
                    </a:p>
                  </a:txBody>
                  <a:tcPr>
                    <a:lnL w="6350" cap="flat" cmpd="sng" algn="ctr">
                      <a:solidFill>
                        <a:srgbClr val="A5A5A5"/>
                      </a:solidFill>
                      <a:prstDash val="solid"/>
                      <a:miter lim="800000"/>
                    </a:lnL>
                    <a:lnR>
                      <a:noFill/>
                    </a:lnR>
                    <a:lnT w="6350" cap="flat" cmpd="sng" algn="ctr">
                      <a:solidFill>
                        <a:srgbClr val="A5A5A5"/>
                      </a:solidFill>
                      <a:prstDash val="solid"/>
                      <a:miter lim="800000"/>
                    </a:lnT>
                    <a:lnB w="12700" cap="flat" cmpd="sng" algn="ctr">
                      <a:solidFill>
                        <a:sysClr val="window" lastClr="FFFFFF"/>
                      </a:solidFill>
                      <a:prstDash val="solid"/>
                      <a:miter lim="800000"/>
                    </a:lnB>
                    <a:lnTlToBr w="12700" cmpd="sng">
                      <a:noFill/>
                      <a:prstDash val="solid"/>
                    </a:lnTlToBr>
                    <a:lnBlToTr w="12700" cmpd="sng">
                      <a:noFill/>
                      <a:prstDash val="solid"/>
                    </a:lnBlToTr>
                    <a:solidFill>
                      <a:srgbClr val="A5A5A5"/>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r>
                        <a:rPr lang="en-US" sz="1800">
                          <a:latin typeface="+mn-lt"/>
                        </a:rPr>
                        <a:t>Funding Amount (enacted) </a:t>
                      </a:r>
                    </a:p>
                  </a:txBody>
                  <a:tcPr>
                    <a:lnL>
                      <a:noFill/>
                    </a:lnL>
                    <a:lnR>
                      <a:noFill/>
                    </a:lnR>
                    <a:lnT w="6350" cap="flat" cmpd="sng" algn="ctr">
                      <a:solidFill>
                        <a:srgbClr val="A5A5A5"/>
                      </a:solidFill>
                      <a:prstDash val="solid"/>
                      <a:miter lim="800000"/>
                    </a:lnT>
                    <a:lnB w="12700" cap="flat" cmpd="sng" algn="ctr">
                      <a:solidFill>
                        <a:sysClr val="window" lastClr="FFFFFF"/>
                      </a:solidFill>
                      <a:prstDash val="solid"/>
                      <a:miter lim="800000"/>
                    </a:lnB>
                    <a:lnTlToBr w="12700" cmpd="sng">
                      <a:noFill/>
                      <a:prstDash val="solid"/>
                    </a:lnTlToBr>
                    <a:lnBlToTr w="12700" cmpd="sng">
                      <a:noFill/>
                      <a:prstDash val="solid"/>
                    </a:lnBlToTr>
                    <a:solidFill>
                      <a:srgbClr val="A5A5A5"/>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r>
                        <a:rPr lang="en-US" sz="2400">
                          <a:latin typeface="+mn-lt"/>
                        </a:rPr>
                        <a:t>Description &amp; Eligible Entities</a:t>
                      </a:r>
                    </a:p>
                  </a:txBody>
                  <a:tcPr>
                    <a:lnL>
                      <a:noFill/>
                    </a:lnL>
                    <a:lnR w="6350" cap="flat" cmpd="sng" algn="ctr">
                      <a:solidFill>
                        <a:srgbClr val="A5A5A5"/>
                      </a:solidFill>
                      <a:prstDash val="solid"/>
                      <a:miter lim="800000"/>
                    </a:lnR>
                    <a:lnT w="6350" cap="flat" cmpd="sng" algn="ctr">
                      <a:solidFill>
                        <a:srgbClr val="A5A5A5"/>
                      </a:solidFill>
                      <a:prstDash val="solid"/>
                      <a:miter lim="800000"/>
                    </a:lnT>
                    <a:lnB w="12700" cap="flat" cmpd="sng" algn="ctr">
                      <a:solidFill>
                        <a:sysClr val="window" lastClr="FFFFFF"/>
                      </a:solidFill>
                      <a:prstDash val="solid"/>
                      <a:miter lim="800000"/>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416673656"/>
                  </a:ext>
                </a:extLst>
              </a:tr>
              <a:tr h="1496402">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r>
                        <a:rPr lang="en-US" sz="1800" b="0" dirty="0">
                          <a:latin typeface="+mn-lt"/>
                        </a:rPr>
                        <a:t>Energy Future Grants</a:t>
                      </a:r>
                    </a:p>
                  </a:txBody>
                  <a:tcPr>
                    <a:lnL w="6350" cap="flat" cmpd="sng" algn="ctr">
                      <a:solidFill>
                        <a:srgbClr val="A5A5A5"/>
                      </a:solidFill>
                      <a:prstDash val="solid"/>
                      <a:miter lim="800000"/>
                    </a:lnL>
                    <a:lnR w="6350" cap="flat" cmpd="sng" algn="ctr">
                      <a:solidFill>
                        <a:srgbClr val="A5A5A5"/>
                      </a:solidFill>
                      <a:prstDash val="solid"/>
                      <a:miter lim="800000"/>
                    </a:lnR>
                    <a:lnT w="12700" cap="flat" cmpd="sng" algn="ctr">
                      <a:solidFill>
                        <a:sysClr val="window" lastClr="FFFFFF"/>
                      </a:solidFill>
                      <a:prstDash val="solid"/>
                      <a:miter lim="800000"/>
                    </a:lnT>
                    <a:lnB w="6350" cap="flat" cmpd="sng" algn="ctr">
                      <a:solidFill>
                        <a:srgbClr val="A5A5A5"/>
                      </a:solidFill>
                      <a:prstDash val="solid"/>
                      <a:miter lim="800000"/>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r>
                        <a:rPr lang="en-US" sz="1800" b="1">
                          <a:latin typeface="+mn-lt"/>
                        </a:rPr>
                        <a:t>$20 million</a:t>
                      </a:r>
                    </a:p>
                  </a:txBody>
                  <a:tcPr>
                    <a:lnL w="6350" cap="flat" cmpd="sng" algn="ctr">
                      <a:solidFill>
                        <a:srgbClr val="A5A5A5"/>
                      </a:solidFill>
                      <a:prstDash val="solid"/>
                      <a:miter lim="800000"/>
                    </a:lnL>
                    <a:lnR w="6350" cap="flat" cmpd="sng" algn="ctr">
                      <a:solidFill>
                        <a:srgbClr val="A5A5A5"/>
                      </a:solidFill>
                      <a:prstDash val="solid"/>
                      <a:miter lim="800000"/>
                    </a:lnR>
                    <a:lnT w="12700" cap="flat" cmpd="sng" algn="ctr">
                      <a:solidFill>
                        <a:sysClr val="window" lastClr="FFFFFF"/>
                      </a:solidFill>
                      <a:prstDash val="solid"/>
                      <a:miter lim="800000"/>
                    </a:lnT>
                    <a:lnB w="6350" cap="flat" cmpd="sng" algn="ctr">
                      <a:solidFill>
                        <a:srgbClr val="A5A5A5"/>
                      </a:solidFill>
                      <a:prstDash val="solid"/>
                      <a:miter lim="800000"/>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indent="0">
                        <a:buFont typeface="Arial" panose="020B0604020202020204" pitchFamily="34" charset="0"/>
                        <a:buNone/>
                      </a:pPr>
                      <a:r>
                        <a:rPr lang="en-US" sz="1800">
                          <a:solidFill>
                            <a:srgbClr val="000000"/>
                          </a:solidFill>
                          <a:effectLst/>
                          <a:latin typeface="+mn-lt"/>
                          <a:ea typeface="Times New Roman" panose="02020603050405020304" pitchFamily="18" charset="0"/>
                        </a:rPr>
                        <a:t>Provides funds to support state-, local-, and </a:t>
                      </a:r>
                      <a:r>
                        <a:rPr lang="en-US" sz="1800" b="1">
                          <a:solidFill>
                            <a:srgbClr val="000000"/>
                          </a:solidFill>
                          <a:effectLst/>
                          <a:latin typeface="+mn-lt"/>
                          <a:ea typeface="Times New Roman" panose="02020603050405020304" pitchFamily="18" charset="0"/>
                        </a:rPr>
                        <a:t>tribal-level</a:t>
                      </a:r>
                      <a:r>
                        <a:rPr lang="en-US" sz="1800">
                          <a:solidFill>
                            <a:srgbClr val="000000"/>
                          </a:solidFill>
                          <a:effectLst/>
                          <a:latin typeface="+mn-lt"/>
                          <a:ea typeface="Times New Roman" panose="02020603050405020304" pitchFamily="18" charset="0"/>
                        </a:rPr>
                        <a:t> approaches to meeting energy needs at the local level including through financial and technical assistance to eligible entities for energy system planning and analysis and conducting stakeholder engagement.</a:t>
                      </a:r>
                      <a:endParaRPr lang="en-US" sz="1800">
                        <a:latin typeface="+mn-lt"/>
                      </a:endParaRPr>
                    </a:p>
                  </a:txBody>
                  <a:tcPr>
                    <a:lnL w="6350" cap="flat" cmpd="sng" algn="ctr">
                      <a:solidFill>
                        <a:srgbClr val="A5A5A5"/>
                      </a:solidFill>
                      <a:prstDash val="solid"/>
                      <a:miter lim="800000"/>
                    </a:lnL>
                    <a:lnR w="6350" cap="flat" cmpd="sng" algn="ctr">
                      <a:solidFill>
                        <a:srgbClr val="A5A5A5"/>
                      </a:solidFill>
                      <a:prstDash val="solid"/>
                      <a:miter lim="800000"/>
                    </a:lnR>
                    <a:lnT w="12700" cap="flat" cmpd="sng" algn="ctr">
                      <a:solidFill>
                        <a:sysClr val="window" lastClr="FFFFFF"/>
                      </a:solidFill>
                      <a:prstDash val="solid"/>
                      <a:miter lim="800000"/>
                    </a:lnT>
                    <a:lnB w="6350" cap="flat" cmpd="sng" algn="ctr">
                      <a:solidFill>
                        <a:srgbClr val="A5A5A5"/>
                      </a:solidFill>
                      <a:prstDash val="solid"/>
                      <a:miter lim="800000"/>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12372828"/>
                  </a:ext>
                </a:extLst>
              </a:tr>
              <a:tr h="2053203">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r>
                        <a:rPr lang="en-US" sz="1800" b="0">
                          <a:latin typeface="+mn-lt"/>
                        </a:rPr>
                        <a:t>Local Government  Energy </a:t>
                      </a:r>
                      <a:endParaRPr lang="en-US"/>
                    </a:p>
                    <a:p>
                      <a:pPr lvl="0">
                        <a:buNone/>
                      </a:pPr>
                      <a:r>
                        <a:rPr lang="en-US" sz="1800" b="0">
                          <a:latin typeface="+mn-lt"/>
                        </a:rPr>
                        <a:t>Program </a:t>
                      </a:r>
                    </a:p>
                  </a:txBody>
                  <a:tcPr>
                    <a:lnL w="6350" cap="flat" cmpd="sng" algn="ctr">
                      <a:solidFill>
                        <a:srgbClr val="A5A5A5"/>
                      </a:solidFill>
                      <a:prstDash val="solid"/>
                      <a:miter lim="800000"/>
                    </a:lnL>
                    <a:lnR w="6350" cap="flat" cmpd="sng" algn="ctr">
                      <a:solidFill>
                        <a:srgbClr val="A5A5A5"/>
                      </a:solidFill>
                      <a:prstDash val="solid"/>
                      <a:miter lim="800000"/>
                    </a:lnR>
                    <a:lnT w="6350" cap="flat" cmpd="sng" algn="ctr">
                      <a:solidFill>
                        <a:srgbClr val="A5A5A5"/>
                      </a:solidFill>
                      <a:prstDash val="solid"/>
                      <a:miter lim="800000"/>
                    </a:lnT>
                    <a:lnB w="6350" cap="flat" cmpd="sng" algn="ctr">
                      <a:solidFill>
                        <a:srgbClr val="A5A5A5"/>
                      </a:solidFill>
                      <a:prstDash val="solid"/>
                      <a:miter lim="800000"/>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r>
                        <a:rPr lang="en-US" sz="1800" b="1">
                          <a:latin typeface="+mn-lt"/>
                        </a:rPr>
                        <a:t>$10 million</a:t>
                      </a:r>
                    </a:p>
                  </a:txBody>
                  <a:tcPr>
                    <a:lnL w="6350" cap="flat" cmpd="sng" algn="ctr">
                      <a:solidFill>
                        <a:srgbClr val="A5A5A5"/>
                      </a:solidFill>
                      <a:prstDash val="solid"/>
                      <a:miter lim="800000"/>
                    </a:lnL>
                    <a:lnR w="6350" cap="flat" cmpd="sng" algn="ctr">
                      <a:solidFill>
                        <a:srgbClr val="A5A5A5"/>
                      </a:solidFill>
                      <a:prstDash val="solid"/>
                      <a:miter lim="800000"/>
                    </a:lnR>
                    <a:lnT w="6350" cap="flat" cmpd="sng" algn="ctr">
                      <a:solidFill>
                        <a:srgbClr val="A5A5A5"/>
                      </a:solidFill>
                      <a:prstDash val="solid"/>
                      <a:miter lim="800000"/>
                    </a:lnT>
                    <a:lnB w="6350" cap="flat" cmpd="sng" algn="ctr">
                      <a:solidFill>
                        <a:srgbClr val="A5A5A5"/>
                      </a:solidFill>
                      <a:prstDash val="solid"/>
                      <a:miter lim="800000"/>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indent="0">
                        <a:buFont typeface="Arial" panose="020B0604020202020204" pitchFamily="34" charset="0"/>
                        <a:buNone/>
                      </a:pPr>
                      <a:r>
                        <a:rPr lang="en-US" sz="1800" dirty="0">
                          <a:latin typeface="+mn-lt"/>
                        </a:rPr>
                        <a:t>Funds competitive awards, on-site capacity, peer exchanges, and technical assistance to support the development and deployment of transformative clean energy programs working with qualifying local governments </a:t>
                      </a:r>
                      <a:r>
                        <a:rPr lang="en-US" sz="1800" b="0" dirty="0">
                          <a:latin typeface="+mn-lt"/>
                        </a:rPr>
                        <a:t>and</a:t>
                      </a:r>
                      <a:r>
                        <a:rPr lang="en-US" sz="1800" b="1" dirty="0">
                          <a:latin typeface="+mn-lt"/>
                        </a:rPr>
                        <a:t> Tribal Nations</a:t>
                      </a:r>
                      <a:r>
                        <a:rPr lang="en-US" sz="1800" dirty="0">
                          <a:latin typeface="+mn-lt"/>
                        </a:rPr>
                        <a:t>, with a focus on energy communities and disadvantaged or small-to-medium jurisdictions.</a:t>
                      </a:r>
                    </a:p>
                  </a:txBody>
                  <a:tcPr>
                    <a:lnL w="6350" cap="flat" cmpd="sng" algn="ctr">
                      <a:solidFill>
                        <a:srgbClr val="A5A5A5"/>
                      </a:solidFill>
                      <a:prstDash val="solid"/>
                      <a:miter lim="800000"/>
                    </a:lnL>
                    <a:lnR w="6350" cap="flat" cmpd="sng" algn="ctr">
                      <a:solidFill>
                        <a:srgbClr val="A5A5A5"/>
                      </a:solidFill>
                      <a:prstDash val="solid"/>
                      <a:miter lim="800000"/>
                    </a:lnR>
                    <a:lnT w="6350" cap="flat" cmpd="sng" algn="ctr">
                      <a:solidFill>
                        <a:srgbClr val="A5A5A5"/>
                      </a:solidFill>
                      <a:prstDash val="solid"/>
                      <a:miter lim="800000"/>
                    </a:lnT>
                    <a:lnB w="6350" cap="flat" cmpd="sng" algn="ctr">
                      <a:solidFill>
                        <a:srgbClr val="A5A5A5"/>
                      </a:solidFill>
                      <a:prstDash val="solid"/>
                      <a:miter lim="800000"/>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892689656"/>
                  </a:ext>
                </a:extLst>
              </a:tr>
            </a:tbl>
          </a:graphicData>
        </a:graphic>
      </p:graphicFrame>
    </p:spTree>
    <p:extLst>
      <p:ext uri="{BB962C8B-B14F-4D97-AF65-F5344CB8AC3E}">
        <p14:creationId xmlns:p14="http://schemas.microsoft.com/office/powerpoint/2010/main" val="37218526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629102-F6AD-4D01-BC13-3776044433DA}"/>
              </a:ext>
            </a:extLst>
          </p:cNvPr>
          <p:cNvSpPr>
            <a:spLocks noGrp="1"/>
          </p:cNvSpPr>
          <p:nvPr>
            <p:ph type="sldNum" sz="quarter" idx="12"/>
          </p:nvPr>
        </p:nvSpPr>
        <p:spPr/>
        <p:txBody>
          <a:bodyPr/>
          <a:lstStyle/>
          <a:p>
            <a:fld id="{B617542F-3D05-4156-9308-A42F80506B15}" type="slidenum">
              <a:rPr lang="en-US" smtClean="0"/>
              <a:pPr/>
              <a:t>7</a:t>
            </a:fld>
            <a:endParaRPr lang="en-US"/>
          </a:p>
        </p:txBody>
      </p:sp>
      <p:sp>
        <p:nvSpPr>
          <p:cNvPr id="5" name="Title 1">
            <a:extLst>
              <a:ext uri="{FF2B5EF4-FFF2-40B4-BE49-F238E27FC236}">
                <a16:creationId xmlns:a16="http://schemas.microsoft.com/office/drawing/2014/main" id="{98E5037F-E814-46F3-A384-BCCDC241FD62}"/>
              </a:ext>
            </a:extLst>
          </p:cNvPr>
          <p:cNvSpPr>
            <a:spLocks noGrp="1"/>
          </p:cNvSpPr>
          <p:nvPr>
            <p:ph type="title"/>
          </p:nvPr>
        </p:nvSpPr>
        <p:spPr>
          <a:xfrm>
            <a:off x="838200" y="238125"/>
            <a:ext cx="10515600" cy="1325563"/>
          </a:xfrm>
        </p:spPr>
        <p:txBody>
          <a:bodyPr>
            <a:normAutofit/>
          </a:bodyPr>
          <a:lstStyle/>
          <a:p>
            <a:r>
              <a:rPr lang="en-US" sz="3400"/>
              <a:t>Investing in American Manufacturing and Workers</a:t>
            </a:r>
          </a:p>
        </p:txBody>
      </p:sp>
      <p:sp>
        <p:nvSpPr>
          <p:cNvPr id="6" name="Content Placeholder 2">
            <a:extLst>
              <a:ext uri="{FF2B5EF4-FFF2-40B4-BE49-F238E27FC236}">
                <a16:creationId xmlns:a16="http://schemas.microsoft.com/office/drawing/2014/main" id="{0457A10B-8483-460C-B333-769AAAF95126}"/>
              </a:ext>
            </a:extLst>
          </p:cNvPr>
          <p:cNvSpPr>
            <a:spLocks noGrp="1"/>
          </p:cNvSpPr>
          <p:nvPr>
            <p:ph idx="1"/>
          </p:nvPr>
        </p:nvSpPr>
        <p:spPr>
          <a:xfrm>
            <a:off x="378593" y="1526353"/>
            <a:ext cx="11190973" cy="4754879"/>
          </a:xfrm>
        </p:spPr>
        <p:txBody>
          <a:bodyPr vert="horz" lIns="91440" tIns="45720" rIns="91440" bIns="45720" rtlCol="0" anchor="t">
            <a:normAutofit/>
          </a:bodyPr>
          <a:lstStyle/>
          <a:p>
            <a:pPr marL="0" indent="0">
              <a:spcBef>
                <a:spcPts val="600"/>
              </a:spcBef>
              <a:spcAft>
                <a:spcPts val="600"/>
              </a:spcAft>
              <a:buNone/>
            </a:pPr>
            <a:r>
              <a:rPr lang="en-US" sz="2400" b="1" dirty="0">
                <a:solidFill>
                  <a:schemeClr val="tx1">
                    <a:lumMod val="75000"/>
                    <a:lumOff val="25000"/>
                  </a:schemeClr>
                </a:solidFill>
                <a:latin typeface="Franklin Gothic Book"/>
                <a:cs typeface="Times New Roman"/>
              </a:rPr>
              <a:t>Revitalizing domestic supply chains and America’s manufacturing leadership</a:t>
            </a:r>
          </a:p>
          <a:p>
            <a:pPr lvl="1">
              <a:spcBef>
                <a:spcPts val="300"/>
              </a:spcBef>
              <a:spcAft>
                <a:spcPts val="300"/>
              </a:spcAft>
            </a:pPr>
            <a:r>
              <a:rPr lang="en-US" dirty="0">
                <a:solidFill>
                  <a:schemeClr val="tx1">
                    <a:lumMod val="75000"/>
                    <a:lumOff val="25000"/>
                  </a:schemeClr>
                </a:solidFill>
                <a:latin typeface="Franklin Gothic Book"/>
                <a:cs typeface="Times New Roman"/>
              </a:rPr>
              <a:t>Invest more than </a:t>
            </a:r>
            <a:r>
              <a:rPr lang="en-US" b="1" dirty="0">
                <a:solidFill>
                  <a:schemeClr val="tx1">
                    <a:lumMod val="75000"/>
                    <a:lumOff val="25000"/>
                  </a:schemeClr>
                </a:solidFill>
                <a:latin typeface="Franklin Gothic Book"/>
                <a:cs typeface="Times New Roman"/>
              </a:rPr>
              <a:t>$7 billion </a:t>
            </a:r>
            <a:r>
              <a:rPr lang="en-US" dirty="0">
                <a:solidFill>
                  <a:schemeClr val="tx1">
                    <a:lumMod val="75000"/>
                    <a:lumOff val="25000"/>
                  </a:schemeClr>
                </a:solidFill>
                <a:latin typeface="Franklin Gothic Book"/>
                <a:cs typeface="Times New Roman"/>
              </a:rPr>
              <a:t>in the supply chain for batteries</a:t>
            </a:r>
          </a:p>
          <a:p>
            <a:pPr lvl="1">
              <a:spcBef>
                <a:spcPts val="300"/>
              </a:spcBef>
              <a:spcAft>
                <a:spcPts val="300"/>
              </a:spcAft>
            </a:pPr>
            <a:r>
              <a:rPr lang="en-US" dirty="0">
                <a:solidFill>
                  <a:schemeClr val="tx1">
                    <a:lumMod val="75000"/>
                    <a:lumOff val="25000"/>
                  </a:schemeClr>
                </a:solidFill>
                <a:latin typeface="Franklin Gothic Book"/>
                <a:cs typeface="Times New Roman"/>
              </a:rPr>
              <a:t>Provide an additional </a:t>
            </a:r>
            <a:r>
              <a:rPr lang="en-US" b="1" dirty="0">
                <a:solidFill>
                  <a:schemeClr val="tx1">
                    <a:lumMod val="75000"/>
                    <a:lumOff val="25000"/>
                  </a:schemeClr>
                </a:solidFill>
                <a:latin typeface="Franklin Gothic Book"/>
                <a:cs typeface="Times New Roman"/>
              </a:rPr>
              <a:t>$1.5 billion </a:t>
            </a:r>
            <a:r>
              <a:rPr lang="en-US" dirty="0">
                <a:solidFill>
                  <a:schemeClr val="tx1">
                    <a:lumMod val="75000"/>
                    <a:lumOff val="25000"/>
                  </a:schemeClr>
                </a:solidFill>
                <a:latin typeface="Franklin Gothic Book"/>
                <a:cs typeface="Times New Roman"/>
              </a:rPr>
              <a:t>for clean hydrogen manufacturing and advancing recycling RD&amp;D</a:t>
            </a:r>
          </a:p>
          <a:p>
            <a:pPr lvl="1">
              <a:spcBef>
                <a:spcPts val="300"/>
              </a:spcBef>
              <a:spcAft>
                <a:spcPts val="300"/>
              </a:spcAft>
            </a:pPr>
            <a:r>
              <a:rPr lang="en-US" dirty="0">
                <a:solidFill>
                  <a:schemeClr val="tx1">
                    <a:lumMod val="75000"/>
                    <a:lumOff val="25000"/>
                  </a:schemeClr>
                </a:solidFill>
                <a:latin typeface="Franklin Gothic Book"/>
                <a:cs typeface="Times New Roman"/>
              </a:rPr>
              <a:t>Expand the authority of DOE’s Loan Program Office </a:t>
            </a:r>
            <a:endParaRPr lang="en-US" dirty="0">
              <a:solidFill>
                <a:schemeClr val="tx1">
                  <a:lumMod val="75000"/>
                  <a:lumOff val="25000"/>
                </a:schemeClr>
              </a:solidFill>
              <a:cs typeface="Times New Roman" panose="02020603050405020304" pitchFamily="18" charset="0"/>
            </a:endParaRPr>
          </a:p>
          <a:p>
            <a:pPr marL="457200" lvl="1" indent="0">
              <a:spcBef>
                <a:spcPts val="300"/>
              </a:spcBef>
              <a:spcAft>
                <a:spcPts val="300"/>
              </a:spcAft>
              <a:buNone/>
            </a:pPr>
            <a:endParaRPr lang="en-US" dirty="0">
              <a:solidFill>
                <a:schemeClr val="tx1">
                  <a:lumMod val="75000"/>
                  <a:lumOff val="25000"/>
                </a:schemeClr>
              </a:solidFill>
              <a:cs typeface="Times New Roman" panose="02020603050405020304" pitchFamily="18" charset="0"/>
            </a:endParaRPr>
          </a:p>
          <a:p>
            <a:pPr marL="0" indent="0">
              <a:spcBef>
                <a:spcPts val="600"/>
              </a:spcBef>
              <a:spcAft>
                <a:spcPts val="600"/>
              </a:spcAft>
              <a:buNone/>
            </a:pPr>
            <a:r>
              <a:rPr lang="en-US" sz="2400" b="1" dirty="0">
                <a:solidFill>
                  <a:schemeClr val="tx1">
                    <a:lumMod val="75000"/>
                    <a:lumOff val="25000"/>
                  </a:schemeClr>
                </a:solidFill>
                <a:latin typeface="Franklin Gothic Book"/>
                <a:cs typeface="Times New Roman"/>
              </a:rPr>
              <a:t>Investing in America’s workforce</a:t>
            </a:r>
          </a:p>
          <a:p>
            <a:pPr lvl="1">
              <a:spcBef>
                <a:spcPts val="300"/>
              </a:spcBef>
              <a:spcAft>
                <a:spcPts val="300"/>
              </a:spcAft>
            </a:pPr>
            <a:r>
              <a:rPr lang="en-US" dirty="0">
                <a:solidFill>
                  <a:schemeClr val="tx1">
                    <a:lumMod val="75000"/>
                    <a:lumOff val="25000"/>
                  </a:schemeClr>
                </a:solidFill>
                <a:latin typeface="Franklin Gothic Book"/>
                <a:cs typeface="Times New Roman"/>
              </a:rPr>
              <a:t>Requires all construction workers on projects funded by the deal to be paid prevailing wages</a:t>
            </a:r>
          </a:p>
          <a:p>
            <a:pPr lvl="1">
              <a:spcBef>
                <a:spcPts val="300"/>
              </a:spcBef>
              <a:spcAft>
                <a:spcPts val="300"/>
              </a:spcAft>
            </a:pPr>
            <a:r>
              <a:rPr lang="en-US" dirty="0">
                <a:solidFill>
                  <a:schemeClr val="tx1">
                    <a:lumMod val="75000"/>
                    <a:lumOff val="25000"/>
                  </a:schemeClr>
                </a:solidFill>
                <a:latin typeface="Franklin Gothic Book"/>
                <a:cs typeface="Times New Roman"/>
              </a:rPr>
              <a:t>Invest </a:t>
            </a:r>
            <a:r>
              <a:rPr lang="en-US" b="1" dirty="0">
                <a:solidFill>
                  <a:schemeClr val="tx1">
                    <a:lumMod val="75000"/>
                    <a:lumOff val="25000"/>
                  </a:schemeClr>
                </a:solidFill>
                <a:latin typeface="Franklin Gothic Book"/>
                <a:cs typeface="Times New Roman"/>
              </a:rPr>
              <a:t>hundreds of millions </a:t>
            </a:r>
            <a:r>
              <a:rPr lang="en-US" dirty="0">
                <a:solidFill>
                  <a:schemeClr val="tx1">
                    <a:lumMod val="75000"/>
                    <a:lumOff val="25000"/>
                  </a:schemeClr>
                </a:solidFill>
                <a:latin typeface="Franklin Gothic Book"/>
                <a:cs typeface="Times New Roman"/>
              </a:rPr>
              <a:t>in workforce development</a:t>
            </a:r>
          </a:p>
          <a:p>
            <a:pPr lvl="1">
              <a:spcBef>
                <a:spcPts val="300"/>
              </a:spcBef>
              <a:spcAft>
                <a:spcPts val="300"/>
              </a:spcAft>
            </a:pPr>
            <a:r>
              <a:rPr lang="en-US" dirty="0">
                <a:solidFill>
                  <a:schemeClr val="tx1">
                    <a:lumMod val="75000"/>
                    <a:lumOff val="25000"/>
                  </a:schemeClr>
                </a:solidFill>
                <a:latin typeface="Franklin Gothic Book"/>
                <a:cs typeface="Times New Roman"/>
              </a:rPr>
              <a:t>Establish a multi-agency Energy Jobs Council</a:t>
            </a:r>
          </a:p>
        </p:txBody>
      </p:sp>
    </p:spTree>
    <p:extLst>
      <p:ext uri="{BB962C8B-B14F-4D97-AF65-F5344CB8AC3E}">
        <p14:creationId xmlns:p14="http://schemas.microsoft.com/office/powerpoint/2010/main" val="7221481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CA2484F-CE6D-4530-ADA3-54169393675C}"/>
              </a:ext>
            </a:extLst>
          </p:cNvPr>
          <p:cNvSpPr>
            <a:spLocks noGrp="1"/>
          </p:cNvSpPr>
          <p:nvPr>
            <p:ph type="sldNum" sz="quarter" idx="12"/>
          </p:nvPr>
        </p:nvSpPr>
        <p:spPr/>
        <p:txBody>
          <a:bodyPr/>
          <a:lstStyle/>
          <a:p>
            <a:fld id="{B617542F-3D05-4156-9308-A42F80506B15}" type="slidenum">
              <a:rPr lang="en-US" smtClean="0"/>
              <a:pPr/>
              <a:t>8</a:t>
            </a:fld>
            <a:endParaRPr lang="en-US"/>
          </a:p>
        </p:txBody>
      </p:sp>
      <p:sp>
        <p:nvSpPr>
          <p:cNvPr id="5" name="Title 1">
            <a:extLst>
              <a:ext uri="{FF2B5EF4-FFF2-40B4-BE49-F238E27FC236}">
                <a16:creationId xmlns:a16="http://schemas.microsoft.com/office/drawing/2014/main" id="{1F46E4F8-0223-4B41-B306-6406A27E3B4E}"/>
              </a:ext>
            </a:extLst>
          </p:cNvPr>
          <p:cNvSpPr>
            <a:spLocks noGrp="1"/>
          </p:cNvSpPr>
          <p:nvPr>
            <p:ph type="title"/>
          </p:nvPr>
        </p:nvSpPr>
        <p:spPr>
          <a:xfrm>
            <a:off x="838200" y="238425"/>
            <a:ext cx="10515600" cy="1325563"/>
          </a:xfrm>
        </p:spPr>
        <p:txBody>
          <a:bodyPr>
            <a:normAutofit/>
          </a:bodyPr>
          <a:lstStyle/>
          <a:p>
            <a:r>
              <a:rPr lang="en-US" sz="3400"/>
              <a:t>Delivering Reliable, Clean, and Affordable Power to More Americans</a:t>
            </a:r>
          </a:p>
        </p:txBody>
      </p:sp>
      <p:sp>
        <p:nvSpPr>
          <p:cNvPr id="6" name="Content Placeholder 2">
            <a:extLst>
              <a:ext uri="{FF2B5EF4-FFF2-40B4-BE49-F238E27FC236}">
                <a16:creationId xmlns:a16="http://schemas.microsoft.com/office/drawing/2014/main" id="{D8B2F587-6C21-4D03-A179-DF36337F1792}"/>
              </a:ext>
            </a:extLst>
          </p:cNvPr>
          <p:cNvSpPr>
            <a:spLocks noGrp="1"/>
          </p:cNvSpPr>
          <p:nvPr>
            <p:ph idx="1"/>
          </p:nvPr>
        </p:nvSpPr>
        <p:spPr>
          <a:xfrm>
            <a:off x="300217" y="1709050"/>
            <a:ext cx="11591566" cy="4968275"/>
          </a:xfrm>
        </p:spPr>
        <p:txBody>
          <a:bodyPr>
            <a:normAutofit/>
          </a:bodyPr>
          <a:lstStyle/>
          <a:p>
            <a:pPr marL="0" indent="0">
              <a:lnSpc>
                <a:spcPct val="100000"/>
              </a:lnSpc>
              <a:spcBef>
                <a:spcPts val="400"/>
              </a:spcBef>
              <a:spcAft>
                <a:spcPts val="400"/>
              </a:spcAft>
              <a:buNone/>
            </a:pPr>
            <a:r>
              <a:rPr lang="en-US" sz="2400" b="1" dirty="0">
                <a:solidFill>
                  <a:schemeClr val="tx1">
                    <a:lumMod val="75000"/>
                    <a:lumOff val="25000"/>
                  </a:schemeClr>
                </a:solidFill>
              </a:rPr>
              <a:t>Bringing the electrical grid into the 21st century</a:t>
            </a:r>
          </a:p>
          <a:p>
            <a:pPr lvl="1">
              <a:lnSpc>
                <a:spcPct val="100000"/>
              </a:lnSpc>
              <a:spcBef>
                <a:spcPts val="400"/>
              </a:spcBef>
              <a:spcAft>
                <a:spcPts val="400"/>
              </a:spcAft>
            </a:pPr>
            <a:r>
              <a:rPr lang="en-US" dirty="0">
                <a:solidFill>
                  <a:schemeClr val="tx1">
                    <a:lumMod val="75000"/>
                    <a:lumOff val="25000"/>
                  </a:schemeClr>
                </a:solidFill>
              </a:rPr>
              <a:t>Invest </a:t>
            </a:r>
            <a:r>
              <a:rPr lang="en-US" b="1" dirty="0">
                <a:solidFill>
                  <a:schemeClr val="tx1">
                    <a:lumMod val="75000"/>
                    <a:lumOff val="25000"/>
                  </a:schemeClr>
                </a:solidFill>
              </a:rPr>
              <a:t>$11 billion </a:t>
            </a:r>
            <a:r>
              <a:rPr lang="en-US" dirty="0">
                <a:solidFill>
                  <a:schemeClr val="tx1">
                    <a:lumMod val="75000"/>
                    <a:lumOff val="25000"/>
                  </a:schemeClr>
                </a:solidFill>
              </a:rPr>
              <a:t>in grants for states, tribes, and utilities to enhance the resilience of the electric infrastructure against disruptive events such as extreme weather and cyber attacks</a:t>
            </a:r>
          </a:p>
          <a:p>
            <a:pPr lvl="1">
              <a:lnSpc>
                <a:spcPct val="100000"/>
              </a:lnSpc>
              <a:spcBef>
                <a:spcPts val="400"/>
              </a:spcBef>
              <a:spcAft>
                <a:spcPts val="400"/>
              </a:spcAft>
            </a:pPr>
            <a:r>
              <a:rPr lang="en-US" dirty="0">
                <a:solidFill>
                  <a:schemeClr val="tx1">
                    <a:lumMod val="75000"/>
                    <a:lumOff val="25000"/>
                  </a:schemeClr>
                </a:solidFill>
              </a:rPr>
              <a:t>Establish a </a:t>
            </a:r>
            <a:r>
              <a:rPr lang="en-US" b="1" dirty="0">
                <a:solidFill>
                  <a:schemeClr val="tx1">
                    <a:lumMod val="75000"/>
                    <a:lumOff val="25000"/>
                  </a:schemeClr>
                </a:solidFill>
              </a:rPr>
              <a:t>$2.5 billion </a:t>
            </a:r>
            <a:r>
              <a:rPr lang="en-US" dirty="0">
                <a:solidFill>
                  <a:schemeClr val="tx1">
                    <a:lumMod val="75000"/>
                    <a:lumOff val="25000"/>
                  </a:schemeClr>
                </a:solidFill>
              </a:rPr>
              <a:t>Transmission Facilitation Program for DOE </a:t>
            </a:r>
          </a:p>
          <a:p>
            <a:pPr lvl="1">
              <a:lnSpc>
                <a:spcPct val="100000"/>
              </a:lnSpc>
              <a:spcBef>
                <a:spcPts val="400"/>
              </a:spcBef>
              <a:spcAft>
                <a:spcPts val="400"/>
              </a:spcAft>
            </a:pPr>
            <a:r>
              <a:rPr lang="en-US" dirty="0">
                <a:solidFill>
                  <a:schemeClr val="tx1">
                    <a:lumMod val="75000"/>
                    <a:lumOff val="25000"/>
                  </a:schemeClr>
                </a:solidFill>
              </a:rPr>
              <a:t>Back a </a:t>
            </a:r>
            <a:r>
              <a:rPr lang="en-US" b="1" dirty="0">
                <a:solidFill>
                  <a:schemeClr val="tx1">
                    <a:lumMod val="75000"/>
                    <a:lumOff val="25000"/>
                  </a:schemeClr>
                </a:solidFill>
              </a:rPr>
              <a:t>$3 billion </a:t>
            </a:r>
            <a:r>
              <a:rPr lang="en-US" dirty="0">
                <a:solidFill>
                  <a:schemeClr val="tx1">
                    <a:lumMod val="75000"/>
                    <a:lumOff val="25000"/>
                  </a:schemeClr>
                </a:solidFill>
              </a:rPr>
              <a:t>expansion of the Smart Grid Investment Matching Grant Program</a:t>
            </a:r>
          </a:p>
          <a:p>
            <a:pPr marL="0" indent="0">
              <a:lnSpc>
                <a:spcPct val="100000"/>
              </a:lnSpc>
              <a:spcBef>
                <a:spcPts val="400"/>
              </a:spcBef>
              <a:spcAft>
                <a:spcPts val="400"/>
              </a:spcAft>
              <a:buNone/>
            </a:pPr>
            <a:r>
              <a:rPr lang="en-US" sz="2400" b="1" dirty="0">
                <a:solidFill>
                  <a:schemeClr val="tx1">
                    <a:lumMod val="75000"/>
                    <a:lumOff val="25000"/>
                  </a:schemeClr>
                </a:solidFill>
              </a:rPr>
              <a:t>Maintaining our existing clean generation fleet</a:t>
            </a:r>
          </a:p>
          <a:p>
            <a:pPr lvl="1">
              <a:lnSpc>
                <a:spcPct val="100000"/>
              </a:lnSpc>
              <a:spcBef>
                <a:spcPts val="400"/>
              </a:spcBef>
              <a:spcAft>
                <a:spcPts val="400"/>
              </a:spcAft>
            </a:pPr>
            <a:r>
              <a:rPr lang="en-US" dirty="0">
                <a:solidFill>
                  <a:schemeClr val="tx1">
                    <a:lumMod val="75000"/>
                    <a:lumOff val="25000"/>
                  </a:schemeClr>
                </a:solidFill>
              </a:rPr>
              <a:t>Allocate </a:t>
            </a:r>
            <a:r>
              <a:rPr lang="en-US" b="1" dirty="0">
                <a:solidFill>
                  <a:schemeClr val="tx1">
                    <a:lumMod val="75000"/>
                    <a:lumOff val="25000"/>
                  </a:schemeClr>
                </a:solidFill>
              </a:rPr>
              <a:t>$6 billion </a:t>
            </a:r>
            <a:r>
              <a:rPr lang="en-US" dirty="0">
                <a:solidFill>
                  <a:schemeClr val="tx1">
                    <a:lumMod val="75000"/>
                    <a:lumOff val="25000"/>
                  </a:schemeClr>
                </a:solidFill>
              </a:rPr>
              <a:t>for the Civilian Nuclear Credit program to prevent premature retirement of existing zero-carbon nuclear plants</a:t>
            </a:r>
          </a:p>
          <a:p>
            <a:pPr lvl="1">
              <a:lnSpc>
                <a:spcPct val="100000"/>
              </a:lnSpc>
              <a:spcBef>
                <a:spcPts val="400"/>
              </a:spcBef>
              <a:spcAft>
                <a:spcPts val="400"/>
              </a:spcAft>
            </a:pPr>
            <a:r>
              <a:rPr lang="en-US" dirty="0">
                <a:solidFill>
                  <a:schemeClr val="tx1">
                    <a:lumMod val="75000"/>
                    <a:lumOff val="25000"/>
                  </a:schemeClr>
                </a:solidFill>
              </a:rPr>
              <a:t>Invest more than </a:t>
            </a:r>
            <a:r>
              <a:rPr lang="en-US" b="1" dirty="0">
                <a:solidFill>
                  <a:schemeClr val="tx1">
                    <a:lumMod val="75000"/>
                    <a:lumOff val="25000"/>
                  </a:schemeClr>
                </a:solidFill>
              </a:rPr>
              <a:t>$700 million </a:t>
            </a:r>
            <a:r>
              <a:rPr lang="en-US" dirty="0">
                <a:solidFill>
                  <a:schemeClr val="tx1">
                    <a:lumMod val="75000"/>
                    <a:lumOff val="25000"/>
                  </a:schemeClr>
                </a:solidFill>
              </a:rPr>
              <a:t>in existing hydropower facilities </a:t>
            </a:r>
          </a:p>
        </p:txBody>
      </p:sp>
    </p:spTree>
    <p:extLst>
      <p:ext uri="{BB962C8B-B14F-4D97-AF65-F5344CB8AC3E}">
        <p14:creationId xmlns:p14="http://schemas.microsoft.com/office/powerpoint/2010/main" val="41037923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4F2B11-A824-4963-BE1F-04E73E4FB0D5}"/>
              </a:ext>
            </a:extLst>
          </p:cNvPr>
          <p:cNvSpPr>
            <a:spLocks noGrp="1"/>
          </p:cNvSpPr>
          <p:nvPr>
            <p:ph type="title"/>
          </p:nvPr>
        </p:nvSpPr>
        <p:spPr/>
        <p:txBody>
          <a:bodyPr>
            <a:normAutofit fontScale="90000"/>
          </a:bodyPr>
          <a:lstStyle/>
          <a:p>
            <a:br>
              <a:rPr lang="en-US" sz="3800"/>
            </a:br>
            <a:r>
              <a:rPr lang="en-US" sz="3800"/>
              <a:t>Clean Energy Demonstrations</a:t>
            </a:r>
            <a:br>
              <a:rPr lang="en-US"/>
            </a:br>
            <a:endParaRPr lang="en-US"/>
          </a:p>
        </p:txBody>
      </p:sp>
      <p:sp>
        <p:nvSpPr>
          <p:cNvPr id="3" name="Content Placeholder 2">
            <a:extLst>
              <a:ext uri="{FF2B5EF4-FFF2-40B4-BE49-F238E27FC236}">
                <a16:creationId xmlns:a16="http://schemas.microsoft.com/office/drawing/2014/main" id="{2C786588-8ADD-4138-AA65-62BA97E44539}"/>
              </a:ext>
            </a:extLst>
          </p:cNvPr>
          <p:cNvSpPr>
            <a:spLocks noGrp="1"/>
          </p:cNvSpPr>
          <p:nvPr>
            <p:ph idx="1"/>
          </p:nvPr>
        </p:nvSpPr>
        <p:spPr>
          <a:xfrm>
            <a:off x="375384" y="1563988"/>
            <a:ext cx="10631906" cy="4108017"/>
          </a:xfrm>
        </p:spPr>
        <p:txBody>
          <a:bodyPr vert="horz" lIns="91440" tIns="45720" rIns="91440" bIns="45720" rtlCol="0" anchor="t">
            <a:normAutofit/>
          </a:bodyPr>
          <a:lstStyle/>
          <a:p>
            <a:pPr marL="0" indent="0">
              <a:spcAft>
                <a:spcPts val="600"/>
              </a:spcAft>
              <a:buNone/>
            </a:pPr>
            <a:r>
              <a:rPr lang="en-US" sz="2400" b="1" dirty="0">
                <a:solidFill>
                  <a:schemeClr val="tx1">
                    <a:lumMod val="75000"/>
                    <a:lumOff val="25000"/>
                  </a:schemeClr>
                </a:solidFill>
                <a:latin typeface="Franklin Gothic Book"/>
                <a:cs typeface="Arial"/>
              </a:rPr>
              <a:t>The deal will provide $21.5 billion in funding for clean energy demonstrations and research hubs, including: </a:t>
            </a:r>
            <a:endParaRPr lang="en-US" sz="2400" b="1" dirty="0">
              <a:solidFill>
                <a:schemeClr val="tx1">
                  <a:lumMod val="75000"/>
                  <a:lumOff val="25000"/>
                </a:schemeClr>
              </a:solidFill>
            </a:endParaRPr>
          </a:p>
          <a:p>
            <a:pPr lvl="1">
              <a:spcBef>
                <a:spcPts val="600"/>
              </a:spcBef>
              <a:spcAft>
                <a:spcPts val="600"/>
              </a:spcAft>
            </a:pPr>
            <a:r>
              <a:rPr lang="en-US" b="1" dirty="0">
                <a:solidFill>
                  <a:schemeClr val="tx1">
                    <a:lumMod val="75000"/>
                    <a:lumOff val="25000"/>
                  </a:schemeClr>
                </a:solidFill>
                <a:latin typeface="Franklin Gothic Book"/>
                <a:cs typeface="Arial"/>
              </a:rPr>
              <a:t>$8 billion </a:t>
            </a:r>
            <a:r>
              <a:rPr lang="en-US" dirty="0">
                <a:solidFill>
                  <a:schemeClr val="tx1">
                    <a:lumMod val="75000"/>
                    <a:lumOff val="25000"/>
                  </a:schemeClr>
                </a:solidFill>
                <a:latin typeface="Franklin Gothic Book"/>
                <a:cs typeface="Arial"/>
              </a:rPr>
              <a:t>for clean hydrogen</a:t>
            </a:r>
          </a:p>
          <a:p>
            <a:pPr lvl="1">
              <a:spcBef>
                <a:spcPts val="600"/>
              </a:spcBef>
              <a:spcAft>
                <a:spcPts val="600"/>
              </a:spcAft>
            </a:pPr>
            <a:r>
              <a:rPr lang="en-US" dirty="0">
                <a:solidFill>
                  <a:schemeClr val="tx1">
                    <a:lumMod val="75000"/>
                    <a:lumOff val="25000"/>
                  </a:schemeClr>
                </a:solidFill>
                <a:latin typeface="Franklin Gothic Book"/>
                <a:cs typeface="Arial"/>
              </a:rPr>
              <a:t>More than </a:t>
            </a:r>
            <a:r>
              <a:rPr lang="en-US" b="1" dirty="0">
                <a:solidFill>
                  <a:schemeClr val="tx1">
                    <a:lumMod val="75000"/>
                    <a:lumOff val="25000"/>
                  </a:schemeClr>
                </a:solidFill>
                <a:latin typeface="Franklin Gothic Book"/>
                <a:cs typeface="Arial"/>
              </a:rPr>
              <a:t>$10 billion </a:t>
            </a:r>
            <a:r>
              <a:rPr lang="en-US" dirty="0">
                <a:solidFill>
                  <a:schemeClr val="tx1">
                    <a:lumMod val="75000"/>
                    <a:lumOff val="25000"/>
                  </a:schemeClr>
                </a:solidFill>
                <a:latin typeface="Franklin Gothic Book"/>
                <a:cs typeface="Arial"/>
              </a:rPr>
              <a:t>for carbon capture, direct air capture and industrial emission reduction</a:t>
            </a:r>
          </a:p>
          <a:p>
            <a:pPr lvl="1">
              <a:spcBef>
                <a:spcPts val="600"/>
              </a:spcBef>
              <a:spcAft>
                <a:spcPts val="600"/>
              </a:spcAft>
            </a:pPr>
            <a:r>
              <a:rPr lang="en-US" b="1" dirty="0">
                <a:solidFill>
                  <a:schemeClr val="tx1">
                    <a:lumMod val="75000"/>
                    <a:lumOff val="25000"/>
                  </a:schemeClr>
                </a:solidFill>
                <a:latin typeface="Franklin Gothic Book"/>
                <a:cs typeface="Arial"/>
              </a:rPr>
              <a:t>$2.5 billion </a:t>
            </a:r>
            <a:r>
              <a:rPr lang="en-US" dirty="0">
                <a:solidFill>
                  <a:schemeClr val="tx1">
                    <a:lumMod val="75000"/>
                    <a:lumOff val="25000"/>
                  </a:schemeClr>
                </a:solidFill>
                <a:latin typeface="Franklin Gothic Book"/>
                <a:cs typeface="Arial"/>
              </a:rPr>
              <a:t>for advanced nuclear</a:t>
            </a:r>
          </a:p>
          <a:p>
            <a:pPr lvl="1">
              <a:spcBef>
                <a:spcPts val="600"/>
              </a:spcBef>
              <a:spcAft>
                <a:spcPts val="600"/>
              </a:spcAft>
            </a:pPr>
            <a:endParaRPr lang="en-US" sz="2200" dirty="0">
              <a:solidFill>
                <a:schemeClr val="tx1">
                  <a:lumMod val="75000"/>
                  <a:lumOff val="25000"/>
                </a:schemeClr>
              </a:solidFill>
            </a:endParaRPr>
          </a:p>
          <a:p>
            <a:endParaRPr lang="en-US" dirty="0"/>
          </a:p>
        </p:txBody>
      </p:sp>
      <p:sp>
        <p:nvSpPr>
          <p:cNvPr id="4" name="Slide Number Placeholder 3">
            <a:extLst>
              <a:ext uri="{FF2B5EF4-FFF2-40B4-BE49-F238E27FC236}">
                <a16:creationId xmlns:a16="http://schemas.microsoft.com/office/drawing/2014/main" id="{FCD58039-522B-431A-BA73-CE81B48813AF}"/>
              </a:ext>
            </a:extLst>
          </p:cNvPr>
          <p:cNvSpPr>
            <a:spLocks noGrp="1"/>
          </p:cNvSpPr>
          <p:nvPr>
            <p:ph type="sldNum" sz="quarter" idx="12"/>
          </p:nvPr>
        </p:nvSpPr>
        <p:spPr/>
        <p:txBody>
          <a:bodyPr/>
          <a:lstStyle/>
          <a:p>
            <a:fld id="{B617542F-3D05-4156-9308-A42F80506B15}" type="slidenum">
              <a:rPr lang="en-US" smtClean="0"/>
              <a:pPr/>
              <a:t>9</a:t>
            </a:fld>
            <a:endParaRPr lang="en-US"/>
          </a:p>
        </p:txBody>
      </p:sp>
    </p:spTree>
    <p:extLst>
      <p:ext uri="{BB962C8B-B14F-4D97-AF65-F5344CB8AC3E}">
        <p14:creationId xmlns:p14="http://schemas.microsoft.com/office/powerpoint/2010/main" val="21280385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USER_INPUT_REQUIRED" val="NETL Presenter's Name;Presentation Presenter"/>
  <p:tag name="MIO_USER_INPUT_OPTIONAL" val=" "/>
  <p:tag name="MIO_USER_INPUT_FIXED" val=" "/>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NETL Presenter's Title/Office;NETL Presenter's Title/Office"/>
  <p:tag name="MIO_USER_INPUT_OPTIONAL" val=" "/>
  <p:tag name="MIO_USER_INPUT_FIXED" val=" "/>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ERE PPT">
  <a:themeElements>
    <a:clrScheme name="EERE 2017">
      <a:dk1>
        <a:srgbClr val="000000"/>
      </a:dk1>
      <a:lt1>
        <a:sysClr val="window" lastClr="FFFFFF"/>
      </a:lt1>
      <a:dk2>
        <a:srgbClr val="5E6A7B"/>
      </a:dk2>
      <a:lt2>
        <a:srgbClr val="EEECE1"/>
      </a:lt2>
      <a:accent1>
        <a:srgbClr val="6ABC45"/>
      </a:accent1>
      <a:accent2>
        <a:srgbClr val="FFCB06"/>
      </a:accent2>
      <a:accent3>
        <a:srgbClr val="00A8DF"/>
      </a:accent3>
      <a:accent4>
        <a:srgbClr val="005C82"/>
      </a:accent4>
      <a:accent5>
        <a:srgbClr val="017A3E"/>
      </a:accent5>
      <a:accent6>
        <a:srgbClr val="E27225"/>
      </a:accent6>
      <a:hlink>
        <a:srgbClr val="017A3E"/>
      </a:hlink>
      <a:folHlink>
        <a:srgbClr val="5E6A71"/>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华文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2469AC3D-5C34-4392-B335-E53A3517DF50}" vid="{3FC97CF3-3494-4B5E-BE19-F00E8719D46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x007b_erspm xmlns="ea3e22c0-2010-4735-95f2-41793e0eea20">
      <UserInfo>
        <DisplayName/>
        <AccountId xsi:nil="true"/>
        <AccountType/>
      </UserInfo>
    </_x007b_erspm>
    <Cateogry xmlns="ea3e22c0-2010-4735-95f2-41793e0eea20" xsi:nil="true"/>
    <Source xmlns="ea3e22c0-2010-4735-95f2-41793e0eea20">
      <UserInfo>
        <DisplayName/>
        <AccountId xsi:nil="true"/>
        <AccountType/>
      </UserInfo>
    </Source>
    <SharedWithUsers xmlns="f6149ba4-e7c3-4c79-b905-3086dac52ee3">
      <UserInfo>
        <DisplayName>Nealer, Rachael</DisplayName>
        <AccountId>115</AccountId>
        <AccountType/>
      </UserInfo>
      <UserInfo>
        <DisplayName>Kramb, Jennifer</DisplayName>
        <AccountId>668</AccountId>
        <AccountType/>
      </UserInfo>
      <UserInfo>
        <DisplayName>Johns, Wahleah</DisplayName>
        <AccountId>61</AccountId>
        <AccountType/>
      </UserInfo>
      <UserInfo>
        <DisplayName>Witteman, Aimee</DisplayName>
        <AccountId>1654</AccountId>
        <AccountType/>
      </UserInfo>
      <UserInfo>
        <DisplayName>Garcia, Annamaria</DisplayName>
        <AccountId>969</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39E68F0B6DD59468CE2DBFBC0E82E9F" ma:contentTypeVersion="15" ma:contentTypeDescription="Create a new document." ma:contentTypeScope="" ma:versionID="341d0b484f54d0422a43404558d63b49">
  <xsd:schema xmlns:xsd="http://www.w3.org/2001/XMLSchema" xmlns:xs="http://www.w3.org/2001/XMLSchema" xmlns:p="http://schemas.microsoft.com/office/2006/metadata/properties" xmlns:ns2="ea3e22c0-2010-4735-95f2-41793e0eea20" xmlns:ns3="f6149ba4-e7c3-4c79-b905-3086dac52ee3" targetNamespace="http://schemas.microsoft.com/office/2006/metadata/properties" ma:root="true" ma:fieldsID="f6d973ddc4874378423dff473180adec" ns2:_="" ns3:_="">
    <xsd:import namespace="ea3e22c0-2010-4735-95f2-41793e0eea20"/>
    <xsd:import namespace="f6149ba4-e7c3-4c79-b905-3086dac52ee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Cateogry" minOccurs="0"/>
                <xsd:element ref="ns2:Source" minOccurs="0"/>
                <xsd:element ref="ns2:_x007b_erspm"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a3e22c0-2010-4735-95f2-41793e0eea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Cateogry" ma:index="17" nillable="true" ma:displayName="Cateogry" ma:format="Dropdown" ma:internalName="Cateogry">
      <xsd:simpleType>
        <xsd:union memberTypes="dms:Text">
          <xsd:simpleType>
            <xsd:restriction base="dms:Choice">
              <xsd:enumeration value="Grid"/>
              <xsd:enumeration value="Climate"/>
              <xsd:enumeration value="Energy Finance"/>
              <xsd:enumeration value="EJ"/>
              <xsd:enumeration value="Decarbonization"/>
              <xsd:enumeration value="International"/>
              <xsd:enumeration value="Carbon Capture"/>
              <xsd:enumeration value="Clean Energy"/>
              <xsd:enumeration value="EA"/>
              <xsd:enumeration value="SA"/>
              <xsd:enumeration value="COS"/>
            </xsd:restriction>
          </xsd:simpleType>
        </xsd:union>
      </xsd:simpleType>
    </xsd:element>
    <xsd:element name="Source" ma:index="18" nillable="true" ma:displayName="Source" ma:format="Dropdown" ma:list="UserInfo" ma:SharePointGroup="0" ma:internalName="Sourc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x007b_erspm" ma:index="19" nillable="true" ma:displayName="Person" ma:format="Dropdown" ma:list="UserInfo" ma:SharePointGroup="0" ma:internalName="_x007b_erspm">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LengthInSeconds" ma:index="20" nillable="true" ma:displayName="Length (seconds)" ma:internalName="MediaLengthInSeconds" ma:readOnly="true">
      <xsd:simpleType>
        <xsd:restriction base="dms:Unknown"/>
      </xsd:simpleType>
    </xsd:element>
    <xsd:element name="MediaServiceLocation" ma:index="21"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6149ba4-e7c3-4c79-b905-3086dac52ee3"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617A07A-A1EB-44B5-94B1-1033FD597C8F}">
  <ds:schemaRefs>
    <ds:schemaRef ds:uri="http://schemas.openxmlformats.org/package/2006/metadata/core-properties"/>
    <ds:schemaRef ds:uri="http://purl.org/dc/dcmitype/"/>
    <ds:schemaRef ds:uri="ea3e22c0-2010-4735-95f2-41793e0eea20"/>
    <ds:schemaRef ds:uri="f6149ba4-e7c3-4c79-b905-3086dac52ee3"/>
    <ds:schemaRef ds:uri="http://purl.org/dc/elements/1.1/"/>
    <ds:schemaRef ds:uri="http://schemas.microsoft.com/office/2006/metadata/properties"/>
    <ds:schemaRef ds:uri="http://schemas.microsoft.com/office/2006/documentManagement/types"/>
    <ds:schemaRef ds:uri="http://schemas.microsoft.com/office/infopath/2007/PartnerControls"/>
    <ds:schemaRef ds:uri="http://www.w3.org/XML/1998/namespace"/>
    <ds:schemaRef ds:uri="http://purl.org/dc/terms/"/>
  </ds:schemaRefs>
</ds:datastoreItem>
</file>

<file path=customXml/itemProps2.xml><?xml version="1.0" encoding="utf-8"?>
<ds:datastoreItem xmlns:ds="http://schemas.openxmlformats.org/officeDocument/2006/customXml" ds:itemID="{F9019B66-0EB2-4EC6-8B04-DE8586F06B3D}">
  <ds:schemaRefs>
    <ds:schemaRef ds:uri="ea3e22c0-2010-4735-95f2-41793e0eea20"/>
    <ds:schemaRef ds:uri="f6149ba4-e7c3-4c79-b905-3086dac52ee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BCBF776-0C5A-4513-B520-8F063985F11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4</TotalTime>
  <Words>2599</Words>
  <Application>Microsoft Office PowerPoint</Application>
  <PresentationFormat>Widescreen</PresentationFormat>
  <Paragraphs>323</Paragraphs>
  <Slides>26</Slides>
  <Notes>13</Notes>
  <HiddenSlides>0</HiddenSlides>
  <MMClips>0</MMClips>
  <ScaleCrop>false</ScaleCrop>
  <HeadingPairs>
    <vt:vector size="6" baseType="variant">
      <vt:variant>
        <vt:lpstr>Fonts Used</vt:lpstr>
      </vt:variant>
      <vt:variant>
        <vt:i4>14</vt:i4>
      </vt:variant>
      <vt:variant>
        <vt:lpstr>Theme</vt:lpstr>
      </vt:variant>
      <vt:variant>
        <vt:i4>2</vt:i4>
      </vt:variant>
      <vt:variant>
        <vt:lpstr>Slide Titles</vt:lpstr>
      </vt:variant>
      <vt:variant>
        <vt:i4>26</vt:i4>
      </vt:variant>
    </vt:vector>
  </HeadingPairs>
  <TitlesOfParts>
    <vt:vector size="42" baseType="lpstr">
      <vt:lpstr>Arial</vt:lpstr>
      <vt:lpstr>Arial Black</vt:lpstr>
      <vt:lpstr>Arial Narrow</vt:lpstr>
      <vt:lpstr>Calibri</vt:lpstr>
      <vt:lpstr>Calibri Light</vt:lpstr>
      <vt:lpstr>Century Gothic</vt:lpstr>
      <vt:lpstr>Cormorant</vt:lpstr>
      <vt:lpstr>Courier New</vt:lpstr>
      <vt:lpstr>Franklin Gothic Book</vt:lpstr>
      <vt:lpstr>Franklin Gothic Medium</vt:lpstr>
      <vt:lpstr>Montserrat</vt:lpstr>
      <vt:lpstr>Symbol</vt:lpstr>
      <vt:lpstr>Tw Cen MT</vt:lpstr>
      <vt:lpstr>Wingdings</vt:lpstr>
      <vt:lpstr>Custom Design</vt:lpstr>
      <vt:lpstr>EERE PPT</vt:lpstr>
      <vt:lpstr>Opportunities for Alaska Under the Bipartisan Infrastructure Law</vt:lpstr>
      <vt:lpstr>Bipartisan Infrastructure Law – DOE Programs </vt:lpstr>
      <vt:lpstr>PowerPoint Presentation</vt:lpstr>
      <vt:lpstr>Expanding Access to Energy Efficiency and Clean Energy</vt:lpstr>
      <vt:lpstr>SEP BIL Provision: State Coordination with Tribes</vt:lpstr>
      <vt:lpstr>Additional Resources - FY22 Budget (not BIL)</vt:lpstr>
      <vt:lpstr>Investing in American Manufacturing and Workers</vt:lpstr>
      <vt:lpstr>Delivering Reliable, Clean, and Affordable Power to More Americans</vt:lpstr>
      <vt:lpstr> Clean Energy Demonstrations </vt:lpstr>
      <vt:lpstr>The U.S. DOE Hydrogen Program</vt:lpstr>
      <vt:lpstr>Bipartisan Infrastructure Law - Hydrogen Highlights</vt:lpstr>
      <vt:lpstr>Examples of Engagement Opportunities with Tribal Nations</vt:lpstr>
      <vt:lpstr>BIL Programs Especially Relevant</vt:lpstr>
      <vt:lpstr>BIL Programs Especially Relevant</vt:lpstr>
      <vt:lpstr>Funding Distribution and Implementation</vt:lpstr>
      <vt:lpstr>Find updates at energy.gov/bil</vt:lpstr>
      <vt:lpstr>PowerPoint Presentation</vt:lpstr>
      <vt:lpstr>Arctic Energy Office (AEO)</vt:lpstr>
      <vt:lpstr>PowerPoint Presentation</vt:lpstr>
      <vt:lpstr>PowerPoint Presentation</vt:lpstr>
      <vt:lpstr>Prioritizing Those Most In Need of Support</vt:lpstr>
      <vt:lpstr>Key Learnings from Energy Communities</vt:lpstr>
      <vt:lpstr>Key BIL Opportunity: Repurposing Fossil Assets</vt:lpstr>
      <vt:lpstr>Examples of Repurposed Coal-Fired Power Plants</vt:lpstr>
      <vt:lpstr>IWG Clearinghouse: Doorway to BIL Opportunities for Energy Communiti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red Largen</dc:creator>
  <cp:lastModifiedBy>Gordon, Kate</cp:lastModifiedBy>
  <cp:revision>3</cp:revision>
  <dcterms:created xsi:type="dcterms:W3CDTF">2021-07-06T13:00:02Z</dcterms:created>
  <dcterms:modified xsi:type="dcterms:W3CDTF">2022-04-08T23:0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9E68F0B6DD59468CE2DBFBC0E82E9F</vt:lpwstr>
  </property>
</Properties>
</file>